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89" r:id="rId5"/>
    <p:sldMasterId id="2147483711" r:id="rId6"/>
  </p:sldMasterIdLst>
  <p:notesMasterIdLst>
    <p:notesMasterId r:id="rId11"/>
  </p:notesMasterIdLst>
  <p:sldIdLst>
    <p:sldId id="256" r:id="rId7"/>
    <p:sldId id="2147480985" r:id="rId8"/>
    <p:sldId id="2147480981" r:id="rId9"/>
    <p:sldId id="2147480986" r:id="rId10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FD0FE5F-1C3E-8CF5-83E1-1422F5121636}" name="Levin, Joseph" initials="LJ" userId="S::joseph.levin@hq.doe.gov::ed144afc-c50f-4404-a2a3-6d9871a85f66" providerId="AD"/>
  <p188:author id="{28FC6D7B-DE72-056C-89DE-24C712466C9D}" name="Avins, Jeremy" initials="AJ" userId="S::jeremy.avins@hq.doe.gov::524029c6-d48b-4e18-b6fc-fc3e75587460" providerId="AD"/>
  <p188:author id="{A441B086-597E-D838-6122-B1C721B021A6}" name="Swanson, Frances" initials="SF" userId="S::frances.swanson@hq.doe.gov::bbb046d0-cd08-4d2b-bd56-dc18766ad0c0" providerId="AD"/>
  <p188:author id="{DCDF9FB1-C238-7CD5-8C80-269DECC78688}" name="Dilg, Lane" initials="DL" userId="S::lane.dilg@hq.doe.gov::89eee2f3-9b47-4cc7-a4b1-e7d3028f31e1" providerId="AD"/>
  <p188:author id="{7E7153B3-2130-3CE8-6355-27E5524955F0}" name="Visconti, Kelly" initials="VK" userId="S::kelly.visconti@hq.doe.gov::4b97d32d-e02e-4e16-b120-cdaa5a81390d" providerId="AD"/>
  <p188:author id="{3C6EF5EE-3E5A-3CE8-D52A-8DD2C6641C77}" name="Georges, Ruth" initials="GR" userId="S::ruth.georges@hq.doe.gov::6c8ec2f4-3a11-42f7-b73f-25646e244537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000"/>
    <a:srgbClr val="A5A5A5"/>
    <a:srgbClr val="F2F2F2"/>
    <a:srgbClr val="1A325D"/>
    <a:srgbClr val="9A9A9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9E1D6D8-3EB4-9E5B-F7D2-49E24A821A6F}" v="25" dt="2023-09-20T14:16:26.833"/>
    <p1510:client id="{A53AE024-F45A-4484-8BB7-E35D4335D7AE}" v="24" dt="2023-09-12T22:06:59.939"/>
    <p1510:client id="{C5CE29CA-EB83-409A-B85B-C1A0290A30F2}" v="4" dt="2023-09-12T19:40:01.96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viewProps" Target="viewProps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presProps" Target="presProps.xml"/><Relationship Id="rId17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tableStyles" Target="tableStyle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vins, Jeremy" userId="524029c6-d48b-4e18-b6fc-fc3e75587460" providerId="ADAL" clId="{A53AE024-F45A-4484-8BB7-E35D4335D7AE}"/>
    <pc:docChg chg="undo custSel modSld">
      <pc:chgData name="Avins, Jeremy" userId="524029c6-d48b-4e18-b6fc-fc3e75587460" providerId="ADAL" clId="{A53AE024-F45A-4484-8BB7-E35D4335D7AE}" dt="2023-09-09T18:21:19.615" v="179" actId="6549"/>
      <pc:docMkLst>
        <pc:docMk/>
      </pc:docMkLst>
      <pc:sldChg chg="modSp mod">
        <pc:chgData name="Avins, Jeremy" userId="524029c6-d48b-4e18-b6fc-fc3e75587460" providerId="ADAL" clId="{A53AE024-F45A-4484-8BB7-E35D4335D7AE}" dt="2023-09-09T18:21:19.615" v="179" actId="6549"/>
        <pc:sldMkLst>
          <pc:docMk/>
          <pc:sldMk cId="3030244850" sldId="2147480981"/>
        </pc:sldMkLst>
        <pc:spChg chg="mod">
          <ac:chgData name="Avins, Jeremy" userId="524029c6-d48b-4e18-b6fc-fc3e75587460" providerId="ADAL" clId="{A53AE024-F45A-4484-8BB7-E35D4335D7AE}" dt="2023-09-09T18:21:19.615" v="179" actId="6549"/>
          <ac:spMkLst>
            <pc:docMk/>
            <pc:sldMk cId="3030244850" sldId="2147480981"/>
            <ac:spMk id="2" creationId="{6D47ADA7-7795-BFC0-FC07-97B1DC789656}"/>
          </ac:spMkLst>
        </pc:spChg>
        <pc:spChg chg="mod">
          <ac:chgData name="Avins, Jeremy" userId="524029c6-d48b-4e18-b6fc-fc3e75587460" providerId="ADAL" clId="{A53AE024-F45A-4484-8BB7-E35D4335D7AE}" dt="2023-09-09T18:21:03.077" v="130" actId="1076"/>
          <ac:spMkLst>
            <pc:docMk/>
            <pc:sldMk cId="3030244850" sldId="2147480981"/>
            <ac:spMk id="3" creationId="{36923D2C-E080-3EA9-5E15-0EC0772FE8FD}"/>
          </ac:spMkLst>
        </pc:spChg>
        <pc:spChg chg="mod">
          <ac:chgData name="Avins, Jeremy" userId="524029c6-d48b-4e18-b6fc-fc3e75587460" providerId="ADAL" clId="{A53AE024-F45A-4484-8BB7-E35D4335D7AE}" dt="2023-09-09T18:21:03.077" v="130" actId="1076"/>
          <ac:spMkLst>
            <pc:docMk/>
            <pc:sldMk cId="3030244850" sldId="2147480981"/>
            <ac:spMk id="4" creationId="{A01FDF64-37BB-662E-382C-D0F1B5915D3B}"/>
          </ac:spMkLst>
        </pc:spChg>
        <pc:spChg chg="mod">
          <ac:chgData name="Avins, Jeremy" userId="524029c6-d48b-4e18-b6fc-fc3e75587460" providerId="ADAL" clId="{A53AE024-F45A-4484-8BB7-E35D4335D7AE}" dt="2023-09-09T18:21:03.077" v="130" actId="1076"/>
          <ac:spMkLst>
            <pc:docMk/>
            <pc:sldMk cId="3030244850" sldId="2147480981"/>
            <ac:spMk id="11" creationId="{AFC0B1C4-1082-DC0B-F2CE-06CF21BB90B9}"/>
          </ac:spMkLst>
        </pc:spChg>
        <pc:spChg chg="mod">
          <ac:chgData name="Avins, Jeremy" userId="524029c6-d48b-4e18-b6fc-fc3e75587460" providerId="ADAL" clId="{A53AE024-F45A-4484-8BB7-E35D4335D7AE}" dt="2023-09-09T18:21:03.077" v="130" actId="1076"/>
          <ac:spMkLst>
            <pc:docMk/>
            <pc:sldMk cId="3030244850" sldId="2147480981"/>
            <ac:spMk id="14" creationId="{2C9B5CE9-67FD-E9DC-275C-A6CB0D5410D1}"/>
          </ac:spMkLst>
        </pc:spChg>
        <pc:picChg chg="mod">
          <ac:chgData name="Avins, Jeremy" userId="524029c6-d48b-4e18-b6fc-fc3e75587460" providerId="ADAL" clId="{A53AE024-F45A-4484-8BB7-E35D4335D7AE}" dt="2023-09-09T18:21:03.077" v="130" actId="1076"/>
          <ac:picMkLst>
            <pc:docMk/>
            <pc:sldMk cId="3030244850" sldId="2147480981"/>
            <ac:picMk id="6" creationId="{0C3B9104-F97A-4B58-D0D2-AAD01B645DF9}"/>
          </ac:picMkLst>
        </pc:picChg>
        <pc:picChg chg="mod">
          <ac:chgData name="Avins, Jeremy" userId="524029c6-d48b-4e18-b6fc-fc3e75587460" providerId="ADAL" clId="{A53AE024-F45A-4484-8BB7-E35D4335D7AE}" dt="2023-09-09T18:21:03.077" v="130" actId="1076"/>
          <ac:picMkLst>
            <pc:docMk/>
            <pc:sldMk cId="3030244850" sldId="2147480981"/>
            <ac:picMk id="13" creationId="{3E7ABA12-8598-EA93-57B7-B8D549BC1B74}"/>
          </ac:picMkLst>
        </pc:picChg>
      </pc:sldChg>
      <pc:sldChg chg="modSp mod">
        <pc:chgData name="Avins, Jeremy" userId="524029c6-d48b-4e18-b6fc-fc3e75587460" providerId="ADAL" clId="{A53AE024-F45A-4484-8BB7-E35D4335D7AE}" dt="2023-09-09T18:20:20.583" v="63" actId="255"/>
        <pc:sldMkLst>
          <pc:docMk/>
          <pc:sldMk cId="1725296118" sldId="2147480985"/>
        </pc:sldMkLst>
        <pc:spChg chg="mod">
          <ac:chgData name="Avins, Jeremy" userId="524029c6-d48b-4e18-b6fc-fc3e75587460" providerId="ADAL" clId="{A53AE024-F45A-4484-8BB7-E35D4335D7AE}" dt="2023-09-09T18:20:03.557" v="58" actId="20577"/>
          <ac:spMkLst>
            <pc:docMk/>
            <pc:sldMk cId="1725296118" sldId="2147480985"/>
            <ac:spMk id="4" creationId="{28264CBB-13D6-07A7-B697-4C0E0ED25F4E}"/>
          </ac:spMkLst>
        </pc:spChg>
        <pc:spChg chg="mod">
          <ac:chgData name="Avins, Jeremy" userId="524029c6-d48b-4e18-b6fc-fc3e75587460" providerId="ADAL" clId="{A53AE024-F45A-4484-8BB7-E35D4335D7AE}" dt="2023-09-09T18:20:20.583" v="63" actId="255"/>
          <ac:spMkLst>
            <pc:docMk/>
            <pc:sldMk cId="1725296118" sldId="2147480985"/>
            <ac:spMk id="18" creationId="{75814182-A0F9-F671-8263-C0AA3AA90D8A}"/>
          </ac:spMkLst>
        </pc:spChg>
      </pc:sldChg>
    </pc:docChg>
  </pc:docChgLst>
  <pc:docChgLst>
    <pc:chgData name="Jeremy Avins" userId="524029c6-d48b-4e18-b6fc-fc3e75587460" providerId="ADAL" clId="{A53AE024-F45A-4484-8BB7-E35D4335D7AE}"/>
    <pc:docChg chg="undo custSel delSld modSld">
      <pc:chgData name="Jeremy Avins" userId="524029c6-d48b-4e18-b6fc-fc3e75587460" providerId="ADAL" clId="{A53AE024-F45A-4484-8BB7-E35D4335D7AE}" dt="2023-09-13T13:24:24.051" v="135" actId="47"/>
      <pc:docMkLst>
        <pc:docMk/>
      </pc:docMkLst>
      <pc:sldChg chg="addSp delSp modSp mod">
        <pc:chgData name="Jeremy Avins" userId="524029c6-d48b-4e18-b6fc-fc3e75587460" providerId="ADAL" clId="{A53AE024-F45A-4484-8BB7-E35D4335D7AE}" dt="2023-09-12T22:08:05.014" v="134" actId="14100"/>
        <pc:sldMkLst>
          <pc:docMk/>
          <pc:sldMk cId="925849647" sldId="256"/>
        </pc:sldMkLst>
        <pc:spChg chg="mod">
          <ac:chgData name="Jeremy Avins" userId="524029c6-d48b-4e18-b6fc-fc3e75587460" providerId="ADAL" clId="{A53AE024-F45A-4484-8BB7-E35D4335D7AE}" dt="2023-09-12T22:06:47.660" v="122" actId="12788"/>
          <ac:spMkLst>
            <pc:docMk/>
            <pc:sldMk cId="925849647" sldId="256"/>
            <ac:spMk id="6" creationId="{ABB2C5AD-F90A-43AD-A997-FE544FAAA303}"/>
          </ac:spMkLst>
        </pc:spChg>
        <pc:spChg chg="mod">
          <ac:chgData name="Jeremy Avins" userId="524029c6-d48b-4e18-b6fc-fc3e75587460" providerId="ADAL" clId="{A53AE024-F45A-4484-8BB7-E35D4335D7AE}" dt="2023-09-12T22:07:22.747" v="127" actId="14100"/>
          <ac:spMkLst>
            <pc:docMk/>
            <pc:sldMk cId="925849647" sldId="256"/>
            <ac:spMk id="7" creationId="{E0FA8683-43F1-83D0-FD5D-DE3D8E543E30}"/>
          </ac:spMkLst>
        </pc:spChg>
        <pc:spChg chg="mod">
          <ac:chgData name="Jeremy Avins" userId="524029c6-d48b-4e18-b6fc-fc3e75587460" providerId="ADAL" clId="{A53AE024-F45A-4484-8BB7-E35D4335D7AE}" dt="2023-09-12T22:06:23.085" v="118" actId="12788"/>
          <ac:spMkLst>
            <pc:docMk/>
            <pc:sldMk cId="925849647" sldId="256"/>
            <ac:spMk id="9" creationId="{9957BC44-75C7-7634-5C28-14393BEF1B6F}"/>
          </ac:spMkLst>
        </pc:spChg>
        <pc:spChg chg="mod">
          <ac:chgData name="Jeremy Avins" userId="524029c6-d48b-4e18-b6fc-fc3e75587460" providerId="ADAL" clId="{A53AE024-F45A-4484-8BB7-E35D4335D7AE}" dt="2023-09-12T22:06:05.335" v="115" actId="12788"/>
          <ac:spMkLst>
            <pc:docMk/>
            <pc:sldMk cId="925849647" sldId="256"/>
            <ac:spMk id="10" creationId="{B6CB1E98-3F38-E663-7E0F-64B8460C9094}"/>
          </ac:spMkLst>
        </pc:spChg>
        <pc:spChg chg="mod">
          <ac:chgData name="Jeremy Avins" userId="524029c6-d48b-4e18-b6fc-fc3e75587460" providerId="ADAL" clId="{A53AE024-F45A-4484-8BB7-E35D4335D7AE}" dt="2023-09-12T22:06:55.766" v="123" actId="555"/>
          <ac:spMkLst>
            <pc:docMk/>
            <pc:sldMk cId="925849647" sldId="256"/>
            <ac:spMk id="11" creationId="{FAD526DE-7BF1-20CD-6346-B2FDD2E00876}"/>
          </ac:spMkLst>
        </pc:spChg>
        <pc:spChg chg="mod">
          <ac:chgData name="Jeremy Avins" userId="524029c6-d48b-4e18-b6fc-fc3e75587460" providerId="ADAL" clId="{A53AE024-F45A-4484-8BB7-E35D4335D7AE}" dt="2023-09-12T22:04:51.393" v="102" actId="1076"/>
          <ac:spMkLst>
            <pc:docMk/>
            <pc:sldMk cId="925849647" sldId="256"/>
            <ac:spMk id="13" creationId="{87C2CE91-2BF1-5C04-2185-8DD94B24F919}"/>
          </ac:spMkLst>
        </pc:spChg>
        <pc:spChg chg="mod">
          <ac:chgData name="Jeremy Avins" userId="524029c6-d48b-4e18-b6fc-fc3e75587460" providerId="ADAL" clId="{A53AE024-F45A-4484-8BB7-E35D4335D7AE}" dt="2023-09-12T22:04:51.393" v="102" actId="1076"/>
          <ac:spMkLst>
            <pc:docMk/>
            <pc:sldMk cId="925849647" sldId="256"/>
            <ac:spMk id="15" creationId="{59DD74F0-38A0-A014-45C0-9AA363BA6495}"/>
          </ac:spMkLst>
        </pc:spChg>
        <pc:spChg chg="mod">
          <ac:chgData name="Jeremy Avins" userId="524029c6-d48b-4e18-b6fc-fc3e75587460" providerId="ADAL" clId="{A53AE024-F45A-4484-8BB7-E35D4335D7AE}" dt="2023-09-12T22:04:51.393" v="102" actId="1076"/>
          <ac:spMkLst>
            <pc:docMk/>
            <pc:sldMk cId="925849647" sldId="256"/>
            <ac:spMk id="16" creationId="{30BA5A3F-6A49-1545-57EE-FBCE7C80E6DA}"/>
          </ac:spMkLst>
        </pc:spChg>
        <pc:spChg chg="mod">
          <ac:chgData name="Jeremy Avins" userId="524029c6-d48b-4e18-b6fc-fc3e75587460" providerId="ADAL" clId="{A53AE024-F45A-4484-8BB7-E35D4335D7AE}" dt="2023-09-12T22:06:11.604" v="116" actId="164"/>
          <ac:spMkLst>
            <pc:docMk/>
            <pc:sldMk cId="925849647" sldId="256"/>
            <ac:spMk id="17" creationId="{615E984F-7198-6047-E5E3-C706BFC43B35}"/>
          </ac:spMkLst>
        </pc:spChg>
        <pc:spChg chg="mod">
          <ac:chgData name="Jeremy Avins" userId="524029c6-d48b-4e18-b6fc-fc3e75587460" providerId="ADAL" clId="{A53AE024-F45A-4484-8BB7-E35D4335D7AE}" dt="2023-09-12T22:06:01.958" v="114" actId="164"/>
          <ac:spMkLst>
            <pc:docMk/>
            <pc:sldMk cId="925849647" sldId="256"/>
            <ac:spMk id="18" creationId="{75AFF898-5FC4-BC4B-FFF0-6C3C4E19836C}"/>
          </ac:spMkLst>
        </pc:spChg>
        <pc:spChg chg="mod">
          <ac:chgData name="Jeremy Avins" userId="524029c6-d48b-4e18-b6fc-fc3e75587460" providerId="ADAL" clId="{A53AE024-F45A-4484-8BB7-E35D4335D7AE}" dt="2023-09-12T22:06:59.938" v="124" actId="1076"/>
          <ac:spMkLst>
            <pc:docMk/>
            <pc:sldMk cId="925849647" sldId="256"/>
            <ac:spMk id="27" creationId="{A89172B6-5C56-D438-F79E-0EA64BC6793A}"/>
          </ac:spMkLst>
        </pc:spChg>
        <pc:spChg chg="mod">
          <ac:chgData name="Jeremy Avins" userId="524029c6-d48b-4e18-b6fc-fc3e75587460" providerId="ADAL" clId="{A53AE024-F45A-4484-8BB7-E35D4335D7AE}" dt="2023-09-12T22:06:59.938" v="124" actId="1076"/>
          <ac:spMkLst>
            <pc:docMk/>
            <pc:sldMk cId="925849647" sldId="256"/>
            <ac:spMk id="29" creationId="{8A76F009-68AB-E918-D217-B0F529957E55}"/>
          </ac:spMkLst>
        </pc:spChg>
        <pc:spChg chg="mod">
          <ac:chgData name="Jeremy Avins" userId="524029c6-d48b-4e18-b6fc-fc3e75587460" providerId="ADAL" clId="{A53AE024-F45A-4484-8BB7-E35D4335D7AE}" dt="2023-09-12T22:06:59.938" v="124" actId="1076"/>
          <ac:spMkLst>
            <pc:docMk/>
            <pc:sldMk cId="925849647" sldId="256"/>
            <ac:spMk id="30" creationId="{BC607CB3-D0A4-B2DA-DA9C-6BD1805FECC5}"/>
          </ac:spMkLst>
        </pc:spChg>
        <pc:grpChg chg="del mod">
          <ac:chgData name="Jeremy Avins" userId="524029c6-d48b-4e18-b6fc-fc3e75587460" providerId="ADAL" clId="{A53AE024-F45A-4484-8BB7-E35D4335D7AE}" dt="2023-09-12T22:06:34.682" v="119" actId="21"/>
          <ac:grpSpMkLst>
            <pc:docMk/>
            <pc:sldMk cId="925849647" sldId="256"/>
            <ac:grpSpMk id="12" creationId="{14A024C9-C64F-9E00-4D50-CC0B86077BE7}"/>
          </ac:grpSpMkLst>
        </pc:grpChg>
        <pc:grpChg chg="mod">
          <ac:chgData name="Jeremy Avins" userId="524029c6-d48b-4e18-b6fc-fc3e75587460" providerId="ADAL" clId="{A53AE024-F45A-4484-8BB7-E35D4335D7AE}" dt="2023-09-12T22:04:51.393" v="102" actId="1076"/>
          <ac:grpSpMkLst>
            <pc:docMk/>
            <pc:sldMk cId="925849647" sldId="256"/>
            <ac:grpSpMk id="14" creationId="{6FC32FA8-0916-26AD-E664-8C074397C6A1}"/>
          </ac:grpSpMkLst>
        </pc:grpChg>
        <pc:grpChg chg="add mod">
          <ac:chgData name="Jeremy Avins" userId="524029c6-d48b-4e18-b6fc-fc3e75587460" providerId="ADAL" clId="{A53AE024-F45A-4484-8BB7-E35D4335D7AE}" dt="2023-09-12T22:06:14.989" v="117" actId="554"/>
          <ac:grpSpMkLst>
            <pc:docMk/>
            <pc:sldMk cId="925849647" sldId="256"/>
            <ac:grpSpMk id="22" creationId="{A0395ACD-C862-3D3E-54AE-DADF6EE2C3EF}"/>
          </ac:grpSpMkLst>
        </pc:grpChg>
        <pc:grpChg chg="add mod">
          <ac:chgData name="Jeremy Avins" userId="524029c6-d48b-4e18-b6fc-fc3e75587460" providerId="ADAL" clId="{A53AE024-F45A-4484-8BB7-E35D4335D7AE}" dt="2023-09-12T22:06:55.766" v="123" actId="555"/>
          <ac:grpSpMkLst>
            <pc:docMk/>
            <pc:sldMk cId="925849647" sldId="256"/>
            <ac:grpSpMk id="24" creationId="{3C51CB20-B888-EA48-ADE8-C45607FBB91E}"/>
          </ac:grpSpMkLst>
        </pc:grpChg>
        <pc:grpChg chg="add mod">
          <ac:chgData name="Jeremy Avins" userId="524029c6-d48b-4e18-b6fc-fc3e75587460" providerId="ADAL" clId="{A53AE024-F45A-4484-8BB7-E35D4335D7AE}" dt="2023-09-12T22:06:59.938" v="124" actId="1076"/>
          <ac:grpSpMkLst>
            <pc:docMk/>
            <pc:sldMk cId="925849647" sldId="256"/>
            <ac:grpSpMk id="26" creationId="{535A38D1-072E-469F-94CA-989880323EA4}"/>
          </ac:grpSpMkLst>
        </pc:grpChg>
        <pc:grpChg chg="mod">
          <ac:chgData name="Jeremy Avins" userId="524029c6-d48b-4e18-b6fc-fc3e75587460" providerId="ADAL" clId="{A53AE024-F45A-4484-8BB7-E35D4335D7AE}" dt="2023-09-12T22:06:59.938" v="124" actId="1076"/>
          <ac:grpSpMkLst>
            <pc:docMk/>
            <pc:sldMk cId="925849647" sldId="256"/>
            <ac:grpSpMk id="28" creationId="{0BECE43A-2E04-5DFF-37DB-8FE10746D88E}"/>
          </ac:grpSpMkLst>
        </pc:grpChg>
        <pc:picChg chg="mod modCrop">
          <ac:chgData name="Jeremy Avins" userId="524029c6-d48b-4e18-b6fc-fc3e75587460" providerId="ADAL" clId="{A53AE024-F45A-4484-8BB7-E35D4335D7AE}" dt="2023-09-12T22:03:47.471" v="87" actId="732"/>
          <ac:picMkLst>
            <pc:docMk/>
            <pc:sldMk cId="925849647" sldId="256"/>
            <ac:picMk id="4" creationId="{8514593E-662C-9198-AEBC-AF10C0257A84}"/>
          </ac:picMkLst>
        </pc:picChg>
        <pc:picChg chg="mod">
          <ac:chgData name="Jeremy Avins" userId="524029c6-d48b-4e18-b6fc-fc3e75587460" providerId="ADAL" clId="{A53AE024-F45A-4484-8BB7-E35D4335D7AE}" dt="2023-09-12T22:06:11.604" v="116" actId="164"/>
          <ac:picMkLst>
            <pc:docMk/>
            <pc:sldMk cId="925849647" sldId="256"/>
            <ac:picMk id="19" creationId="{260796CD-4E0C-5601-95A4-549660ABCEEF}"/>
          </ac:picMkLst>
        </pc:picChg>
        <pc:picChg chg="mod">
          <ac:chgData name="Jeremy Avins" userId="524029c6-d48b-4e18-b6fc-fc3e75587460" providerId="ADAL" clId="{A53AE024-F45A-4484-8BB7-E35D4335D7AE}" dt="2023-09-12T22:06:01.958" v="114" actId="164"/>
          <ac:picMkLst>
            <pc:docMk/>
            <pc:sldMk cId="925849647" sldId="256"/>
            <ac:picMk id="20" creationId="{9CF29CE2-7218-867D-840F-0DFA2BC16A75}"/>
          </ac:picMkLst>
        </pc:picChg>
        <pc:picChg chg="del">
          <ac:chgData name="Jeremy Avins" userId="524029c6-d48b-4e18-b6fc-fc3e75587460" providerId="ADAL" clId="{A53AE024-F45A-4484-8BB7-E35D4335D7AE}" dt="2023-09-12T22:03:53.702" v="88" actId="478"/>
          <ac:picMkLst>
            <pc:docMk/>
            <pc:sldMk cId="925849647" sldId="256"/>
            <ac:picMk id="25" creationId="{391C7745-BE00-A35A-7D6F-F0802AC1879C}"/>
          </ac:picMkLst>
        </pc:picChg>
        <pc:cxnChg chg="mod">
          <ac:chgData name="Jeremy Avins" userId="524029c6-d48b-4e18-b6fc-fc3e75587460" providerId="ADAL" clId="{A53AE024-F45A-4484-8BB7-E35D4335D7AE}" dt="2023-09-12T22:08:05.014" v="134" actId="14100"/>
          <ac:cxnSpMkLst>
            <pc:docMk/>
            <pc:sldMk cId="925849647" sldId="256"/>
            <ac:cxnSpMk id="21" creationId="{C7643FFF-7B11-CAA3-B12C-71907CB7337A}"/>
          </ac:cxnSpMkLst>
        </pc:cxnChg>
      </pc:sldChg>
      <pc:sldChg chg="modSp del mod">
        <pc:chgData name="Jeremy Avins" userId="524029c6-d48b-4e18-b6fc-fc3e75587460" providerId="ADAL" clId="{A53AE024-F45A-4484-8BB7-E35D4335D7AE}" dt="2023-09-13T13:24:24.051" v="135" actId="47"/>
        <pc:sldMkLst>
          <pc:docMk/>
          <pc:sldMk cId="2345360221" sldId="796"/>
        </pc:sldMkLst>
        <pc:spChg chg="mod">
          <ac:chgData name="Jeremy Avins" userId="524029c6-d48b-4e18-b6fc-fc3e75587460" providerId="ADAL" clId="{A53AE024-F45A-4484-8BB7-E35D4335D7AE}" dt="2023-09-12T22:07:31.683" v="131" actId="14100"/>
          <ac:spMkLst>
            <pc:docMk/>
            <pc:sldMk cId="2345360221" sldId="796"/>
            <ac:spMk id="2" creationId="{00000000-0000-0000-0000-000000000000}"/>
          </ac:spMkLst>
        </pc:spChg>
        <pc:spChg chg="mod">
          <ac:chgData name="Jeremy Avins" userId="524029c6-d48b-4e18-b6fc-fc3e75587460" providerId="ADAL" clId="{A53AE024-F45A-4484-8BB7-E35D4335D7AE}" dt="2023-09-12T14:58:46.842" v="66" actId="113"/>
          <ac:spMkLst>
            <pc:docMk/>
            <pc:sldMk cId="2345360221" sldId="796"/>
            <ac:spMk id="8" creationId="{9ECE570A-1B69-1E57-DCAA-5F2DD35076E5}"/>
          </ac:spMkLst>
        </pc:spChg>
        <pc:spChg chg="mod">
          <ac:chgData name="Jeremy Avins" userId="524029c6-d48b-4e18-b6fc-fc3e75587460" providerId="ADAL" clId="{A53AE024-F45A-4484-8BB7-E35D4335D7AE}" dt="2023-09-12T14:58:48.067" v="68" actId="113"/>
          <ac:spMkLst>
            <pc:docMk/>
            <pc:sldMk cId="2345360221" sldId="796"/>
            <ac:spMk id="35" creationId="{00000000-0000-0000-0000-000000000000}"/>
          </ac:spMkLst>
        </pc:spChg>
        <pc:cxnChg chg="mod">
          <ac:chgData name="Jeremy Avins" userId="524029c6-d48b-4e18-b6fc-fc3e75587460" providerId="ADAL" clId="{A53AE024-F45A-4484-8BB7-E35D4335D7AE}" dt="2023-09-12T14:58:47.641" v="67" actId="14100"/>
          <ac:cxnSpMkLst>
            <pc:docMk/>
            <pc:sldMk cId="2345360221" sldId="796"/>
            <ac:cxnSpMk id="7" creationId="{83ACA9DD-A053-BABC-92F8-B65DB0A63E83}"/>
          </ac:cxnSpMkLst>
        </pc:cxnChg>
      </pc:sldChg>
      <pc:sldChg chg="modSp mod addCm delCm">
        <pc:chgData name="Jeremy Avins" userId="524029c6-d48b-4e18-b6fc-fc3e75587460" providerId="ADAL" clId="{A53AE024-F45A-4484-8BB7-E35D4335D7AE}" dt="2023-09-12T15:00:47.023" v="71" actId="20577"/>
        <pc:sldMkLst>
          <pc:docMk/>
          <pc:sldMk cId="3030244850" sldId="2147480981"/>
        </pc:sldMkLst>
        <pc:spChg chg="mod">
          <ac:chgData name="Jeremy Avins" userId="524029c6-d48b-4e18-b6fc-fc3e75587460" providerId="ADAL" clId="{A53AE024-F45A-4484-8BB7-E35D4335D7AE}" dt="2023-09-12T15:00:47.023" v="71" actId="20577"/>
          <ac:spMkLst>
            <pc:docMk/>
            <pc:sldMk cId="3030244850" sldId="2147480981"/>
            <ac:spMk id="2" creationId="{6D47ADA7-7795-BFC0-FC07-97B1DC789656}"/>
          </ac:spMkLst>
        </pc:spChg>
        <pc:spChg chg="mod">
          <ac:chgData name="Jeremy Avins" userId="524029c6-d48b-4e18-b6fc-fc3e75587460" providerId="ADAL" clId="{A53AE024-F45A-4484-8BB7-E35D4335D7AE}" dt="2023-09-12T00:59:43.561" v="54" actId="20577"/>
          <ac:spMkLst>
            <pc:docMk/>
            <pc:sldMk cId="3030244850" sldId="2147480981"/>
            <ac:spMk id="3" creationId="{36923D2C-E080-3EA9-5E15-0EC0772FE8FD}"/>
          </ac:spMkLst>
        </pc:spChg>
        <pc:spChg chg="mod">
          <ac:chgData name="Jeremy Avins" userId="524029c6-d48b-4e18-b6fc-fc3e75587460" providerId="ADAL" clId="{A53AE024-F45A-4484-8BB7-E35D4335D7AE}" dt="2023-09-11T23:01:25.736" v="10" actId="207"/>
          <ac:spMkLst>
            <pc:docMk/>
            <pc:sldMk cId="3030244850" sldId="2147480981"/>
            <ac:spMk id="4" creationId="{A01FDF64-37BB-662E-382C-D0F1B5915D3B}"/>
          </ac:spMkLst>
        </pc:spChg>
        <pc:spChg chg="mod">
          <ac:chgData name="Jeremy Avins" userId="524029c6-d48b-4e18-b6fc-fc3e75587460" providerId="ADAL" clId="{A53AE024-F45A-4484-8BB7-E35D4335D7AE}" dt="2023-09-12T00:59:32.982" v="47" actId="20577"/>
          <ac:spMkLst>
            <pc:docMk/>
            <pc:sldMk cId="3030244850" sldId="2147480981"/>
            <ac:spMk id="11" creationId="{AFC0B1C4-1082-DC0B-F2CE-06CF21BB90B9}"/>
          </ac:spMkLst>
        </pc:spChg>
        <pc:spChg chg="mod">
          <ac:chgData name="Jeremy Avins" userId="524029c6-d48b-4e18-b6fc-fc3e75587460" providerId="ADAL" clId="{A53AE024-F45A-4484-8BB7-E35D4335D7AE}" dt="2023-09-11T23:01:25.736" v="10" actId="207"/>
          <ac:spMkLst>
            <pc:docMk/>
            <pc:sldMk cId="3030244850" sldId="2147480981"/>
            <ac:spMk id="14" creationId="{2C9B5CE9-67FD-E9DC-275C-A6CB0D5410D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Jeremy Avins" userId="524029c6-d48b-4e18-b6fc-fc3e75587460" providerId="ADAL" clId="{A53AE024-F45A-4484-8BB7-E35D4335D7AE}" dt="2023-09-11T23:01:00.803" v="5"/>
              <pc2:cmMkLst xmlns:pc2="http://schemas.microsoft.com/office/powerpoint/2019/9/main/command">
                <pc:docMk/>
                <pc:sldMk cId="3030244850" sldId="2147480981"/>
                <pc2:cmMk id="{CA846037-2BAA-4B5F-974F-CB541B765BA5}"/>
              </pc2:cmMkLst>
            </pc226:cmChg>
          </p:ext>
        </pc:extLst>
      </pc:sldChg>
      <pc:sldChg chg="modSp mod">
        <pc:chgData name="Jeremy Avins" userId="524029c6-d48b-4e18-b6fc-fc3e75587460" providerId="ADAL" clId="{A53AE024-F45A-4484-8BB7-E35D4335D7AE}" dt="2023-09-12T01:00:06.226" v="57" actId="207"/>
        <pc:sldMkLst>
          <pc:docMk/>
          <pc:sldMk cId="1725296118" sldId="2147480985"/>
        </pc:sldMkLst>
        <pc:spChg chg="mod">
          <ac:chgData name="Jeremy Avins" userId="524029c6-d48b-4e18-b6fc-fc3e75587460" providerId="ADAL" clId="{A53AE024-F45A-4484-8BB7-E35D4335D7AE}" dt="2023-09-12T00:57:45.655" v="13" actId="207"/>
          <ac:spMkLst>
            <pc:docMk/>
            <pc:sldMk cId="1725296118" sldId="2147480985"/>
            <ac:spMk id="3" creationId="{04C54512-BAA9-A22A-4018-DCACBE6D8DC9}"/>
          </ac:spMkLst>
        </pc:spChg>
        <pc:spChg chg="mod">
          <ac:chgData name="Jeremy Avins" userId="524029c6-d48b-4e18-b6fc-fc3e75587460" providerId="ADAL" clId="{A53AE024-F45A-4484-8BB7-E35D4335D7AE}" dt="2023-09-12T00:58:50.891" v="40" actId="20577"/>
          <ac:spMkLst>
            <pc:docMk/>
            <pc:sldMk cId="1725296118" sldId="2147480985"/>
            <ac:spMk id="4" creationId="{28264CBB-13D6-07A7-B697-4C0E0ED25F4E}"/>
          </ac:spMkLst>
        </pc:spChg>
        <pc:spChg chg="mod">
          <ac:chgData name="Jeremy Avins" userId="524029c6-d48b-4e18-b6fc-fc3e75587460" providerId="ADAL" clId="{A53AE024-F45A-4484-8BB7-E35D4335D7AE}" dt="2023-09-12T01:00:06.226" v="57" actId="207"/>
          <ac:spMkLst>
            <pc:docMk/>
            <pc:sldMk cId="1725296118" sldId="2147480985"/>
            <ac:spMk id="6" creationId="{11BB0D6C-842E-BBB5-70D6-189E65F5B53B}"/>
          </ac:spMkLst>
        </pc:spChg>
        <pc:spChg chg="mod">
          <ac:chgData name="Jeremy Avins" userId="524029c6-d48b-4e18-b6fc-fc3e75587460" providerId="ADAL" clId="{A53AE024-F45A-4484-8BB7-E35D4335D7AE}" dt="2023-09-12T00:57:55.164" v="15" actId="108"/>
          <ac:spMkLst>
            <pc:docMk/>
            <pc:sldMk cId="1725296118" sldId="2147480985"/>
            <ac:spMk id="8" creationId="{75072FF0-3CD1-ACCA-D0C2-FA677CE67572}"/>
          </ac:spMkLst>
        </pc:spChg>
        <pc:spChg chg="mod">
          <ac:chgData name="Jeremy Avins" userId="524029c6-d48b-4e18-b6fc-fc3e75587460" providerId="ADAL" clId="{A53AE024-F45A-4484-8BB7-E35D4335D7AE}" dt="2023-09-12T00:57:57.824" v="16" actId="207"/>
          <ac:spMkLst>
            <pc:docMk/>
            <pc:sldMk cId="1725296118" sldId="2147480985"/>
            <ac:spMk id="18" creationId="{75814182-A0F9-F671-8263-C0AA3AA90D8A}"/>
          </ac:spMkLst>
        </pc:spChg>
        <pc:picChg chg="mod">
          <ac:chgData name="Jeremy Avins" userId="524029c6-d48b-4e18-b6fc-fc3e75587460" providerId="ADAL" clId="{A53AE024-F45A-4484-8BB7-E35D4335D7AE}" dt="2023-09-12T01:00:01.225" v="56" actId="14100"/>
          <ac:picMkLst>
            <pc:docMk/>
            <pc:sldMk cId="1725296118" sldId="2147480985"/>
            <ac:picMk id="15" creationId="{A96DB45F-19F0-D5BD-F129-06B95D1D4530}"/>
          </ac:picMkLst>
        </pc:picChg>
      </pc:sldChg>
      <pc:sldMasterChg chg="delSldLayout">
        <pc:chgData name="Jeremy Avins" userId="524029c6-d48b-4e18-b6fc-fc3e75587460" providerId="ADAL" clId="{A53AE024-F45A-4484-8BB7-E35D4335D7AE}" dt="2023-09-13T13:24:24.051" v="135" actId="47"/>
        <pc:sldMasterMkLst>
          <pc:docMk/>
          <pc:sldMasterMk cId="3651930445" sldId="2147483689"/>
        </pc:sldMasterMkLst>
        <pc:sldLayoutChg chg="del">
          <pc:chgData name="Jeremy Avins" userId="524029c6-d48b-4e18-b6fc-fc3e75587460" providerId="ADAL" clId="{A53AE024-F45A-4484-8BB7-E35D4335D7AE}" dt="2023-09-13T13:24:24.051" v="135" actId="47"/>
          <pc:sldLayoutMkLst>
            <pc:docMk/>
            <pc:sldMasterMk cId="3651930445" sldId="2147483689"/>
            <pc:sldLayoutMk cId="1074936462" sldId="2147483710"/>
          </pc:sldLayoutMkLst>
        </pc:sldLayoutChg>
      </pc:sldMasterChg>
    </pc:docChg>
  </pc:docChgLst>
  <pc:docChgLst>
    <pc:chgData name="Visconti, Kelly" userId="S::kelly.visconti@hq.doe.gov::4b97d32d-e02e-4e16-b120-cdaa5a81390d" providerId="AD" clId="Web-{F41DD2FF-ACC4-6F97-AFB3-301997CA0C55}"/>
    <pc:docChg chg="mod modSld">
      <pc:chgData name="Visconti, Kelly" userId="S::kelly.visconti@hq.doe.gov::4b97d32d-e02e-4e16-b120-cdaa5a81390d" providerId="AD" clId="Web-{F41DD2FF-ACC4-6F97-AFB3-301997CA0C55}" dt="2023-09-11T21:27:44.894" v="2"/>
      <pc:docMkLst>
        <pc:docMk/>
      </pc:docMkLst>
      <pc:sldChg chg="addCm">
        <pc:chgData name="Visconti, Kelly" userId="S::kelly.visconti@hq.doe.gov::4b97d32d-e02e-4e16-b120-cdaa5a81390d" providerId="AD" clId="Web-{F41DD2FF-ACC4-6F97-AFB3-301997CA0C55}" dt="2023-09-11T21:27:44.894" v="2"/>
        <pc:sldMkLst>
          <pc:docMk/>
          <pc:sldMk cId="3030244850" sldId="214748098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Visconti, Kelly" userId="S::kelly.visconti@hq.doe.gov::4b97d32d-e02e-4e16-b120-cdaa5a81390d" providerId="AD" clId="Web-{F41DD2FF-ACC4-6F97-AFB3-301997CA0C55}" dt="2023-09-11T21:27:44.894" v="2"/>
              <pc2:cmMkLst xmlns:pc2="http://schemas.microsoft.com/office/powerpoint/2019/9/main/command">
                <pc:docMk/>
                <pc:sldMk cId="3030244850" sldId="2147480981"/>
                <pc2:cmMk id="{CA846037-2BAA-4B5F-974F-CB541B765BA5}"/>
              </pc2:cmMkLst>
            </pc226:cmChg>
          </p:ext>
        </pc:extLst>
      </pc:sldChg>
      <pc:sldChg chg="modSp">
        <pc:chgData name="Visconti, Kelly" userId="S::kelly.visconti@hq.doe.gov::4b97d32d-e02e-4e16-b120-cdaa5a81390d" providerId="AD" clId="Web-{F41DD2FF-ACC4-6F97-AFB3-301997CA0C55}" dt="2023-09-11T21:27:16.675" v="0" actId="20577"/>
        <pc:sldMkLst>
          <pc:docMk/>
          <pc:sldMk cId="1725296118" sldId="2147480985"/>
        </pc:sldMkLst>
        <pc:spChg chg="mod">
          <ac:chgData name="Visconti, Kelly" userId="S::kelly.visconti@hq.doe.gov::4b97d32d-e02e-4e16-b120-cdaa5a81390d" providerId="AD" clId="Web-{F41DD2FF-ACC4-6F97-AFB3-301997CA0C55}" dt="2023-09-11T21:27:16.675" v="0" actId="20577"/>
          <ac:spMkLst>
            <pc:docMk/>
            <pc:sldMk cId="1725296118" sldId="2147480985"/>
            <ac:spMk id="6" creationId="{11BB0D6C-842E-BBB5-70D6-189E65F5B53B}"/>
          </ac:spMkLst>
        </pc:spChg>
      </pc:sldChg>
    </pc:docChg>
  </pc:docChgLst>
  <pc:docChgLst>
    <pc:chgData name="O'Keefe, Piper" userId="S::piper.o'keefe@hq.doe.gov::6e89b0d1-4532-4d96-9aea-75c20fb32cf6" providerId="AD" clId="Web-{39E1D6D8-3EB4-9E5B-F7D2-49E24A821A6F}"/>
    <pc:docChg chg="addSld modSld">
      <pc:chgData name="O'Keefe, Piper" userId="S::piper.o'keefe@hq.doe.gov::6e89b0d1-4532-4d96-9aea-75c20fb32cf6" providerId="AD" clId="Web-{39E1D6D8-3EB4-9E5B-F7D2-49E24A821A6F}" dt="2023-09-20T14:16:26.692" v="22" actId="1076"/>
      <pc:docMkLst>
        <pc:docMk/>
      </pc:docMkLst>
      <pc:sldChg chg="modSp new">
        <pc:chgData name="O'Keefe, Piper" userId="S::piper.o'keefe@hq.doe.gov::6e89b0d1-4532-4d96-9aea-75c20fb32cf6" providerId="AD" clId="Web-{39E1D6D8-3EB4-9E5B-F7D2-49E24A821A6F}" dt="2023-09-20T14:16:26.692" v="22" actId="1076"/>
        <pc:sldMkLst>
          <pc:docMk/>
          <pc:sldMk cId="2075778558" sldId="2147480986"/>
        </pc:sldMkLst>
        <pc:spChg chg="mod">
          <ac:chgData name="O'Keefe, Piper" userId="S::piper.o'keefe@hq.doe.gov::6e89b0d1-4532-4d96-9aea-75c20fb32cf6" providerId="AD" clId="Web-{39E1D6D8-3EB4-9E5B-F7D2-49E24A821A6F}" dt="2023-09-20T14:16:26.692" v="22" actId="1076"/>
          <ac:spMkLst>
            <pc:docMk/>
            <pc:sldMk cId="2075778558" sldId="2147480986"/>
            <ac:spMk id="2" creationId="{FCC19AFF-4BF9-4E30-CACA-728A1D32192D}"/>
          </ac:spMkLst>
        </pc:spChg>
      </pc:sldChg>
    </pc:docChg>
  </pc:docChgLst>
  <pc:docChgLst>
    <pc:chgData name="Houston, Chamille" userId="9e3b86c0-0689-4bf6-8f8e-d4f2a12592e6" providerId="ADAL" clId="{C5CE29CA-EB83-409A-B85B-C1A0290A30F2}"/>
    <pc:docChg chg="undo redo custSel addSld modSld">
      <pc:chgData name="Houston, Chamille" userId="9e3b86c0-0689-4bf6-8f8e-d4f2a12592e6" providerId="ADAL" clId="{C5CE29CA-EB83-409A-B85B-C1A0290A30F2}" dt="2023-09-12T19:42:43.316" v="149" actId="2711"/>
      <pc:docMkLst>
        <pc:docMk/>
      </pc:docMkLst>
      <pc:sldChg chg="modSp add mod">
        <pc:chgData name="Houston, Chamille" userId="9e3b86c0-0689-4bf6-8f8e-d4f2a12592e6" providerId="ADAL" clId="{C5CE29CA-EB83-409A-B85B-C1A0290A30F2}" dt="2023-09-12T19:42:43.316" v="149" actId="2711"/>
        <pc:sldMkLst>
          <pc:docMk/>
          <pc:sldMk cId="925849647" sldId="256"/>
        </pc:sldMkLst>
        <pc:spChg chg="mod">
          <ac:chgData name="Houston, Chamille" userId="9e3b86c0-0689-4bf6-8f8e-d4f2a12592e6" providerId="ADAL" clId="{C5CE29CA-EB83-409A-B85B-C1A0290A30F2}" dt="2023-09-12T19:42:13.730" v="144" actId="2711"/>
          <ac:spMkLst>
            <pc:docMk/>
            <pc:sldMk cId="925849647" sldId="256"/>
            <ac:spMk id="6" creationId="{ABB2C5AD-F90A-43AD-A997-FE544FAAA303}"/>
          </ac:spMkLst>
        </pc:spChg>
        <pc:spChg chg="mod">
          <ac:chgData name="Houston, Chamille" userId="9e3b86c0-0689-4bf6-8f8e-d4f2a12592e6" providerId="ADAL" clId="{C5CE29CA-EB83-409A-B85B-C1A0290A30F2}" dt="2023-09-12T19:42:43.316" v="149" actId="2711"/>
          <ac:spMkLst>
            <pc:docMk/>
            <pc:sldMk cId="925849647" sldId="256"/>
            <ac:spMk id="8" creationId="{8E972036-C1A0-DDCE-70B7-9AE3E485829D}"/>
          </ac:spMkLst>
        </pc:spChg>
        <pc:spChg chg="mod">
          <ac:chgData name="Houston, Chamille" userId="9e3b86c0-0689-4bf6-8f8e-d4f2a12592e6" providerId="ADAL" clId="{C5CE29CA-EB83-409A-B85B-C1A0290A30F2}" dt="2023-09-12T19:42:16.493" v="145" actId="2711"/>
          <ac:spMkLst>
            <pc:docMk/>
            <pc:sldMk cId="925849647" sldId="256"/>
            <ac:spMk id="9" creationId="{9957BC44-75C7-7634-5C28-14393BEF1B6F}"/>
          </ac:spMkLst>
        </pc:spChg>
        <pc:spChg chg="mod">
          <ac:chgData name="Houston, Chamille" userId="9e3b86c0-0689-4bf6-8f8e-d4f2a12592e6" providerId="ADAL" clId="{C5CE29CA-EB83-409A-B85B-C1A0290A30F2}" dt="2023-09-12T19:42:19.074" v="146" actId="2711"/>
          <ac:spMkLst>
            <pc:docMk/>
            <pc:sldMk cId="925849647" sldId="256"/>
            <ac:spMk id="10" creationId="{B6CB1E98-3F38-E663-7E0F-64B8460C9094}"/>
          </ac:spMkLst>
        </pc:spChg>
        <pc:spChg chg="mod">
          <ac:chgData name="Houston, Chamille" userId="9e3b86c0-0689-4bf6-8f8e-d4f2a12592e6" providerId="ADAL" clId="{C5CE29CA-EB83-409A-B85B-C1A0290A30F2}" dt="2023-09-12T19:41:25.421" v="137" actId="692"/>
          <ac:spMkLst>
            <pc:docMk/>
            <pc:sldMk cId="925849647" sldId="256"/>
            <ac:spMk id="11" creationId="{FAD526DE-7BF1-20CD-6346-B2FDD2E00876}"/>
          </ac:spMkLst>
        </pc:spChg>
        <pc:spChg chg="mod">
          <ac:chgData name="Houston, Chamille" userId="9e3b86c0-0689-4bf6-8f8e-d4f2a12592e6" providerId="ADAL" clId="{C5CE29CA-EB83-409A-B85B-C1A0290A30F2}" dt="2023-09-12T19:41:54.150" v="142" actId="108"/>
          <ac:spMkLst>
            <pc:docMk/>
            <pc:sldMk cId="925849647" sldId="256"/>
            <ac:spMk id="17" creationId="{615E984F-7198-6047-E5E3-C706BFC43B35}"/>
          </ac:spMkLst>
        </pc:spChg>
        <pc:spChg chg="mod">
          <ac:chgData name="Houston, Chamille" userId="9e3b86c0-0689-4bf6-8f8e-d4f2a12592e6" providerId="ADAL" clId="{C5CE29CA-EB83-409A-B85B-C1A0290A30F2}" dt="2023-09-12T19:41:59.281" v="143" actId="108"/>
          <ac:spMkLst>
            <pc:docMk/>
            <pc:sldMk cId="925849647" sldId="256"/>
            <ac:spMk id="18" creationId="{75AFF898-5FC4-BC4B-FFF0-6C3C4E19836C}"/>
          </ac:spMkLst>
        </pc:spChg>
        <pc:picChg chg="mod">
          <ac:chgData name="Houston, Chamille" userId="9e3b86c0-0689-4bf6-8f8e-d4f2a12592e6" providerId="ADAL" clId="{C5CE29CA-EB83-409A-B85B-C1A0290A30F2}" dt="2023-09-12T19:41:45.936" v="141" actId="1076"/>
          <ac:picMkLst>
            <pc:docMk/>
            <pc:sldMk cId="925849647" sldId="256"/>
            <ac:picMk id="4" creationId="{8514593E-662C-9198-AEBC-AF10C0257A84}"/>
          </ac:picMkLst>
        </pc:picChg>
        <pc:picChg chg="mod">
          <ac:chgData name="Houston, Chamille" userId="9e3b86c0-0689-4bf6-8f8e-d4f2a12592e6" providerId="ADAL" clId="{C5CE29CA-EB83-409A-B85B-C1A0290A30F2}" dt="2023-09-12T19:41:39.137" v="139" actId="108"/>
          <ac:picMkLst>
            <pc:docMk/>
            <pc:sldMk cId="925849647" sldId="256"/>
            <ac:picMk id="19" creationId="{260796CD-4E0C-5601-95A4-549660ABCEEF}"/>
          </ac:picMkLst>
        </pc:picChg>
      </pc:sldChg>
      <pc:sldChg chg="modSp mod">
        <pc:chgData name="Houston, Chamille" userId="9e3b86c0-0689-4bf6-8f8e-d4f2a12592e6" providerId="ADAL" clId="{C5CE29CA-EB83-409A-B85B-C1A0290A30F2}" dt="2023-09-12T14:40:09.837" v="133" actId="113"/>
        <pc:sldMkLst>
          <pc:docMk/>
          <pc:sldMk cId="2345360221" sldId="796"/>
        </pc:sldMkLst>
        <pc:spChg chg="mod">
          <ac:chgData name="Houston, Chamille" userId="9e3b86c0-0689-4bf6-8f8e-d4f2a12592e6" providerId="ADAL" clId="{C5CE29CA-EB83-409A-B85B-C1A0290A30F2}" dt="2023-09-12T14:39:57.579" v="130" actId="14100"/>
          <ac:spMkLst>
            <pc:docMk/>
            <pc:sldMk cId="2345360221" sldId="796"/>
            <ac:spMk id="8" creationId="{9ECE570A-1B69-1E57-DCAA-5F2DD35076E5}"/>
          </ac:spMkLst>
        </pc:spChg>
        <pc:spChg chg="mod">
          <ac:chgData name="Houston, Chamille" userId="9e3b86c0-0689-4bf6-8f8e-d4f2a12592e6" providerId="ADAL" clId="{C5CE29CA-EB83-409A-B85B-C1A0290A30F2}" dt="2023-09-12T14:40:00.138" v="131" actId="14100"/>
          <ac:spMkLst>
            <pc:docMk/>
            <pc:sldMk cId="2345360221" sldId="796"/>
            <ac:spMk id="14" creationId="{1D2F9187-A778-6053-BEC4-AEFCCC469E75}"/>
          </ac:spMkLst>
        </pc:spChg>
        <pc:spChg chg="mod">
          <ac:chgData name="Houston, Chamille" userId="9e3b86c0-0689-4bf6-8f8e-d4f2a12592e6" providerId="ADAL" clId="{C5CE29CA-EB83-409A-B85B-C1A0290A30F2}" dt="2023-09-12T14:37:38.839" v="120" actId="1036"/>
          <ac:spMkLst>
            <pc:docMk/>
            <pc:sldMk cId="2345360221" sldId="796"/>
            <ac:spMk id="28" creationId="{00000000-0000-0000-0000-000000000000}"/>
          </ac:spMkLst>
        </pc:spChg>
        <pc:spChg chg="mod">
          <ac:chgData name="Houston, Chamille" userId="9e3b86c0-0689-4bf6-8f8e-d4f2a12592e6" providerId="ADAL" clId="{C5CE29CA-EB83-409A-B85B-C1A0290A30F2}" dt="2023-09-12T14:40:09.837" v="133" actId="113"/>
          <ac:spMkLst>
            <pc:docMk/>
            <pc:sldMk cId="2345360221" sldId="796"/>
            <ac:spMk id="35" creationId="{00000000-0000-0000-0000-000000000000}"/>
          </ac:spMkLst>
        </pc:spChg>
        <pc:cxnChg chg="mod">
          <ac:chgData name="Houston, Chamille" userId="9e3b86c0-0689-4bf6-8f8e-d4f2a12592e6" providerId="ADAL" clId="{C5CE29CA-EB83-409A-B85B-C1A0290A30F2}" dt="2023-09-12T14:38:35.559" v="128" actId="1035"/>
          <ac:cxnSpMkLst>
            <pc:docMk/>
            <pc:sldMk cId="2345360221" sldId="796"/>
            <ac:cxnSpMk id="7" creationId="{83ACA9DD-A053-BABC-92F8-B65DB0A63E83}"/>
          </ac:cxnSpMkLst>
        </pc:cxnChg>
      </pc:sldChg>
      <pc:sldChg chg="addSp delSp modSp mod">
        <pc:chgData name="Houston, Chamille" userId="9e3b86c0-0689-4bf6-8f8e-d4f2a12592e6" providerId="ADAL" clId="{C5CE29CA-EB83-409A-B85B-C1A0290A30F2}" dt="2023-09-12T14:37:42.581" v="122" actId="171"/>
        <pc:sldMkLst>
          <pc:docMk/>
          <pc:sldMk cId="3030244850" sldId="2147480981"/>
        </pc:sldMkLst>
        <pc:spChg chg="mod">
          <ac:chgData name="Houston, Chamille" userId="9e3b86c0-0689-4bf6-8f8e-d4f2a12592e6" providerId="ADAL" clId="{C5CE29CA-EB83-409A-B85B-C1A0290A30F2}" dt="2023-09-12T14:35:09.852" v="70" actId="1076"/>
          <ac:spMkLst>
            <pc:docMk/>
            <pc:sldMk cId="3030244850" sldId="2147480981"/>
            <ac:spMk id="4" creationId="{A01FDF64-37BB-662E-382C-D0F1B5915D3B}"/>
          </ac:spMkLst>
        </pc:spChg>
        <pc:spChg chg="add mod ord">
          <ac:chgData name="Houston, Chamille" userId="9e3b86c0-0689-4bf6-8f8e-d4f2a12592e6" providerId="ADAL" clId="{C5CE29CA-EB83-409A-B85B-C1A0290A30F2}" dt="2023-09-12T14:37:42.581" v="122" actId="171"/>
          <ac:spMkLst>
            <pc:docMk/>
            <pc:sldMk cId="3030244850" sldId="2147480981"/>
            <ac:spMk id="5" creationId="{C64BFE04-CA9D-7497-854B-51FCF2A86D21}"/>
          </ac:spMkLst>
        </pc:spChg>
        <pc:spChg chg="del">
          <ac:chgData name="Houston, Chamille" userId="9e3b86c0-0689-4bf6-8f8e-d4f2a12592e6" providerId="ADAL" clId="{C5CE29CA-EB83-409A-B85B-C1A0290A30F2}" dt="2023-09-12T14:35:23.058" v="77" actId="478"/>
          <ac:spMkLst>
            <pc:docMk/>
            <pc:sldMk cId="3030244850" sldId="2147480981"/>
            <ac:spMk id="14" creationId="{2C9B5CE9-67FD-E9DC-275C-A6CB0D5410D1}"/>
          </ac:spMkLst>
        </pc:spChg>
        <pc:picChg chg="mod">
          <ac:chgData name="Houston, Chamille" userId="9e3b86c0-0689-4bf6-8f8e-d4f2a12592e6" providerId="ADAL" clId="{C5CE29CA-EB83-409A-B85B-C1A0290A30F2}" dt="2023-09-12T14:35:05.531" v="69" actId="207"/>
          <ac:picMkLst>
            <pc:docMk/>
            <pc:sldMk cId="3030244850" sldId="2147480981"/>
            <ac:picMk id="6" creationId="{0C3B9104-F97A-4B58-D0D2-AAD01B645DF9}"/>
          </ac:picMkLst>
        </pc:picChg>
        <pc:picChg chg="mod">
          <ac:chgData name="Houston, Chamille" userId="9e3b86c0-0689-4bf6-8f8e-d4f2a12592e6" providerId="ADAL" clId="{C5CE29CA-EB83-409A-B85B-C1A0290A30F2}" dt="2023-09-12T14:35:14.189" v="73" actId="1076"/>
          <ac:picMkLst>
            <pc:docMk/>
            <pc:sldMk cId="3030244850" sldId="2147480981"/>
            <ac:picMk id="13" creationId="{3E7ABA12-8598-EA93-57B7-B8D549BC1B7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3036358A-028D-497E-84A1-DB32FA91A704}" type="datetimeFigureOut">
              <a:rPr lang="en-US" smtClean="0"/>
              <a:t>9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9A49BD8-4528-4345-9FB6-DD34524F1A9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07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853900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t>Notes view: </a:t>
            </a:r>
            <a:fld id="{128CEAFE-FA94-43E5-B0FF-D47E1CCDD1B4}" type="slidenum">
              <a:rPr kumimoji="0" lang="en-US" sz="1400" b="0" i="0" u="none" strike="noStrike" kern="1200" cap="none" spc="0" normalizeH="0" baseline="0" noProof="0" smtClean="0">
                <a:ln>
                  <a:noFill/>
                </a:ln>
                <a:solidFill>
                  <a:srgbClr val="6E6F73"/>
                </a:solidFill>
                <a:effectLst/>
                <a:uLnTx/>
                <a:uFillTx/>
                <a:latin typeface="Trebuchet MS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6E6F73"/>
              </a:solidFill>
              <a:effectLst/>
              <a:uLnTx/>
              <a:uFillTx/>
              <a:latin typeface="Trebuchet M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48822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5.xml"/><Relationship Id="rId1" Type="http://schemas.openxmlformats.org/officeDocument/2006/relationships/tags" Target="../tags/tag124.xml"/><Relationship Id="rId6" Type="http://schemas.openxmlformats.org/officeDocument/2006/relationships/image" Target="../media/image33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7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image" Target="../media/image2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8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9.xml"/><Relationship Id="rId1" Type="http://schemas.openxmlformats.org/officeDocument/2006/relationships/tags" Target="../tags/tag128.xml"/><Relationship Id="rId6" Type="http://schemas.openxmlformats.org/officeDocument/2006/relationships/image" Target="../media/image33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9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2.xml"/><Relationship Id="rId4" Type="http://schemas.openxmlformats.org/officeDocument/2006/relationships/image" Target="../media/image26.emf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4.xml"/><Relationship Id="rId1" Type="http://schemas.openxmlformats.org/officeDocument/2006/relationships/tags" Target="../tags/tag133.xml"/><Relationship Id="rId6" Type="http://schemas.openxmlformats.org/officeDocument/2006/relationships/image" Target="../media/image34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72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3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2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4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0.xml"/><Relationship Id="rId1" Type="http://schemas.openxmlformats.org/officeDocument/2006/relationships/tags" Target="../tags/tag139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75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Relationship Id="rId4" Type="http://schemas.openxmlformats.org/officeDocument/2006/relationships/image" Target="../media/image26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2.xml"/><Relationship Id="rId4" Type="http://schemas.openxmlformats.org/officeDocument/2006/relationships/image" Target="../media/image26.emf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3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17.emf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Relationship Id="rId4" Type="http://schemas.openxmlformats.org/officeDocument/2006/relationships/image" Target="../media/image26.emf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47.xml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80.bin"/><Relationship Id="rId4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tags" Target="../tags/tag148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1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2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2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3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4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6.xml"/><Relationship Id="rId4" Type="http://schemas.openxmlformats.org/officeDocument/2006/relationships/image" Target="../media/image16.emf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7.xml"/><Relationship Id="rId4" Type="http://schemas.openxmlformats.org/officeDocument/2006/relationships/image" Target="../media/image16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2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7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1.xml"/><Relationship Id="rId1" Type="http://schemas.openxmlformats.org/officeDocument/2006/relationships/tags" Target="../tags/tag160.xml"/><Relationship Id="rId6" Type="http://schemas.openxmlformats.org/officeDocument/2006/relationships/image" Target="../media/image28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88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8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20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6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7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8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9.bin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oleObject" Target="../embeddings/oleObject10.bin"/><Relationship Id="rId7" Type="http://schemas.openxmlformats.org/officeDocument/2006/relationships/image" Target="../media/image23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8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1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2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3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4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5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6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7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8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0.emf"/><Relationship Id="rId4" Type="http://schemas.openxmlformats.org/officeDocument/2006/relationships/oleObject" Target="../embeddings/oleObject19.bin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Relationship Id="rId9" Type="http://schemas.openxmlformats.org/officeDocument/2006/relationships/image" Target="../media/image25.emf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1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5.xml"/><Relationship Id="rId4" Type="http://schemas.openxmlformats.org/officeDocument/2006/relationships/image" Target="../media/image20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3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8.xml"/><Relationship Id="rId4" Type="http://schemas.openxmlformats.org/officeDocument/2006/relationships/image" Target="../media/image26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5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7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8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29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0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tags" Target="../tags/tag61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1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2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2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tags" Target="../tags/tag65.xml"/><Relationship Id="rId6" Type="http://schemas.openxmlformats.org/officeDocument/2006/relationships/image" Target="../media/image29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3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31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34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3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5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image" Target="../media/image2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33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7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2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8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image" Target="../media/image33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39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0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1.xml"/><Relationship Id="rId4" Type="http://schemas.openxmlformats.org/officeDocument/2006/relationships/image" Target="../media/image26.emf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image" Target="../media/image34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42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3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6.xml"/><Relationship Id="rId4" Type="http://schemas.openxmlformats.org/officeDocument/2006/relationships/image" Target="../media/image26.emf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45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9.xml"/><Relationship Id="rId4" Type="http://schemas.openxmlformats.org/officeDocument/2006/relationships/image" Target="../media/image26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0.xml"/><Relationship Id="rId6" Type="http://schemas.openxmlformats.org/officeDocument/2006/relationships/image" Target="../media/image36.jpeg"/><Relationship Id="rId5" Type="http://schemas.openxmlformats.org/officeDocument/2006/relationships/image" Target="../media/image35.png"/><Relationship Id="rId4" Type="http://schemas.openxmlformats.org/officeDocument/2006/relationships/image" Target="../media/image17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1.xml"/><Relationship Id="rId4" Type="http://schemas.openxmlformats.org/officeDocument/2006/relationships/image" Target="../media/image26.emf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9.png"/><Relationship Id="rId2" Type="http://schemas.openxmlformats.org/officeDocument/2006/relationships/tags" Target="../tags/tag93.xml"/><Relationship Id="rId1" Type="http://schemas.openxmlformats.org/officeDocument/2006/relationships/tags" Target="../tags/tag92.xml"/><Relationship Id="rId6" Type="http://schemas.openxmlformats.org/officeDocument/2006/relationships/image" Target="../media/image18.png"/><Relationship Id="rId5" Type="http://schemas.openxmlformats.org/officeDocument/2006/relationships/image" Target="../media/image17.emf"/><Relationship Id="rId4" Type="http://schemas.openxmlformats.org/officeDocument/2006/relationships/oleObject" Target="../embeddings/oleObject49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0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6.xml"/><Relationship Id="rId4" Type="http://schemas.openxmlformats.org/officeDocument/2006/relationships/image" Target="../media/image20.emf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8.xml"/><Relationship Id="rId1" Type="http://schemas.openxmlformats.org/officeDocument/2006/relationships/tags" Target="../tags/tag97.xml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2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9.xml"/><Relationship Id="rId4" Type="http://schemas.openxmlformats.org/officeDocument/2006/relationships/image" Target="../media/image26.emf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Relationship Id="rId4" Type="http://schemas.openxmlformats.org/officeDocument/2006/relationships/image" Target="../media/image26.emf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Relationship Id="rId4" Type="http://schemas.openxmlformats.org/officeDocument/2006/relationships/image" Target="../media/image26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7.bin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8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59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0.bin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27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1.bin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8.png"/><Relationship Id="rId5" Type="http://schemas.openxmlformats.org/officeDocument/2006/relationships/image" Target="../media/image30.emf"/><Relationship Id="rId4" Type="http://schemas.openxmlformats.org/officeDocument/2006/relationships/oleObject" Target="../embeddings/oleObject62.bin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image" Target="../media/image29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3.bin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9.xml"/><Relationship Id="rId1" Type="http://schemas.openxmlformats.org/officeDocument/2006/relationships/tags" Target="../tags/tag118.xml"/><Relationship Id="rId6" Type="http://schemas.openxmlformats.org/officeDocument/2006/relationships/image" Target="../media/image31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4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image" Target="../media/image32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5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image" Target="../media/image28.png"/><Relationship Id="rId5" Type="http://schemas.openxmlformats.org/officeDocument/2006/relationships/image" Target="../media/image26.emf"/><Relationship Id="rId4" Type="http://schemas.openxmlformats.org/officeDocument/2006/relationships/oleObject" Target="../embeddings/oleObject6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07949" y="1261154"/>
            <a:ext cx="11026339" cy="13813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60" y="2779872"/>
            <a:ext cx="5561403" cy="33112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3285743"/>
            <a:ext cx="3798903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object 896">
            <a:extLst>
              <a:ext uri="{FF2B5EF4-FFF2-40B4-BE49-F238E27FC236}">
                <a16:creationId xmlns:a16="http://schemas.microsoft.com/office/drawing/2014/main" id="{BB305558-8CA8-0312-BC63-364EE87CF25B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" y="3635949"/>
            <a:ext cx="2237152" cy="3223089"/>
          </a:xfrm>
          <a:prstGeom prst="rect">
            <a:avLst/>
          </a:prstGeom>
        </p:spPr>
      </p:pic>
      <p:pic>
        <p:nvPicPr>
          <p:cNvPr id="10" name="object 897">
            <a:extLst>
              <a:ext uri="{FF2B5EF4-FFF2-40B4-BE49-F238E27FC236}">
                <a16:creationId xmlns:a16="http://schemas.microsoft.com/office/drawing/2014/main" id="{6EE05FB5-DF1A-3485-60DD-F81997CA43B5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534" y="3635949"/>
            <a:ext cx="3284673" cy="3223097"/>
          </a:xfrm>
          <a:prstGeom prst="rect">
            <a:avLst/>
          </a:prstGeom>
        </p:spPr>
      </p:pic>
      <p:pic>
        <p:nvPicPr>
          <p:cNvPr id="11" name="object 898">
            <a:extLst>
              <a:ext uri="{FF2B5EF4-FFF2-40B4-BE49-F238E27FC236}">
                <a16:creationId xmlns:a16="http://schemas.microsoft.com/office/drawing/2014/main" id="{0CD524DB-3546-0773-AF1E-55E462FFBF9A}"/>
              </a:ext>
            </a:extLst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0516" y="3635949"/>
            <a:ext cx="3284673" cy="3223089"/>
          </a:xfrm>
          <a:prstGeom prst="rect">
            <a:avLst/>
          </a:prstGeom>
        </p:spPr>
      </p:pic>
      <p:pic>
        <p:nvPicPr>
          <p:cNvPr id="12" name="object 899">
            <a:extLst>
              <a:ext uri="{FF2B5EF4-FFF2-40B4-BE49-F238E27FC236}">
                <a16:creationId xmlns:a16="http://schemas.microsoft.com/office/drawing/2014/main" id="{D4B8747E-5D0C-4ED4-CFE1-B9C5592A000E}"/>
              </a:ext>
            </a:extLst>
          </p:cNvPr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3498" y="3635949"/>
            <a:ext cx="2259213" cy="3223097"/>
          </a:xfrm>
          <a:prstGeom prst="rect">
            <a:avLst/>
          </a:prstGeom>
        </p:spPr>
      </p:pic>
      <p:pic>
        <p:nvPicPr>
          <p:cNvPr id="14" name="object 5">
            <a:extLst>
              <a:ext uri="{FF2B5EF4-FFF2-40B4-BE49-F238E27FC236}">
                <a16:creationId xmlns:a16="http://schemas.microsoft.com/office/drawing/2014/main" id="{1C3BA4BC-FAC8-271F-17C7-7D3DAFF6E6D7}"/>
              </a:ext>
            </a:extLst>
          </p:cNvPr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710" y="3635949"/>
            <a:ext cx="1915440" cy="3227832"/>
          </a:xfrm>
          <a:prstGeom prst="rect">
            <a:avLst/>
          </a:prstGeom>
        </p:spPr>
      </p:pic>
      <p:pic>
        <p:nvPicPr>
          <p:cNvPr id="15" name="object 6">
            <a:extLst>
              <a:ext uri="{FF2B5EF4-FFF2-40B4-BE49-F238E27FC236}">
                <a16:creationId xmlns:a16="http://schemas.microsoft.com/office/drawing/2014/main" id="{8EC67741-270A-4DC5-53B0-2B67C2411B8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7591" y="3635949"/>
            <a:ext cx="1917541" cy="3227832"/>
          </a:xfrm>
          <a:prstGeom prst="rect">
            <a:avLst/>
          </a:prstGeom>
        </p:spPr>
      </p:pic>
      <p:pic>
        <p:nvPicPr>
          <p:cNvPr id="16" name="object 7">
            <a:extLst>
              <a:ext uri="{FF2B5EF4-FFF2-40B4-BE49-F238E27FC236}">
                <a16:creationId xmlns:a16="http://schemas.microsoft.com/office/drawing/2014/main" id="{C2868144-C3AC-DAD2-732B-7F168BE04CF2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0573" y="3635949"/>
            <a:ext cx="1917541" cy="322783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87B9FFA-F7F6-93D4-D770-B7F388E192F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24951" y="236994"/>
            <a:ext cx="3428999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4976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447CD-6AFA-2464-D277-E5CFB6688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CEB5D-6918-C885-D348-DDF3BF241B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8FF44-697F-3F27-D476-B7C972BBCB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277242-84D3-E587-21E5-D96814318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E69AD9-6767-3DAD-D066-C7440FA3E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4F1C44-2276-139E-8F00-05C95547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68960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1BB165F-5A81-4A6E-BFF5-9472F238EC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1BB165F-5A81-4A6E-BFF5-9472F238EC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4D7EDD94-C324-45BE-8843-77457E299EA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4823086" cy="731520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7461718B-5F27-4804-973C-1B68627146B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280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2D0E8C-4716-4298-9410-C0389F6AD7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3399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2D0E8C-4716-4298-9410-C0389F6AD7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9CAFCEB7-BEE0-42DE-8743-48535702AA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6329760" cy="73152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CE3E53D5-AF84-4C5F-AD7C-2F3C9CCD08D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362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9C7E69C-5986-4E72-86F7-D339D78EF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C7E69C-5986-4E72-86F7-D339D78EF1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3" name="Title 4">
            <a:extLst>
              <a:ext uri="{FF2B5EF4-FFF2-40B4-BE49-F238E27FC236}">
                <a16:creationId xmlns:a16="http://schemas.microsoft.com/office/drawing/2014/main" id="{4D7CF147-7F28-48AC-8F00-AAF86DC5FC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6329760" cy="731520"/>
          </a:xfrm>
        </p:spPr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7D4C4680-88DF-44D8-948A-C80D7CDFD90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3936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4F17277-4D1C-48DD-95DB-0F8A63E92A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4F17277-4D1C-48DD-95DB-0F8A63E92A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08614" cy="1606550"/>
          </a:xfr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87B1684D-37B4-47CF-9C1E-F99B0F5AB857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78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CA2D27E-0A6D-46DD-BAD7-CBE9CBD7AC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22573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A2D27E-0A6D-46DD-BAD7-CBE9CBD7AC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3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20053888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54835615-3F0E-46ED-9847-3AF7564F64C0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5847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D344F3A-F5E2-4235-A4CA-CCFA4ADC35F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344F3A-F5E2-4235-A4CA-CCFA4ADC35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E86144A9-9D90-4BA4-8FCE-EFD4FDD0FE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F6C01F6-CD55-4203-8E9D-7284B90F9F67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2246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81C01424-FA4F-4487-82B4-A474684BB3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C01424-FA4F-4487-82B4-A474684BB3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554736" y="2577934"/>
            <a:ext cx="2894664" cy="1761764"/>
          </a:xfrm>
          <a:prstGeom prst="rect">
            <a:avLst/>
          </a:prstGeom>
          <a:noFill/>
        </p:spPr>
        <p:txBody>
          <a:bodyPr wrap="square" lIns="9144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Slide Number">
            <a:extLst>
              <a:ext uri="{FF2B5EF4-FFF2-40B4-BE49-F238E27FC236}">
                <a16:creationId xmlns:a16="http://schemas.microsoft.com/office/drawing/2014/main" id="{38EE7608-7435-46BB-B807-1E7FA82E851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6380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66C069B-2581-4EA7-BDBD-F5F65C2B79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6C069B-2581-4EA7-BDBD-F5F65C2B79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DFDE7006-860E-41DD-8B79-ECCBCF2D3F8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1807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3F313586-5DFB-4546-A271-333DD899D1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F313586-5DFB-4546-A271-333DD899D1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715885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CE46A-509B-CFDE-C5BB-E2A7B52A4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C2C4D2-D9D1-A7A8-0DDE-9DF0D0A5AC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816BD0-A2F7-438D-AB6A-67542E4CB3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32C014-104C-EA46-B66D-7C5F1A2E4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A86A4F-94D0-5B77-318C-C060833334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368248-BAC2-342F-9195-A7DD186D5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22915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Disclaim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08C3AF14-991F-495B-8971-C126F8754D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C3AF14-991F-495B-8971-C126F8754D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298285A-8C35-4AD8-B4FE-060C644E1E4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733506"/>
            <a:ext cx="6209072" cy="31854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4264933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D. 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logo, text, font, symbol&#10;&#10;Description automatically generated">
            <a:extLst>
              <a:ext uri="{FF2B5EF4-FFF2-40B4-BE49-F238E27FC236}">
                <a16:creationId xmlns:a16="http://schemas.microsoft.com/office/drawing/2014/main" id="{F266C1C0-A28F-4543-889C-8B6E376FC99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9409" y="1097426"/>
            <a:ext cx="6858014" cy="1828804"/>
          </a:xfrm>
          <a:prstGeom prst="rect">
            <a:avLst/>
          </a:prstGeom>
        </p:spPr>
      </p:pic>
      <p:pic>
        <p:nvPicPr>
          <p:cNvPr id="11" name="Picture 10" descr="A picture containing sky, cloud, screenshot, outdoor&#10;&#10;Description automatically generated">
            <a:extLst>
              <a:ext uri="{FF2B5EF4-FFF2-40B4-BE49-F238E27FC236}">
                <a16:creationId xmlns:a16="http://schemas.microsoft.com/office/drawing/2014/main" id="{FDC8B5DA-598F-4436-801D-1C3B69F09AC2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7584" y="3656543"/>
            <a:ext cx="12192000" cy="3209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308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543D6B3-4DE5-4D0C-98A9-E32E43FD99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543D6B3-4DE5-4D0C-98A9-E32E43FD99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54C75ECE-0323-462F-9CDC-541DEC90A9CA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E476CF4C-A8EF-4216-9305-983C4165B9E7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29400 w 12193200"/>
                <a:gd name="connsiteY0" fmla="*/ 487173 h 6858000"/>
                <a:gd name="connsiteX1" fmla="*/ 629400 w 12193200"/>
                <a:gd name="connsiteY1" fmla="*/ 902671 h 6858000"/>
                <a:gd name="connsiteX2" fmla="*/ 630001 w 12193200"/>
                <a:gd name="connsiteY2" fmla="*/ 902671 h 6858000"/>
                <a:gd name="connsiteX3" fmla="*/ 630001 w 12193200"/>
                <a:gd name="connsiteY3" fmla="*/ 6144443 h 6858000"/>
                <a:gd name="connsiteX4" fmla="*/ 629400 w 12193200"/>
                <a:gd name="connsiteY4" fmla="*/ 6144443 h 6858000"/>
                <a:gd name="connsiteX5" fmla="*/ 629400 w 12193200"/>
                <a:gd name="connsiteY5" fmla="*/ 6559941 h 6858000"/>
                <a:gd name="connsiteX6" fmla="*/ 11562600 w 12193200"/>
                <a:gd name="connsiteY6" fmla="*/ 6559941 h 6858000"/>
                <a:gd name="connsiteX7" fmla="*/ 11562600 w 12193200"/>
                <a:gd name="connsiteY7" fmla="*/ 6144443 h 6858000"/>
                <a:gd name="connsiteX8" fmla="*/ 11562000 w 12193200"/>
                <a:gd name="connsiteY8" fmla="*/ 6144443 h 6858000"/>
                <a:gd name="connsiteX9" fmla="*/ 11562000 w 12193200"/>
                <a:gd name="connsiteY9" fmla="*/ 622800 h 6858000"/>
                <a:gd name="connsiteX10" fmla="*/ 11561629 w 12193200"/>
                <a:gd name="connsiteY10" fmla="*/ 622800 h 6858000"/>
                <a:gd name="connsiteX11" fmla="*/ 11561629 w 12193200"/>
                <a:gd name="connsiteY11" fmla="*/ 487173 h 6858000"/>
                <a:gd name="connsiteX12" fmla="*/ 0 w 12193200"/>
                <a:gd name="connsiteY12" fmla="*/ 0 h 6858000"/>
                <a:gd name="connsiteX13" fmla="*/ 12193200 w 12193200"/>
                <a:gd name="connsiteY13" fmla="*/ 0 h 6858000"/>
                <a:gd name="connsiteX14" fmla="*/ 12193200 w 12193200"/>
                <a:gd name="connsiteY14" fmla="*/ 622800 h 6858000"/>
                <a:gd name="connsiteX15" fmla="*/ 12192000 w 12193200"/>
                <a:gd name="connsiteY15" fmla="*/ 622800 h 6858000"/>
                <a:gd name="connsiteX16" fmla="*/ 12192000 w 12193200"/>
                <a:gd name="connsiteY16" fmla="*/ 6160597 h 6858000"/>
                <a:gd name="connsiteX17" fmla="*/ 12193200 w 12193200"/>
                <a:gd name="connsiteY17" fmla="*/ 6160597 h 6858000"/>
                <a:gd name="connsiteX18" fmla="*/ 12193200 w 12193200"/>
                <a:gd name="connsiteY18" fmla="*/ 6858000 h 6858000"/>
                <a:gd name="connsiteX19" fmla="*/ 12192000 w 12193200"/>
                <a:gd name="connsiteY19" fmla="*/ 6858000 h 6858000"/>
                <a:gd name="connsiteX20" fmla="*/ 11562000 w 12193200"/>
                <a:gd name="connsiteY20" fmla="*/ 6858000 h 6858000"/>
                <a:gd name="connsiteX21" fmla="*/ 630001 w 12193200"/>
                <a:gd name="connsiteY21" fmla="*/ 6858000 h 6858000"/>
                <a:gd name="connsiteX22" fmla="*/ 1 w 12193200"/>
                <a:gd name="connsiteY22" fmla="*/ 6858000 h 6858000"/>
                <a:gd name="connsiteX23" fmla="*/ 1 w 12193200"/>
                <a:gd name="connsiteY23" fmla="*/ 6160597 h 6858000"/>
                <a:gd name="connsiteX24" fmla="*/ 1 w 12193200"/>
                <a:gd name="connsiteY24" fmla="*/ 622800 h 6858000"/>
                <a:gd name="connsiteX25" fmla="*/ 0 w 12193200"/>
                <a:gd name="connsiteY25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193200" h="6858000">
                  <a:moveTo>
                    <a:pt x="629400" y="487173"/>
                  </a:moveTo>
                  <a:lnTo>
                    <a:pt x="629400" y="902671"/>
                  </a:lnTo>
                  <a:lnTo>
                    <a:pt x="630001" y="902671"/>
                  </a:lnTo>
                  <a:lnTo>
                    <a:pt x="630001" y="6144443"/>
                  </a:lnTo>
                  <a:lnTo>
                    <a:pt x="629400" y="6144443"/>
                  </a:lnTo>
                  <a:lnTo>
                    <a:pt x="629400" y="6559941"/>
                  </a:lnTo>
                  <a:lnTo>
                    <a:pt x="11562600" y="6559941"/>
                  </a:lnTo>
                  <a:lnTo>
                    <a:pt x="11562600" y="6144443"/>
                  </a:lnTo>
                  <a:lnTo>
                    <a:pt x="11562000" y="6144443"/>
                  </a:lnTo>
                  <a:lnTo>
                    <a:pt x="11562000" y="622800"/>
                  </a:lnTo>
                  <a:lnTo>
                    <a:pt x="11561629" y="622800"/>
                  </a:lnTo>
                  <a:lnTo>
                    <a:pt x="11561629" y="48717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52" name="Baselines / anchors">
              <a:extLst>
                <a:ext uri="{FF2B5EF4-FFF2-40B4-BE49-F238E27FC236}">
                  <a16:creationId xmlns:a16="http://schemas.microsoft.com/office/drawing/2014/main" id="{6B859D28-7813-46B3-8DA1-261B312A124D}"/>
                </a:ext>
              </a:extLst>
            </p:cNvPr>
            <p:cNvGrpSpPr/>
            <p:nvPr/>
          </p:nvGrpSpPr>
          <p:grpSpPr>
            <a:xfrm>
              <a:off x="-600" y="487172"/>
              <a:ext cx="12193200" cy="5672428"/>
              <a:chOff x="12623800" y="622800"/>
              <a:chExt cx="11176000" cy="5536800"/>
            </a:xfrm>
          </p:grpSpPr>
          <p:cxnSp>
            <p:nvCxnSpPr>
              <p:cNvPr id="77" name="Straight Connector 76">
                <a:extLst>
                  <a:ext uri="{FF2B5EF4-FFF2-40B4-BE49-F238E27FC236}">
                    <a16:creationId xmlns:a16="http://schemas.microsoft.com/office/drawing/2014/main" id="{F11ABB8C-0975-464B-B86E-3E3F9DDEAB6F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>
                <a:extLst>
                  <a:ext uri="{FF2B5EF4-FFF2-40B4-BE49-F238E27FC236}">
                    <a16:creationId xmlns:a16="http://schemas.microsoft.com/office/drawing/2014/main" id="{91AFFFCB-4384-42DB-8F70-A94A12A95CFC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>
                <a:extLst>
                  <a:ext uri="{FF2B5EF4-FFF2-40B4-BE49-F238E27FC236}">
                    <a16:creationId xmlns:a16="http://schemas.microsoft.com/office/drawing/2014/main" id="{48FFD4C3-22A4-41C9-8F7E-C7FB2AD9390C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>
                <a:extLst>
                  <a:ext uri="{FF2B5EF4-FFF2-40B4-BE49-F238E27FC236}">
                    <a16:creationId xmlns:a16="http://schemas.microsoft.com/office/drawing/2014/main" id="{1100CE4E-D8AA-4A38-A7B1-2973655FEF55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>
                <a:extLst>
                  <a:ext uri="{FF2B5EF4-FFF2-40B4-BE49-F238E27FC236}">
                    <a16:creationId xmlns:a16="http://schemas.microsoft.com/office/drawing/2014/main" id="{9542D478-2F4B-4786-9C2E-11BBBC83DAC3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>
                <a:extLst>
                  <a:ext uri="{FF2B5EF4-FFF2-40B4-BE49-F238E27FC236}">
                    <a16:creationId xmlns:a16="http://schemas.microsoft.com/office/drawing/2014/main" id="{ADAC7998-67F7-40C6-AEBB-768B4C52FD96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>
                <a:extLst>
                  <a:ext uri="{FF2B5EF4-FFF2-40B4-BE49-F238E27FC236}">
                    <a16:creationId xmlns:a16="http://schemas.microsoft.com/office/drawing/2014/main" id="{896D5702-7FEE-4EAE-8A00-FA13368EB55D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>
                <a:extLst>
                  <a:ext uri="{FF2B5EF4-FFF2-40B4-BE49-F238E27FC236}">
                    <a16:creationId xmlns:a16="http://schemas.microsoft.com/office/drawing/2014/main" id="{D7295DCA-1655-4D80-9E44-F4BAA36A734D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>
                <a:extLst>
                  <a:ext uri="{FF2B5EF4-FFF2-40B4-BE49-F238E27FC236}">
                    <a16:creationId xmlns:a16="http://schemas.microsoft.com/office/drawing/2014/main" id="{E9F7CF92-E7F1-4EF3-AE01-B58C431BAC1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>
                <a:extLst>
                  <a:ext uri="{FF2B5EF4-FFF2-40B4-BE49-F238E27FC236}">
                    <a16:creationId xmlns:a16="http://schemas.microsoft.com/office/drawing/2014/main" id="{ADBE5064-D98B-4CB1-83DF-3EEB76FDA1FB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>
                <a:extLst>
                  <a:ext uri="{FF2B5EF4-FFF2-40B4-BE49-F238E27FC236}">
                    <a16:creationId xmlns:a16="http://schemas.microsoft.com/office/drawing/2014/main" id="{BF3ECB39-A8FA-4B76-BFA1-79E7EA839D4E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>
                <a:extLst>
                  <a:ext uri="{FF2B5EF4-FFF2-40B4-BE49-F238E27FC236}">
                    <a16:creationId xmlns:a16="http://schemas.microsoft.com/office/drawing/2014/main" id="{47D71DD0-DA41-4DD5-A10E-C35766C6CADC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>
                <a:extLst>
                  <a:ext uri="{FF2B5EF4-FFF2-40B4-BE49-F238E27FC236}">
                    <a16:creationId xmlns:a16="http://schemas.microsoft.com/office/drawing/2014/main" id="{22E2836B-2A24-4077-8BAD-4CADAE332F8C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>
                <a:extLst>
                  <a:ext uri="{FF2B5EF4-FFF2-40B4-BE49-F238E27FC236}">
                    <a16:creationId xmlns:a16="http://schemas.microsoft.com/office/drawing/2014/main" id="{E895D308-CDC2-4E46-B119-109247457F2F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>
                <a:extLst>
                  <a:ext uri="{FF2B5EF4-FFF2-40B4-BE49-F238E27FC236}">
                    <a16:creationId xmlns:a16="http://schemas.microsoft.com/office/drawing/2014/main" id="{06951457-DBCB-437A-BEF7-865A62CFA09A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>
                <a:extLst>
                  <a:ext uri="{FF2B5EF4-FFF2-40B4-BE49-F238E27FC236}">
                    <a16:creationId xmlns:a16="http://schemas.microsoft.com/office/drawing/2014/main" id="{22C76A83-CDAC-4510-A208-A36CEE9B5AD3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Straight Connector 92">
                <a:extLst>
                  <a:ext uri="{FF2B5EF4-FFF2-40B4-BE49-F238E27FC236}">
                    <a16:creationId xmlns:a16="http://schemas.microsoft.com/office/drawing/2014/main" id="{CE412AAE-76FC-44EC-936F-7D66BD25F602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4" name="Straight Connector 93">
                <a:extLst>
                  <a:ext uri="{FF2B5EF4-FFF2-40B4-BE49-F238E27FC236}">
                    <a16:creationId xmlns:a16="http://schemas.microsoft.com/office/drawing/2014/main" id="{3A93941B-AF24-46DB-81C6-DA4201B09BAF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5" name="Straight Connector 94">
                <a:extLst>
                  <a:ext uri="{FF2B5EF4-FFF2-40B4-BE49-F238E27FC236}">
                    <a16:creationId xmlns:a16="http://schemas.microsoft.com/office/drawing/2014/main" id="{DBCEA3E9-CAD9-4EDA-BA1B-4B1E7383A46F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Straight Connector 95">
                <a:extLst>
                  <a:ext uri="{FF2B5EF4-FFF2-40B4-BE49-F238E27FC236}">
                    <a16:creationId xmlns:a16="http://schemas.microsoft.com/office/drawing/2014/main" id="{F487F85F-0763-4DCA-9B29-DD62DB8BE169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3" name="Gutter space">
              <a:extLst>
                <a:ext uri="{FF2B5EF4-FFF2-40B4-BE49-F238E27FC236}">
                  <a16:creationId xmlns:a16="http://schemas.microsoft.com/office/drawing/2014/main" id="{20EAFD64-8EB7-41CA-AA61-EE9C1FDDA819}"/>
                </a:ext>
              </a:extLst>
            </p:cNvPr>
            <p:cNvGrpSpPr/>
            <p:nvPr/>
          </p:nvGrpSpPr>
          <p:grpSpPr>
            <a:xfrm>
              <a:off x="1277000" y="487172"/>
              <a:ext cx="9638000" cy="5673425"/>
              <a:chOff x="1277000" y="623550"/>
              <a:chExt cx="9638000" cy="5537047"/>
            </a:xfrm>
          </p:grpSpPr>
          <p:sp>
            <p:nvSpPr>
              <p:cNvPr id="66" name="Rectangle 34">
                <a:extLst>
                  <a:ext uri="{FF2B5EF4-FFF2-40B4-BE49-F238E27FC236}">
                    <a16:creationId xmlns:a16="http://schemas.microsoft.com/office/drawing/2014/main" id="{7729CF70-F30D-4262-A191-A32127BC77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Rectangle 35">
                <a:extLst>
                  <a:ext uri="{FF2B5EF4-FFF2-40B4-BE49-F238E27FC236}">
                    <a16:creationId xmlns:a16="http://schemas.microsoft.com/office/drawing/2014/main" id="{3EB89569-4E6D-45ED-B420-E5A4CBEE7A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36">
                <a:extLst>
                  <a:ext uri="{FF2B5EF4-FFF2-40B4-BE49-F238E27FC236}">
                    <a16:creationId xmlns:a16="http://schemas.microsoft.com/office/drawing/2014/main" id="{CFF8CB16-6D91-41E0-9628-9E45CF6F9C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Rectangle 37">
                <a:extLst>
                  <a:ext uri="{FF2B5EF4-FFF2-40B4-BE49-F238E27FC236}">
                    <a16:creationId xmlns:a16="http://schemas.microsoft.com/office/drawing/2014/main" id="{13ED7652-E34C-430B-9542-01374565E5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Rectangle 38">
                <a:extLst>
                  <a:ext uri="{FF2B5EF4-FFF2-40B4-BE49-F238E27FC236}">
                    <a16:creationId xmlns:a16="http://schemas.microsoft.com/office/drawing/2014/main" id="{5CDBFD30-325B-41E2-A625-EB3D178AE5E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39">
                <a:extLst>
                  <a:ext uri="{FF2B5EF4-FFF2-40B4-BE49-F238E27FC236}">
                    <a16:creationId xmlns:a16="http://schemas.microsoft.com/office/drawing/2014/main" id="{523B5AEC-61E5-4CDA-B108-9E6BB3636B2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2" name="Rectangle 40">
                <a:extLst>
                  <a:ext uri="{FF2B5EF4-FFF2-40B4-BE49-F238E27FC236}">
                    <a16:creationId xmlns:a16="http://schemas.microsoft.com/office/drawing/2014/main" id="{1C7F6737-17B5-4642-926B-AE218707329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Rectangle 41">
                <a:extLst>
                  <a:ext uri="{FF2B5EF4-FFF2-40B4-BE49-F238E27FC236}">
                    <a16:creationId xmlns:a16="http://schemas.microsoft.com/office/drawing/2014/main" id="{47F1FB6E-FF58-4C3E-9C98-F617752064A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Rectangle 42">
                <a:extLst>
                  <a:ext uri="{FF2B5EF4-FFF2-40B4-BE49-F238E27FC236}">
                    <a16:creationId xmlns:a16="http://schemas.microsoft.com/office/drawing/2014/main" id="{BC145E67-4D0F-4A4F-B8C9-FEFAADD73C6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43">
                <a:extLst>
                  <a:ext uri="{FF2B5EF4-FFF2-40B4-BE49-F238E27FC236}">
                    <a16:creationId xmlns:a16="http://schemas.microsoft.com/office/drawing/2014/main" id="{4981B9F9-129A-4A24-BE12-02532BAF32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Rectangle 44">
                <a:extLst>
                  <a:ext uri="{FF2B5EF4-FFF2-40B4-BE49-F238E27FC236}">
                    <a16:creationId xmlns:a16="http://schemas.microsoft.com/office/drawing/2014/main" id="{BBA66733-0979-4C36-905C-1950C1595C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4" name="Slide edges">
              <a:extLst>
                <a:ext uri="{FF2B5EF4-FFF2-40B4-BE49-F238E27FC236}">
                  <a16:creationId xmlns:a16="http://schemas.microsoft.com/office/drawing/2014/main" id="{272BFB9C-B6E8-4A0D-86F4-B5073C15B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5" name="Footnote measure">
              <a:extLst>
                <a:ext uri="{FF2B5EF4-FFF2-40B4-BE49-F238E27FC236}">
                  <a16:creationId xmlns:a16="http://schemas.microsoft.com/office/drawing/2014/main" id="{B6A6756A-75CC-42F9-B14B-1F96BE0C24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Whitespace measure">
              <a:extLst>
                <a:ext uri="{FF2B5EF4-FFF2-40B4-BE49-F238E27FC236}">
                  <a16:creationId xmlns:a16="http://schemas.microsoft.com/office/drawing/2014/main" id="{A25CA66A-74A4-4F3D-B3F6-6CB363EA57C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58" name="Five column measure">
              <a:extLst>
                <a:ext uri="{FF2B5EF4-FFF2-40B4-BE49-F238E27FC236}">
                  <a16:creationId xmlns:a16="http://schemas.microsoft.com/office/drawing/2014/main" id="{94204A79-EC14-45D6-8904-8A99E6009037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>
                <a:extLst>
                  <a:ext uri="{FF2B5EF4-FFF2-40B4-BE49-F238E27FC236}">
                    <a16:creationId xmlns:a16="http://schemas.microsoft.com/office/drawing/2014/main" id="{03569D17-3F96-4F32-AC02-1CBB67BB1E5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Rectangle 7">
                <a:extLst>
                  <a:ext uri="{FF2B5EF4-FFF2-40B4-BE49-F238E27FC236}">
                    <a16:creationId xmlns:a16="http://schemas.microsoft.com/office/drawing/2014/main" id="{857D0CCB-61B4-44A8-8B8F-C32DCD3DD2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9">
                <a:extLst>
                  <a:ext uri="{FF2B5EF4-FFF2-40B4-BE49-F238E27FC236}">
                    <a16:creationId xmlns:a16="http://schemas.microsoft.com/office/drawing/2014/main" id="{C4005105-F648-4A7F-A4CD-94039D75B27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Rectangle 11">
                <a:extLst>
                  <a:ext uri="{FF2B5EF4-FFF2-40B4-BE49-F238E27FC236}">
                    <a16:creationId xmlns:a16="http://schemas.microsoft.com/office/drawing/2014/main" id="{5545C0AE-CFAD-470A-8B17-3A9B0716178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Rectangle 13">
                <a:extLst>
                  <a:ext uri="{FF2B5EF4-FFF2-40B4-BE49-F238E27FC236}">
                    <a16:creationId xmlns:a16="http://schemas.microsoft.com/office/drawing/2014/main" id="{04BF8162-59DE-4F22-9413-9577200FB7F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9" name="Footnote example">
              <a:extLst>
                <a:ext uri="{FF2B5EF4-FFF2-40B4-BE49-F238E27FC236}">
                  <a16:creationId xmlns:a16="http://schemas.microsoft.com/office/drawing/2014/main" id="{B60305D3-63FC-4146-A8FF-B568B3A98EA7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  <p:sp>
          <p:nvSpPr>
            <p:cNvPr id="60" name="Live area">
              <a:extLst>
                <a:ext uri="{FF2B5EF4-FFF2-40B4-BE49-F238E27FC236}">
                  <a16:creationId xmlns:a16="http://schemas.microsoft.com/office/drawing/2014/main" id="{7AC0031A-BE01-4DD6-9FC9-84892D94F948}"/>
                </a:ext>
              </a:extLst>
            </p:cNvPr>
            <p:cNvSpPr/>
            <p:nvPr/>
          </p:nvSpPr>
          <p:spPr>
            <a:xfrm>
              <a:off x="628650" y="2081212"/>
              <a:ext cx="10934700" cy="4079874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90552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8"/>
            <a:ext cx="3448800" cy="3447288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no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21CAD695-1583-49BC-83FC-26569D6B59F4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899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28FF2CE9-00C5-4E6D-93C4-6A1CEFA017A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8360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">
            <a:extLst>
              <a:ext uri="{FF2B5EF4-FFF2-40B4-BE49-F238E27FC236}">
                <a16:creationId xmlns:a16="http://schemas.microsoft.com/office/drawing/2014/main" id="{E2D784B3-484B-4BD1-8299-98F161EF0D4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88485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6B2CAEC-9154-40C5-820B-84C6B7D5E3B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7135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Rectangle 9"/>
          <p:cNvSpPr/>
          <p:nvPr userDrawn="1">
            <p:custDataLst>
              <p:tags r:id="rId2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>
              <a:solidFill>
                <a:srgbClr val="FFFFFF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7"/>
            <a:ext cx="3448800" cy="34472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>
              <a:solidFill>
                <a:schemeClr val="accent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99396" y="1115416"/>
            <a:ext cx="2309287" cy="88178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>
                <a:latin typeface="+mn-lt"/>
                <a:ea typeface="+mn-ea"/>
                <a:cs typeface="+mn-cs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442912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84094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accent4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6065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07949" y="1261154"/>
            <a:ext cx="11026339" cy="13813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60" y="2779872"/>
            <a:ext cx="5561403" cy="33112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3285743"/>
            <a:ext cx="3798903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object 896">
            <a:extLst>
              <a:ext uri="{FF2B5EF4-FFF2-40B4-BE49-F238E27FC236}">
                <a16:creationId xmlns:a16="http://schemas.microsoft.com/office/drawing/2014/main" id="{BB305558-8CA8-0312-BC63-364EE87CF25B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" y="3635949"/>
            <a:ext cx="2237152" cy="3223089"/>
          </a:xfrm>
          <a:prstGeom prst="rect">
            <a:avLst/>
          </a:prstGeom>
        </p:spPr>
      </p:pic>
      <p:pic>
        <p:nvPicPr>
          <p:cNvPr id="11" name="object 898">
            <a:extLst>
              <a:ext uri="{FF2B5EF4-FFF2-40B4-BE49-F238E27FC236}">
                <a16:creationId xmlns:a16="http://schemas.microsoft.com/office/drawing/2014/main" id="{0CD524DB-3546-0773-AF1E-55E462FFBF9A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4025" y="3635949"/>
            <a:ext cx="3284673" cy="3223089"/>
          </a:xfrm>
          <a:prstGeom prst="rect">
            <a:avLst/>
          </a:prstGeom>
        </p:spPr>
      </p:pic>
      <p:pic>
        <p:nvPicPr>
          <p:cNvPr id="12" name="object 899">
            <a:extLst>
              <a:ext uri="{FF2B5EF4-FFF2-40B4-BE49-F238E27FC236}">
                <a16:creationId xmlns:a16="http://schemas.microsoft.com/office/drawing/2014/main" id="{D4B8747E-5D0C-4ED4-CFE1-B9C5592A000E}"/>
              </a:ext>
            </a:extLst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3498" y="3635949"/>
            <a:ext cx="2259213" cy="3223097"/>
          </a:xfrm>
          <a:prstGeom prst="rect">
            <a:avLst/>
          </a:prstGeom>
        </p:spPr>
      </p:pic>
      <p:pic>
        <p:nvPicPr>
          <p:cNvPr id="14" name="object 5">
            <a:extLst>
              <a:ext uri="{FF2B5EF4-FFF2-40B4-BE49-F238E27FC236}">
                <a16:creationId xmlns:a16="http://schemas.microsoft.com/office/drawing/2014/main" id="{1C3BA4BC-FAC8-271F-17C7-7D3DAFF6E6D7}"/>
              </a:ext>
            </a:extLst>
          </p:cNvPr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9956" y="3635949"/>
            <a:ext cx="1915440" cy="3227832"/>
          </a:xfrm>
          <a:prstGeom prst="rect">
            <a:avLst/>
          </a:prstGeom>
        </p:spPr>
      </p:pic>
      <p:pic>
        <p:nvPicPr>
          <p:cNvPr id="16" name="object 7">
            <a:extLst>
              <a:ext uri="{FF2B5EF4-FFF2-40B4-BE49-F238E27FC236}">
                <a16:creationId xmlns:a16="http://schemas.microsoft.com/office/drawing/2014/main" id="{C2868144-C3AC-DAD2-732B-7F168BE04CF2}"/>
              </a:ext>
            </a:extLst>
          </p:cNvPr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7327" y="3635949"/>
            <a:ext cx="1917541" cy="322783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87B9FFA-F7F6-93D4-D770-B7F388E192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24951" y="236994"/>
            <a:ext cx="3428999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47511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Agenda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A259E8D-DFE9-41CA-89DE-BBF1EB951523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8820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08638" y="3586748"/>
            <a:ext cx="1365250" cy="3382962"/>
          </a:xfrm>
          <a:custGeom>
            <a:avLst/>
            <a:gdLst>
              <a:gd name="connsiteX0" fmla="*/ 94280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28720 w 1365250"/>
              <a:gd name="connsiteY3" fmla="*/ 3382962 h 3382962"/>
              <a:gd name="connsiteX4" fmla="*/ 0 w 1365250"/>
              <a:gd name="connsiteY4" fmla="*/ 0 h 3382962"/>
              <a:gd name="connsiteX5" fmla="*/ 929501 w 1365250"/>
              <a:gd name="connsiteY5" fmla="*/ 0 h 3382962"/>
              <a:gd name="connsiteX6" fmla="*/ 0 w 1365250"/>
              <a:gd name="connsiteY6" fmla="*/ 2860398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365250" h="3382962">
                <a:moveTo>
                  <a:pt x="94280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28720" y="3382962"/>
                </a:lnTo>
                <a:close/>
                <a:moveTo>
                  <a:pt x="0" y="0"/>
                </a:moveTo>
                <a:lnTo>
                  <a:pt x="929501" y="0"/>
                </a:lnTo>
                <a:lnTo>
                  <a:pt x="0" y="286039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A6E4712E-9DC4-4CB8-B085-0C42051F987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752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Agenda/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CD782B5D-9C17-1145-AC4C-FE14151F547C}"/>
              </a:ext>
            </a:extLst>
          </p:cNvPr>
          <p:cNvSpPr/>
          <p:nvPr userDrawn="1"/>
        </p:nvSpPr>
        <p:spPr>
          <a:xfrm>
            <a:off x="0" y="8201"/>
            <a:ext cx="6969512" cy="6841598"/>
          </a:xfrm>
          <a:custGeom>
            <a:avLst/>
            <a:gdLst>
              <a:gd name="connsiteX0" fmla="*/ 0 w 4425387"/>
              <a:gd name="connsiteY0" fmla="*/ 0 h 6841598"/>
              <a:gd name="connsiteX1" fmla="*/ 4425387 w 4425387"/>
              <a:gd name="connsiteY1" fmla="*/ 0 h 6841598"/>
              <a:gd name="connsiteX2" fmla="*/ 2723908 w 4425387"/>
              <a:gd name="connsiteY2" fmla="*/ 6823276 h 6841598"/>
              <a:gd name="connsiteX3" fmla="*/ 0 w 4425387"/>
              <a:gd name="connsiteY3" fmla="*/ 6841598 h 684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25387" h="6841598">
                <a:moveTo>
                  <a:pt x="0" y="0"/>
                </a:moveTo>
                <a:lnTo>
                  <a:pt x="4425387" y="0"/>
                </a:lnTo>
                <a:lnTo>
                  <a:pt x="2723908" y="6823276"/>
                </a:lnTo>
                <a:lnTo>
                  <a:pt x="0" y="684159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D92285-F352-9541-8330-7DC8FD581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08" y="1165381"/>
            <a:ext cx="4809152" cy="2184400"/>
          </a:xfrm>
        </p:spPr>
        <p:txBody>
          <a:bodyPr anchor="t" anchorCtr="0">
            <a:noAutofit/>
          </a:bodyPr>
          <a:lstStyle>
            <a:lvl1pPr>
              <a:defRPr sz="222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32CD3-B617-8E44-B78F-97440E1B20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65381"/>
            <a:ext cx="5257800" cy="4785200"/>
          </a:xfrm>
        </p:spPr>
        <p:txBody>
          <a:bodyPr anchor="b" anchorCtr="0"/>
          <a:lstStyle>
            <a:lvl1pPr marL="0" indent="0">
              <a:spcBef>
                <a:spcPts val="889"/>
              </a:spcBef>
              <a:buNone/>
              <a:tabLst>
                <a:tab pos="2793846" algn="r"/>
              </a:tabLs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Holder 5">
            <a:extLst>
              <a:ext uri="{FF2B5EF4-FFF2-40B4-BE49-F238E27FC236}">
                <a16:creationId xmlns:a16="http://schemas.microsoft.com/office/drawing/2014/main" id="{8C581976-4828-4385-15DB-3D1883B0A5CD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9093197" y="6597061"/>
            <a:ext cx="1799771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32D18E56-39BD-8944-B8DF-C01AFC70E39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074400" y="6597061"/>
            <a:ext cx="50800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3937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D242ED7F-31F3-6240-B2C8-6FF2D7AC45B3}"/>
              </a:ext>
            </a:extLst>
          </p:cNvPr>
          <p:cNvSpPr/>
          <p:nvPr userDrawn="1"/>
        </p:nvSpPr>
        <p:spPr>
          <a:xfrm>
            <a:off x="1" y="0"/>
            <a:ext cx="6863787" cy="6858000"/>
          </a:xfrm>
          <a:custGeom>
            <a:avLst/>
            <a:gdLst>
              <a:gd name="connsiteX0" fmla="*/ 0 w 6863787"/>
              <a:gd name="connsiteY0" fmla="*/ 0 h 6858000"/>
              <a:gd name="connsiteX1" fmla="*/ 6863787 w 6863787"/>
              <a:gd name="connsiteY1" fmla="*/ 0 h 6858000"/>
              <a:gd name="connsiteX2" fmla="*/ 6863787 w 6863787"/>
              <a:gd name="connsiteY2" fmla="*/ 6858000 h 6858000"/>
              <a:gd name="connsiteX3" fmla="*/ 0 w 6863787"/>
              <a:gd name="connsiteY3" fmla="*/ 6858000 h 6858000"/>
              <a:gd name="connsiteX4" fmla="*/ 0 w 6863787"/>
              <a:gd name="connsiteY4" fmla="*/ 0 h 6858000"/>
              <a:gd name="connsiteX0" fmla="*/ 0 w 6863787"/>
              <a:gd name="connsiteY0" fmla="*/ 0 h 6858000"/>
              <a:gd name="connsiteX1" fmla="*/ 6863787 w 6863787"/>
              <a:gd name="connsiteY1" fmla="*/ 0 h 6858000"/>
              <a:gd name="connsiteX2" fmla="*/ 5162308 w 6863787"/>
              <a:gd name="connsiteY2" fmla="*/ 6823276 h 6858000"/>
              <a:gd name="connsiteX3" fmla="*/ 0 w 6863787"/>
              <a:gd name="connsiteY3" fmla="*/ 6858000 h 6858000"/>
              <a:gd name="connsiteX4" fmla="*/ 0 w 6863787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63787" h="6858000">
                <a:moveTo>
                  <a:pt x="0" y="0"/>
                </a:moveTo>
                <a:lnTo>
                  <a:pt x="6863787" y="0"/>
                </a:lnTo>
                <a:lnTo>
                  <a:pt x="5162308" y="6823276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3F09E8-B747-B84C-A2B2-F829044B9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76266"/>
            <a:ext cx="6726419" cy="2852737"/>
          </a:xfrm>
        </p:spPr>
        <p:txBody>
          <a:bodyPr anchor="b"/>
          <a:lstStyle>
            <a:lvl1pPr>
              <a:defRPr sz="3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C786F-4AAA-A648-948F-3845C01361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45407" y="4258878"/>
            <a:ext cx="4904279" cy="1500187"/>
          </a:xfrm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  <a:lvl2pPr marL="253986" indent="0">
              <a:buNone/>
              <a:defRPr sz="1111">
                <a:solidFill>
                  <a:schemeClr val="tx1">
                    <a:tint val="75000"/>
                  </a:schemeClr>
                </a:solidFill>
              </a:defRPr>
            </a:lvl2pPr>
            <a:lvl3pPr marL="50797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61958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4pPr>
            <a:lvl5pPr marL="1015944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5pPr>
            <a:lvl6pPr marL="1269930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6pPr>
            <a:lvl7pPr marL="1523916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7pPr>
            <a:lvl8pPr marL="1777902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8pPr>
            <a:lvl9pPr marL="2031888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94B43F-3B82-374E-B7B1-1092D697BB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73C8E2-B35B-254F-A137-6F2F570DAAC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id="{15AD9895-1CC2-E700-5FFC-CD04A9576ECD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496395" y="6647861"/>
            <a:ext cx="5905864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Holder 5">
            <a:extLst>
              <a:ext uri="{FF2B5EF4-FFF2-40B4-BE49-F238E27FC236}">
                <a16:creationId xmlns:a16="http://schemas.microsoft.com/office/drawing/2014/main" id="{141FC0B9-3E02-334E-7A64-92EF22976F1E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9085943" y="6647861"/>
            <a:ext cx="1799771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FADF5524-1C97-8DF4-BFB3-615B18D2E8C4}"/>
              </a:ext>
            </a:extLst>
          </p:cNvPr>
          <p:cNvSpPr txBox="1">
            <a:spLocks/>
          </p:cNvSpPr>
          <p:nvPr userDrawn="1"/>
        </p:nvSpPr>
        <p:spPr>
          <a:xfrm>
            <a:off x="11067146" y="6647861"/>
            <a:ext cx="50800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41639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89458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031975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62B8F06-2DAB-464E-AFA9-4298A07FDD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785760"/>
            <a:ext cx="12192000" cy="479145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39121" y="1544721"/>
            <a:ext cx="11026338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59" y="2400760"/>
            <a:ext cx="5385515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2848575"/>
            <a:ext cx="2473252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616" y="322662"/>
            <a:ext cx="3683959" cy="925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02539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07949" y="1261154"/>
            <a:ext cx="11026339" cy="13813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60" y="2779872"/>
            <a:ext cx="5561403" cy="33112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3285743"/>
            <a:ext cx="3798903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object 896">
            <a:extLst>
              <a:ext uri="{FF2B5EF4-FFF2-40B4-BE49-F238E27FC236}">
                <a16:creationId xmlns:a16="http://schemas.microsoft.com/office/drawing/2014/main" id="{BB305558-8CA8-0312-BC63-364EE87CF25B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" y="3635949"/>
            <a:ext cx="2237152" cy="3223089"/>
          </a:xfrm>
          <a:prstGeom prst="rect">
            <a:avLst/>
          </a:prstGeom>
        </p:spPr>
      </p:pic>
      <p:pic>
        <p:nvPicPr>
          <p:cNvPr id="10" name="object 897">
            <a:extLst>
              <a:ext uri="{FF2B5EF4-FFF2-40B4-BE49-F238E27FC236}">
                <a16:creationId xmlns:a16="http://schemas.microsoft.com/office/drawing/2014/main" id="{6EE05FB5-DF1A-3485-60DD-F81997CA43B5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07534" y="3635949"/>
            <a:ext cx="3284673" cy="3223097"/>
          </a:xfrm>
          <a:prstGeom prst="rect">
            <a:avLst/>
          </a:prstGeom>
        </p:spPr>
      </p:pic>
      <p:pic>
        <p:nvPicPr>
          <p:cNvPr id="11" name="object 898">
            <a:extLst>
              <a:ext uri="{FF2B5EF4-FFF2-40B4-BE49-F238E27FC236}">
                <a16:creationId xmlns:a16="http://schemas.microsoft.com/office/drawing/2014/main" id="{0CD524DB-3546-0773-AF1E-55E462FFBF9A}"/>
              </a:ext>
            </a:extLst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60516" y="3635949"/>
            <a:ext cx="3284673" cy="3223089"/>
          </a:xfrm>
          <a:prstGeom prst="rect">
            <a:avLst/>
          </a:prstGeom>
        </p:spPr>
      </p:pic>
      <p:pic>
        <p:nvPicPr>
          <p:cNvPr id="12" name="object 899">
            <a:extLst>
              <a:ext uri="{FF2B5EF4-FFF2-40B4-BE49-F238E27FC236}">
                <a16:creationId xmlns:a16="http://schemas.microsoft.com/office/drawing/2014/main" id="{D4B8747E-5D0C-4ED4-CFE1-B9C5592A000E}"/>
              </a:ext>
            </a:extLst>
          </p:cNvPr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3498" y="3635949"/>
            <a:ext cx="2259213" cy="3223097"/>
          </a:xfrm>
          <a:prstGeom prst="rect">
            <a:avLst/>
          </a:prstGeom>
        </p:spPr>
      </p:pic>
      <p:pic>
        <p:nvPicPr>
          <p:cNvPr id="14" name="object 5">
            <a:extLst>
              <a:ext uri="{FF2B5EF4-FFF2-40B4-BE49-F238E27FC236}">
                <a16:creationId xmlns:a16="http://schemas.microsoft.com/office/drawing/2014/main" id="{1C3BA4BC-FAC8-271F-17C7-7D3DAFF6E6D7}"/>
              </a:ext>
            </a:extLst>
          </p:cNvPr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6710" y="3635949"/>
            <a:ext cx="1915440" cy="3227832"/>
          </a:xfrm>
          <a:prstGeom prst="rect">
            <a:avLst/>
          </a:prstGeom>
        </p:spPr>
      </p:pic>
      <p:pic>
        <p:nvPicPr>
          <p:cNvPr id="15" name="object 6">
            <a:extLst>
              <a:ext uri="{FF2B5EF4-FFF2-40B4-BE49-F238E27FC236}">
                <a16:creationId xmlns:a16="http://schemas.microsoft.com/office/drawing/2014/main" id="{8EC67741-270A-4DC5-53B0-2B67C2411B88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7591" y="3635949"/>
            <a:ext cx="1917541" cy="3227832"/>
          </a:xfrm>
          <a:prstGeom prst="rect">
            <a:avLst/>
          </a:prstGeom>
        </p:spPr>
      </p:pic>
      <p:pic>
        <p:nvPicPr>
          <p:cNvPr id="16" name="object 7">
            <a:extLst>
              <a:ext uri="{FF2B5EF4-FFF2-40B4-BE49-F238E27FC236}">
                <a16:creationId xmlns:a16="http://schemas.microsoft.com/office/drawing/2014/main" id="{C2868144-C3AC-DAD2-732B-7F168BE04CF2}"/>
              </a:ext>
            </a:extLst>
          </p:cNvPr>
          <p:cNvPicPr/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70573" y="3635949"/>
            <a:ext cx="1917541" cy="322783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87B9FFA-F7F6-93D4-D770-B7F388E192F3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24951" y="236994"/>
            <a:ext cx="3428999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3399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6230B5-A936-ABB3-0919-4AC28AAE7B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2BDD5-303B-F09D-4E2F-1814EDCBEC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69E1F7-3D26-C0DA-A932-4CB1F1FB3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715BC-FA7E-EDF5-AD75-38ECDC478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F6256E-379D-E164-2A7E-56BF26D3B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bg object 17">
            <a:extLst>
              <a:ext uri="{FF2B5EF4-FFF2-40B4-BE49-F238E27FC236}">
                <a16:creationId xmlns:a16="http://schemas.microsoft.com/office/drawing/2014/main" id="{425995A7-A0EA-D9C1-BD6D-9CB7255F5025}"/>
              </a:ext>
            </a:extLst>
          </p:cNvPr>
          <p:cNvSpPr/>
          <p:nvPr userDrawn="1"/>
        </p:nvSpPr>
        <p:spPr>
          <a:xfrm>
            <a:off x="8631" y="6040231"/>
            <a:ext cx="12192000" cy="508748"/>
          </a:xfrm>
          <a:custGeom>
            <a:avLst/>
            <a:gdLst>
              <a:gd name="connsiteX0" fmla="*/ 10058400 w 10058400"/>
              <a:gd name="connsiteY0" fmla="*/ 576580 h 576580"/>
              <a:gd name="connsiteX1" fmla="*/ 2574607 w 10058400"/>
              <a:gd name="connsiteY1" fmla="*/ 576580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01360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29828 w 10058400"/>
              <a:gd name="connsiteY2" fmla="*/ 0 h 576580"/>
              <a:gd name="connsiteX3" fmla="*/ 0 w 10058400"/>
              <a:gd name="connsiteY3" fmla="*/ 0 h 57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58400" h="576580">
                <a:moveTo>
                  <a:pt x="10058400" y="576580"/>
                </a:moveTo>
                <a:lnTo>
                  <a:pt x="2133366" y="557027"/>
                </a:lnTo>
                <a:lnTo>
                  <a:pt x="1929828" y="0"/>
                </a:lnTo>
                <a:lnTo>
                  <a:pt x="0" y="0"/>
                </a:lnTo>
              </a:path>
            </a:pathLst>
          </a:custGeom>
          <a:ln w="12699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578F0B0-CDC1-1E75-0330-8668E3DB05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288" y="6099848"/>
            <a:ext cx="1888315" cy="503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6696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E4580-01C0-B542-DAEE-654468D28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70257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836FB9-B665-5BBE-0FB1-11FB56E3B0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582296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6DEA3-78D1-571F-643E-BEED039E0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61EE3B-1630-C87F-1380-14C897427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4AC03-8C35-D780-29BB-60666260E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bg object 17">
            <a:extLst>
              <a:ext uri="{FF2B5EF4-FFF2-40B4-BE49-F238E27FC236}">
                <a16:creationId xmlns:a16="http://schemas.microsoft.com/office/drawing/2014/main" id="{57654BA1-6E09-C07A-F1D1-7086182B18EC}"/>
              </a:ext>
            </a:extLst>
          </p:cNvPr>
          <p:cNvSpPr/>
          <p:nvPr userDrawn="1"/>
        </p:nvSpPr>
        <p:spPr>
          <a:xfrm>
            <a:off x="8631" y="6040231"/>
            <a:ext cx="12192000" cy="508748"/>
          </a:xfrm>
          <a:custGeom>
            <a:avLst/>
            <a:gdLst>
              <a:gd name="connsiteX0" fmla="*/ 10058400 w 10058400"/>
              <a:gd name="connsiteY0" fmla="*/ 576580 h 576580"/>
              <a:gd name="connsiteX1" fmla="*/ 2574607 w 10058400"/>
              <a:gd name="connsiteY1" fmla="*/ 576580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01360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29828 w 10058400"/>
              <a:gd name="connsiteY2" fmla="*/ 0 h 576580"/>
              <a:gd name="connsiteX3" fmla="*/ 0 w 10058400"/>
              <a:gd name="connsiteY3" fmla="*/ 0 h 57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58400" h="576580">
                <a:moveTo>
                  <a:pt x="10058400" y="576580"/>
                </a:moveTo>
                <a:lnTo>
                  <a:pt x="2133366" y="557027"/>
                </a:lnTo>
                <a:lnTo>
                  <a:pt x="1929828" y="0"/>
                </a:lnTo>
                <a:lnTo>
                  <a:pt x="0" y="0"/>
                </a:lnTo>
              </a:path>
            </a:pathLst>
          </a:custGeom>
          <a:ln w="12699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540A91F-2C39-9254-5422-C94E27AE5E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288" y="6099848"/>
            <a:ext cx="1888315" cy="503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35595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6230B5-A936-ABB3-0919-4AC28AAE7B7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AD2BDD5-303B-F09D-4E2F-1814EDCBEC2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69E1F7-3D26-C0DA-A932-4CB1F1FB3C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4715BC-FA7E-EDF5-AD75-38ECDC4787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F6256E-379D-E164-2A7E-56BF26D3BA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7" name="bg object 17">
            <a:extLst>
              <a:ext uri="{FF2B5EF4-FFF2-40B4-BE49-F238E27FC236}">
                <a16:creationId xmlns:a16="http://schemas.microsoft.com/office/drawing/2014/main" id="{425995A7-A0EA-D9C1-BD6D-9CB7255F5025}"/>
              </a:ext>
            </a:extLst>
          </p:cNvPr>
          <p:cNvSpPr/>
          <p:nvPr userDrawn="1"/>
        </p:nvSpPr>
        <p:spPr>
          <a:xfrm>
            <a:off x="8631" y="6040231"/>
            <a:ext cx="12192000" cy="508748"/>
          </a:xfrm>
          <a:custGeom>
            <a:avLst/>
            <a:gdLst>
              <a:gd name="connsiteX0" fmla="*/ 10058400 w 10058400"/>
              <a:gd name="connsiteY0" fmla="*/ 576580 h 576580"/>
              <a:gd name="connsiteX1" fmla="*/ 2574607 w 10058400"/>
              <a:gd name="connsiteY1" fmla="*/ 576580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01360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29828 w 10058400"/>
              <a:gd name="connsiteY2" fmla="*/ 0 h 576580"/>
              <a:gd name="connsiteX3" fmla="*/ 0 w 10058400"/>
              <a:gd name="connsiteY3" fmla="*/ 0 h 57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58400" h="576580">
                <a:moveTo>
                  <a:pt x="10058400" y="576580"/>
                </a:moveTo>
                <a:lnTo>
                  <a:pt x="2133366" y="557027"/>
                </a:lnTo>
                <a:lnTo>
                  <a:pt x="1929828" y="0"/>
                </a:lnTo>
                <a:lnTo>
                  <a:pt x="0" y="0"/>
                </a:lnTo>
              </a:path>
            </a:pathLst>
          </a:custGeom>
          <a:ln w="12699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578F0B0-CDC1-1E75-0330-8668E3DB05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288" y="6099848"/>
            <a:ext cx="1888315" cy="503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30825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9D4ABE-6EDB-C877-0CDC-9601136D0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628F66-E1BF-CAE7-D00F-F62127B4A4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11F234-6FA3-EEA0-278A-FF8F8A26F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8872D0F-370C-DE50-995E-73EEE0C1A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665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2DFDFA16-0AF7-197D-5FD6-E6C27577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4216911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56CA9A-1420-B8CD-2E41-26F361BA2C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3213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E558B5-355E-77D8-0FEB-9002F72CA1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33213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903381-019C-E52B-3441-6DA21A316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171969-2C39-9A23-4D93-C8F92D8CE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CAE0F5-F3DD-805D-03C7-78573CFC1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4D6DDD65-9165-2B5E-79E1-B1713FB39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3916538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C0111-8D38-DADB-3FF9-AFA33A3C58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303797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95097-975E-D965-7F9D-330C57FDAC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127709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34921-9959-0168-45D0-EB0D5CE4BD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303797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D05A5C-6F72-F7AD-5044-5A688D33FB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27709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D3B3BC-ED78-15AB-5C49-8768FFF6B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C26B84-F5D1-7495-EA7B-58C1B95D4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17A9E5-68A8-19E8-11AA-8D1C69051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Holder 2">
            <a:extLst>
              <a:ext uri="{FF2B5EF4-FFF2-40B4-BE49-F238E27FC236}">
                <a16:creationId xmlns:a16="http://schemas.microsoft.com/office/drawing/2014/main" id="{26FB0911-599B-24FD-FF61-45D3BF31A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92068541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B92B2B-8B4D-03A0-43EC-D548F832D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14E55-3D28-2C1C-0B73-94B689805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50C90F-A27E-309E-8970-741AADA8B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01781982-66D4-28DD-56BE-FB835AE08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37800087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9C0E84-821B-BBF3-BCA1-2250B2CE85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45506-DCCB-EFAB-6C8C-45EAA9441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B38F0B-29D1-B5FB-6BFC-71E0F3241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350691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A29267-EAF7-92F9-CD14-E134D53B62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0E0C4E-3DA6-FC0E-D0AF-3CE47DF9E83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51FD7E-5D50-B530-5FB3-327F61A33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FD3AB405-A20F-5C5A-41AA-BCF4CC9D5924}"/>
              </a:ext>
            </a:extLst>
          </p:cNvPr>
          <p:cNvSpPr/>
          <p:nvPr/>
        </p:nvSpPr>
        <p:spPr>
          <a:xfrm>
            <a:off x="948973" y="1539604"/>
            <a:ext cx="4914900" cy="3474720"/>
          </a:xfrm>
          <a:custGeom>
            <a:avLst/>
            <a:gdLst/>
            <a:ahLst/>
            <a:cxnLst/>
            <a:rect l="l" t="t" r="r" b="b"/>
            <a:pathLst>
              <a:path w="4914900" h="3474720">
                <a:moveTo>
                  <a:pt x="4914900" y="0"/>
                </a:moveTo>
                <a:lnTo>
                  <a:pt x="0" y="0"/>
                </a:lnTo>
                <a:lnTo>
                  <a:pt x="0" y="3474720"/>
                </a:lnTo>
                <a:lnTo>
                  <a:pt x="4175252" y="3474720"/>
                </a:lnTo>
                <a:lnTo>
                  <a:pt x="49149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5">
            <a:extLst>
              <a:ext uri="{FF2B5EF4-FFF2-40B4-BE49-F238E27FC236}">
                <a16:creationId xmlns:a16="http://schemas.microsoft.com/office/drawing/2014/main" id="{EFE82CF4-E877-C820-ED8E-686A0893244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9652" y="1561452"/>
            <a:ext cx="2108250" cy="3449319"/>
          </a:xfrm>
          <a:prstGeom prst="rect">
            <a:avLst/>
          </a:prstGeom>
        </p:spPr>
      </p:pic>
      <p:pic>
        <p:nvPicPr>
          <p:cNvPr id="10" name="object 6">
            <a:extLst>
              <a:ext uri="{FF2B5EF4-FFF2-40B4-BE49-F238E27FC236}">
                <a16:creationId xmlns:a16="http://schemas.microsoft.com/office/drawing/2014/main" id="{4C2F2ADB-A0F5-1969-1F35-6278D55F028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6301" y="1550784"/>
            <a:ext cx="2110562" cy="3459988"/>
          </a:xfrm>
          <a:prstGeom prst="rect">
            <a:avLst/>
          </a:prstGeom>
        </p:spPr>
      </p:pic>
      <p:pic>
        <p:nvPicPr>
          <p:cNvPr id="11" name="object 7">
            <a:extLst>
              <a:ext uri="{FF2B5EF4-FFF2-40B4-BE49-F238E27FC236}">
                <a16:creationId xmlns:a16="http://schemas.microsoft.com/office/drawing/2014/main" id="{BD040AF6-75BE-E27E-72D6-C0461369C269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2951" y="1550784"/>
            <a:ext cx="2110562" cy="3459988"/>
          </a:xfrm>
          <a:prstGeom prst="rect">
            <a:avLst/>
          </a:prstGeom>
        </p:spPr>
      </p:pic>
      <p:pic>
        <p:nvPicPr>
          <p:cNvPr id="12" name="object 8">
            <a:extLst>
              <a:ext uri="{FF2B5EF4-FFF2-40B4-BE49-F238E27FC236}">
                <a16:creationId xmlns:a16="http://schemas.microsoft.com/office/drawing/2014/main" id="{A5995094-1AE6-99CC-1523-34760375C03E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9600" y="1550784"/>
            <a:ext cx="1377772" cy="34599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5EBD9F8-4730-C8B7-584E-1BBD01D54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1459" y="2403573"/>
            <a:ext cx="3840827" cy="150077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46627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90447CD-6AFA-2464-D277-E5CFB6688D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BCEB5D-6918-C885-D348-DDF3BF241BF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68FF44-697F-3F27-D476-B7C972BBCB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B277242-84D3-E587-21E5-D96814318F1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2E69AD9-6767-3DAD-D066-C7440FA3E7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E4F1C44-2276-139E-8F00-05C9554735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2665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BCE46A-509B-CFDE-C5BB-E2A7B52A4E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6C2C4D2-D9D1-A7A8-0DDE-9DF0D0A5AC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9816BD0-A2F7-438D-AB6A-67542E4CB3A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32C014-104C-EA46-B66D-7C5F1A2E4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2A86A4F-94D0-5B77-318C-C0608333347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368248-BAC2-342F-9195-A7DD186D57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584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07949" y="1261154"/>
            <a:ext cx="11026339" cy="138136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 baseline="0">
                <a:solidFill>
                  <a:schemeClr val="accent5"/>
                </a:solidFill>
                <a:latin typeface="+mj-lt"/>
                <a:cs typeface="Arial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60" y="2779872"/>
            <a:ext cx="5561403" cy="331125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3429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3285743"/>
            <a:ext cx="3798903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object 896">
            <a:extLst>
              <a:ext uri="{FF2B5EF4-FFF2-40B4-BE49-F238E27FC236}">
                <a16:creationId xmlns:a16="http://schemas.microsoft.com/office/drawing/2014/main" id="{BB305558-8CA8-0312-BC63-364EE87CF25B}"/>
              </a:ext>
            </a:extLst>
          </p:cNvPr>
          <p:cNvPicPr/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74" y="3635949"/>
            <a:ext cx="2237152" cy="3223089"/>
          </a:xfrm>
          <a:prstGeom prst="rect">
            <a:avLst/>
          </a:prstGeom>
        </p:spPr>
      </p:pic>
      <p:pic>
        <p:nvPicPr>
          <p:cNvPr id="11" name="object 898">
            <a:extLst>
              <a:ext uri="{FF2B5EF4-FFF2-40B4-BE49-F238E27FC236}">
                <a16:creationId xmlns:a16="http://schemas.microsoft.com/office/drawing/2014/main" id="{0CD524DB-3546-0773-AF1E-55E462FFBF9A}"/>
              </a:ext>
            </a:extLst>
          </p:cNvPr>
          <p:cNvPicPr/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4025" y="3635949"/>
            <a:ext cx="3284673" cy="3223089"/>
          </a:xfrm>
          <a:prstGeom prst="rect">
            <a:avLst/>
          </a:prstGeom>
        </p:spPr>
      </p:pic>
      <p:pic>
        <p:nvPicPr>
          <p:cNvPr id="12" name="object 899">
            <a:extLst>
              <a:ext uri="{FF2B5EF4-FFF2-40B4-BE49-F238E27FC236}">
                <a16:creationId xmlns:a16="http://schemas.microsoft.com/office/drawing/2014/main" id="{D4B8747E-5D0C-4ED4-CFE1-B9C5592A000E}"/>
              </a:ext>
            </a:extLst>
          </p:cNvPr>
          <p:cNvPicPr/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13498" y="3635949"/>
            <a:ext cx="2259213" cy="3223097"/>
          </a:xfrm>
          <a:prstGeom prst="rect">
            <a:avLst/>
          </a:prstGeom>
        </p:spPr>
      </p:pic>
      <p:pic>
        <p:nvPicPr>
          <p:cNvPr id="14" name="object 5">
            <a:extLst>
              <a:ext uri="{FF2B5EF4-FFF2-40B4-BE49-F238E27FC236}">
                <a16:creationId xmlns:a16="http://schemas.microsoft.com/office/drawing/2014/main" id="{1C3BA4BC-FAC8-271F-17C7-7D3DAFF6E6D7}"/>
              </a:ext>
            </a:extLst>
          </p:cNvPr>
          <p:cNvPicPr/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79956" y="3635949"/>
            <a:ext cx="1915440" cy="3227832"/>
          </a:xfrm>
          <a:prstGeom prst="rect">
            <a:avLst/>
          </a:prstGeom>
        </p:spPr>
      </p:pic>
      <p:pic>
        <p:nvPicPr>
          <p:cNvPr id="16" name="object 7">
            <a:extLst>
              <a:ext uri="{FF2B5EF4-FFF2-40B4-BE49-F238E27FC236}">
                <a16:creationId xmlns:a16="http://schemas.microsoft.com/office/drawing/2014/main" id="{C2868144-C3AC-DAD2-732B-7F168BE04CF2}"/>
              </a:ext>
            </a:extLst>
          </p:cNvPr>
          <p:cNvPicPr/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57327" y="3635949"/>
            <a:ext cx="1917541" cy="322783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D87B9FFA-F7F6-93D4-D770-B7F388E192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24951" y="236994"/>
            <a:ext cx="3428999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5432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Agenda/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CD782B5D-9C17-1145-AC4C-FE14151F547C}"/>
              </a:ext>
            </a:extLst>
          </p:cNvPr>
          <p:cNvSpPr/>
          <p:nvPr userDrawn="1"/>
        </p:nvSpPr>
        <p:spPr>
          <a:xfrm>
            <a:off x="0" y="8201"/>
            <a:ext cx="6969512" cy="6841598"/>
          </a:xfrm>
          <a:custGeom>
            <a:avLst/>
            <a:gdLst>
              <a:gd name="connsiteX0" fmla="*/ 0 w 4425387"/>
              <a:gd name="connsiteY0" fmla="*/ 0 h 6841598"/>
              <a:gd name="connsiteX1" fmla="*/ 4425387 w 4425387"/>
              <a:gd name="connsiteY1" fmla="*/ 0 h 6841598"/>
              <a:gd name="connsiteX2" fmla="*/ 2723908 w 4425387"/>
              <a:gd name="connsiteY2" fmla="*/ 6823276 h 6841598"/>
              <a:gd name="connsiteX3" fmla="*/ 0 w 4425387"/>
              <a:gd name="connsiteY3" fmla="*/ 6841598 h 68415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25387" h="6841598">
                <a:moveTo>
                  <a:pt x="0" y="0"/>
                </a:moveTo>
                <a:lnTo>
                  <a:pt x="4425387" y="0"/>
                </a:lnTo>
                <a:lnTo>
                  <a:pt x="2723908" y="6823276"/>
                </a:lnTo>
                <a:lnTo>
                  <a:pt x="0" y="6841598"/>
                </a:lnTo>
                <a:close/>
              </a:path>
            </a:pathLst>
          </a:custGeom>
          <a:gradFill>
            <a:gsLst>
              <a:gs pos="100000">
                <a:schemeClr val="accent1"/>
              </a:gs>
              <a:gs pos="0">
                <a:schemeClr val="accent5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CD92285-F352-9541-8330-7DC8FD581F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6608" y="1165381"/>
            <a:ext cx="4809152" cy="2184400"/>
          </a:xfrm>
        </p:spPr>
        <p:txBody>
          <a:bodyPr anchor="t" anchorCtr="0">
            <a:noAutofit/>
          </a:bodyPr>
          <a:lstStyle>
            <a:lvl1pPr>
              <a:defRPr sz="2222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7E32CD3-B617-8E44-B78F-97440E1B20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165381"/>
            <a:ext cx="5257800" cy="4785200"/>
          </a:xfrm>
        </p:spPr>
        <p:txBody>
          <a:bodyPr anchor="b" anchorCtr="0"/>
          <a:lstStyle>
            <a:lvl1pPr marL="0" indent="0">
              <a:spcBef>
                <a:spcPts val="889"/>
              </a:spcBef>
              <a:buNone/>
              <a:tabLst>
                <a:tab pos="2793846" algn="r"/>
              </a:tabLst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Holder 5">
            <a:extLst>
              <a:ext uri="{FF2B5EF4-FFF2-40B4-BE49-F238E27FC236}">
                <a16:creationId xmlns:a16="http://schemas.microsoft.com/office/drawing/2014/main" id="{8C581976-4828-4385-15DB-3D1883B0A5CD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9093197" y="6597061"/>
            <a:ext cx="1799771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32D18E56-39BD-8944-B8DF-C01AFC70E39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074400" y="6597061"/>
            <a:ext cx="50800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2964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8EE4580-01C0-B542-DAEE-654468D281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702571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B836FB9-B665-5BBE-0FB1-11FB56E3B07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3582296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56DEA3-78D1-571F-643E-BEED039E02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61EE3B-1630-C87F-1380-14C897427F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B4AC03-8C35-D780-29BB-60666260E5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9" name="bg object 17">
            <a:extLst>
              <a:ext uri="{FF2B5EF4-FFF2-40B4-BE49-F238E27FC236}">
                <a16:creationId xmlns:a16="http://schemas.microsoft.com/office/drawing/2014/main" id="{57654BA1-6E09-C07A-F1D1-7086182B18EC}"/>
              </a:ext>
            </a:extLst>
          </p:cNvPr>
          <p:cNvSpPr/>
          <p:nvPr userDrawn="1"/>
        </p:nvSpPr>
        <p:spPr>
          <a:xfrm>
            <a:off x="8631" y="6040231"/>
            <a:ext cx="12192000" cy="508748"/>
          </a:xfrm>
          <a:custGeom>
            <a:avLst/>
            <a:gdLst>
              <a:gd name="connsiteX0" fmla="*/ 10058400 w 10058400"/>
              <a:gd name="connsiteY0" fmla="*/ 576580 h 576580"/>
              <a:gd name="connsiteX1" fmla="*/ 2574607 w 10058400"/>
              <a:gd name="connsiteY1" fmla="*/ 576580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01360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29828 w 10058400"/>
              <a:gd name="connsiteY2" fmla="*/ 0 h 576580"/>
              <a:gd name="connsiteX3" fmla="*/ 0 w 10058400"/>
              <a:gd name="connsiteY3" fmla="*/ 0 h 57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58400" h="576580">
                <a:moveTo>
                  <a:pt x="10058400" y="576580"/>
                </a:moveTo>
                <a:lnTo>
                  <a:pt x="2133366" y="557027"/>
                </a:lnTo>
                <a:lnTo>
                  <a:pt x="1929828" y="0"/>
                </a:lnTo>
                <a:lnTo>
                  <a:pt x="0" y="0"/>
                </a:lnTo>
              </a:path>
            </a:pathLst>
          </a:custGeom>
          <a:ln w="12699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2540A91F-2C39-9254-5422-C94E27AE5E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288" y="6099848"/>
            <a:ext cx="1888315" cy="503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2524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3">
            <a:extLst>
              <a:ext uri="{FF2B5EF4-FFF2-40B4-BE49-F238E27FC236}">
                <a16:creationId xmlns:a16="http://schemas.microsoft.com/office/drawing/2014/main" id="{D242ED7F-31F3-6240-B2C8-6FF2D7AC45B3}"/>
              </a:ext>
            </a:extLst>
          </p:cNvPr>
          <p:cNvSpPr/>
          <p:nvPr userDrawn="1"/>
        </p:nvSpPr>
        <p:spPr>
          <a:xfrm>
            <a:off x="1" y="0"/>
            <a:ext cx="6863787" cy="6858000"/>
          </a:xfrm>
          <a:custGeom>
            <a:avLst/>
            <a:gdLst>
              <a:gd name="connsiteX0" fmla="*/ 0 w 6863787"/>
              <a:gd name="connsiteY0" fmla="*/ 0 h 6858000"/>
              <a:gd name="connsiteX1" fmla="*/ 6863787 w 6863787"/>
              <a:gd name="connsiteY1" fmla="*/ 0 h 6858000"/>
              <a:gd name="connsiteX2" fmla="*/ 6863787 w 6863787"/>
              <a:gd name="connsiteY2" fmla="*/ 6858000 h 6858000"/>
              <a:gd name="connsiteX3" fmla="*/ 0 w 6863787"/>
              <a:gd name="connsiteY3" fmla="*/ 6858000 h 6858000"/>
              <a:gd name="connsiteX4" fmla="*/ 0 w 6863787"/>
              <a:gd name="connsiteY4" fmla="*/ 0 h 6858000"/>
              <a:gd name="connsiteX0" fmla="*/ 0 w 6863787"/>
              <a:gd name="connsiteY0" fmla="*/ 0 h 6858000"/>
              <a:gd name="connsiteX1" fmla="*/ 6863787 w 6863787"/>
              <a:gd name="connsiteY1" fmla="*/ 0 h 6858000"/>
              <a:gd name="connsiteX2" fmla="*/ 5162308 w 6863787"/>
              <a:gd name="connsiteY2" fmla="*/ 6823276 h 6858000"/>
              <a:gd name="connsiteX3" fmla="*/ 0 w 6863787"/>
              <a:gd name="connsiteY3" fmla="*/ 6858000 h 6858000"/>
              <a:gd name="connsiteX4" fmla="*/ 0 w 6863787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63787" h="6858000">
                <a:moveTo>
                  <a:pt x="0" y="0"/>
                </a:moveTo>
                <a:lnTo>
                  <a:pt x="6863787" y="0"/>
                </a:lnTo>
                <a:lnTo>
                  <a:pt x="5162308" y="6823276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>
              <a:alpha val="4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73F09E8-B747-B84C-A2B2-F829044B9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76266"/>
            <a:ext cx="6726419" cy="2852737"/>
          </a:xfrm>
        </p:spPr>
        <p:txBody>
          <a:bodyPr anchor="b"/>
          <a:lstStyle>
            <a:lvl1pPr>
              <a:defRPr sz="3333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3C786F-4AAA-A648-948F-3845C013615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445407" y="4258878"/>
            <a:ext cx="4904279" cy="1500187"/>
          </a:xfrm>
        </p:spPr>
        <p:txBody>
          <a:bodyPr/>
          <a:lstStyle>
            <a:lvl1pPr marL="0" indent="0">
              <a:buNone/>
              <a:defRPr sz="1333">
                <a:solidFill>
                  <a:schemeClr val="bg1"/>
                </a:solidFill>
              </a:defRPr>
            </a:lvl1pPr>
            <a:lvl2pPr marL="253986" indent="0">
              <a:buNone/>
              <a:defRPr sz="1111">
                <a:solidFill>
                  <a:schemeClr val="tx1">
                    <a:tint val="75000"/>
                  </a:schemeClr>
                </a:solidFill>
              </a:defRPr>
            </a:lvl2pPr>
            <a:lvl3pPr marL="507972" indent="0">
              <a:buNone/>
              <a:defRPr sz="1000">
                <a:solidFill>
                  <a:schemeClr val="tx1">
                    <a:tint val="75000"/>
                  </a:schemeClr>
                </a:solidFill>
              </a:defRPr>
            </a:lvl3pPr>
            <a:lvl4pPr marL="761958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4pPr>
            <a:lvl5pPr marL="1015944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5pPr>
            <a:lvl6pPr marL="1269930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6pPr>
            <a:lvl7pPr marL="1523916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7pPr>
            <a:lvl8pPr marL="1777902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8pPr>
            <a:lvl9pPr marL="2031888" indent="0">
              <a:buNone/>
              <a:defRPr sz="88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D94B43F-3B82-374E-B7B1-1092D697BB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73C8E2-B35B-254F-A137-6F2F570DAAC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Holder 4">
            <a:extLst>
              <a:ext uri="{FF2B5EF4-FFF2-40B4-BE49-F238E27FC236}">
                <a16:creationId xmlns:a16="http://schemas.microsoft.com/office/drawing/2014/main" id="{15AD9895-1CC2-E700-5FFC-CD04A9576ECD}"/>
              </a:ext>
            </a:extLst>
          </p:cNvPr>
          <p:cNvSpPr>
            <a:spLocks noGrp="1"/>
          </p:cNvSpPr>
          <p:nvPr>
            <p:ph type="ftr" sz="quarter" idx="5"/>
          </p:nvPr>
        </p:nvSpPr>
        <p:spPr>
          <a:xfrm>
            <a:off x="496395" y="6647861"/>
            <a:ext cx="5905864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Holder 5">
            <a:extLst>
              <a:ext uri="{FF2B5EF4-FFF2-40B4-BE49-F238E27FC236}">
                <a16:creationId xmlns:a16="http://schemas.microsoft.com/office/drawing/2014/main" id="{141FC0B9-3E02-334E-7A64-92EF22976F1E}"/>
              </a:ext>
            </a:extLst>
          </p:cNvPr>
          <p:cNvSpPr>
            <a:spLocks noGrp="1"/>
          </p:cNvSpPr>
          <p:nvPr>
            <p:ph type="dt" sz="half" idx="6"/>
          </p:nvPr>
        </p:nvSpPr>
        <p:spPr>
          <a:xfrm>
            <a:off x="9085943" y="6647861"/>
            <a:ext cx="1799771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9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FADF5524-1C97-8DF4-BFB3-615B18D2E8C4}"/>
              </a:ext>
            </a:extLst>
          </p:cNvPr>
          <p:cNvSpPr txBox="1">
            <a:spLocks/>
          </p:cNvSpPr>
          <p:nvPr userDrawn="1"/>
        </p:nvSpPr>
        <p:spPr>
          <a:xfrm>
            <a:off x="11067146" y="6647861"/>
            <a:ext cx="508000" cy="1384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66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colum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0"/>
          </p:nvPr>
        </p:nvSpPr>
        <p:spPr>
          <a:xfrm>
            <a:off x="477615" y="1046533"/>
            <a:ext cx="11236267" cy="537070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7266317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389458"/>
            <a:ext cx="12192000" cy="8127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" y="3257084"/>
            <a:ext cx="12191999" cy="1150564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52833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1E788F5C-3634-4932-A3E9-9412829E7E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" y="184594"/>
            <a:ext cx="12192000" cy="59926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9070384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762B8F06-2DAB-464E-AFA9-4298A07FDD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1785760"/>
            <a:ext cx="12192000" cy="4791456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1" y="676276"/>
            <a:ext cx="12192000" cy="282575"/>
          </a:xfrm>
          <a:prstGeom prst="rect">
            <a:avLst/>
          </a:prstGeom>
          <a:solidFill>
            <a:srgbClr val="FEFE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>
              <a:solidFill>
                <a:srgbClr val="FFFFFF"/>
              </a:solidFill>
              <a:ea typeface="ＭＳ Ｐゴシック" pitchFamily="-106" charset="-128"/>
              <a:cs typeface="ＭＳ Ｐゴシック" pitchFamily="-106" charset="-128"/>
            </a:endParaRPr>
          </a:p>
        </p:txBody>
      </p:sp>
      <p:sp>
        <p:nvSpPr>
          <p:cNvPr id="19" name="Subtitle 2"/>
          <p:cNvSpPr>
            <a:spLocks noGrp="1"/>
          </p:cNvSpPr>
          <p:nvPr>
            <p:ph type="subTitle" idx="1"/>
          </p:nvPr>
        </p:nvSpPr>
        <p:spPr>
          <a:xfrm>
            <a:off x="739121" y="1544721"/>
            <a:ext cx="11026338" cy="702831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4000" b="1" i="0">
                <a:solidFill>
                  <a:srgbClr val="282B2E"/>
                </a:solidFill>
                <a:latin typeface="+mj-lt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0"/>
          </p:nvPr>
        </p:nvSpPr>
        <p:spPr>
          <a:xfrm>
            <a:off x="739559" y="2400760"/>
            <a:ext cx="5385515" cy="331125"/>
          </a:xfrm>
          <a:prstGeom prst="rect">
            <a:avLst/>
          </a:prstGeom>
        </p:spPr>
        <p:txBody>
          <a:bodyPr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282B2E"/>
                </a:solidFill>
                <a:effectLst/>
                <a:uLnTx/>
                <a:uFillTx/>
                <a:latin typeface="+mn-lt"/>
                <a:cs typeface="Arial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3"/>
          </p:nvPr>
        </p:nvSpPr>
        <p:spPr>
          <a:xfrm>
            <a:off x="745475" y="2848575"/>
            <a:ext cx="2473252" cy="28868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1200">
                <a:solidFill>
                  <a:srgbClr val="282B2E"/>
                </a:solidFill>
                <a:latin typeface="+mn-lt"/>
                <a:cs typeface="Arial"/>
              </a:defRPr>
            </a:lvl1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4616" y="322662"/>
            <a:ext cx="3683959" cy="9253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810101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54730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>
            <a:extLst>
              <a:ext uri="{FF2B5EF4-FFF2-40B4-BE49-F238E27FC236}">
                <a16:creationId xmlns:a16="http://schemas.microsoft.com/office/drawing/2014/main" id="{EDCC9759-EE96-4670-955D-0F8A4044A255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7" name="Straight Connector 16">
              <a:extLst>
                <a:ext uri="{FF2B5EF4-FFF2-40B4-BE49-F238E27FC236}">
                  <a16:creationId xmlns:a16="http://schemas.microsoft.com/office/drawing/2014/main" id="{0D1D57AE-1DCE-4796-9405-C66D5F7ECD2F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9" name="Straight Connector 18">
              <a:extLst>
                <a:ext uri="{FF2B5EF4-FFF2-40B4-BE49-F238E27FC236}">
                  <a16:creationId xmlns:a16="http://schemas.microsoft.com/office/drawing/2014/main" id="{874C5728-A065-43B1-969D-47B671DAB4EF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23" name="Rectangle 23">
              <a:extLst>
                <a:ext uri="{FF2B5EF4-FFF2-40B4-BE49-F238E27FC236}">
                  <a16:creationId xmlns:a16="http://schemas.microsoft.com/office/drawing/2014/main" id="{2129B308-C335-456D-99DE-7109510729DE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Rectangle 25">
              <a:extLst>
                <a:ext uri="{FF2B5EF4-FFF2-40B4-BE49-F238E27FC236}">
                  <a16:creationId xmlns:a16="http://schemas.microsoft.com/office/drawing/2014/main" id="{12A8B42C-1948-4E5E-89E1-43DC92912043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Isosceles Triangle 24">
              <a:extLst>
                <a:ext uri="{FF2B5EF4-FFF2-40B4-BE49-F238E27FC236}">
                  <a16:creationId xmlns:a16="http://schemas.microsoft.com/office/drawing/2014/main" id="{C648DEE2-A07D-4F52-82CA-2C0E84BB03AC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0EA7C54F-5AED-45C4-B3AA-1E7C94A9BBAA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6791009F-1CE2-466D-8FD9-5E69086CECD1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91CDE733-F563-43E4-9B51-6E2A7D64D63A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Isosceles Triangle 30">
              <a:extLst>
                <a:ext uri="{FF2B5EF4-FFF2-40B4-BE49-F238E27FC236}">
                  <a16:creationId xmlns:a16="http://schemas.microsoft.com/office/drawing/2014/main" id="{C7FEDF69-AE0C-4980-85A3-33BFC8BFF43B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Isosceles Triangle 31">
              <a:extLst>
                <a:ext uri="{FF2B5EF4-FFF2-40B4-BE49-F238E27FC236}">
                  <a16:creationId xmlns:a16="http://schemas.microsoft.com/office/drawing/2014/main" id="{2434B5D3-BD41-4118-8064-AC4E652830CF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34" name="Picture 33" descr="A picture containing logo, text, font, symbol&#10;&#10;Description automatically generated">
            <a:extLst>
              <a:ext uri="{FF2B5EF4-FFF2-40B4-BE49-F238E27FC236}">
                <a16:creationId xmlns:a16="http://schemas.microsoft.com/office/drawing/2014/main" id="{659A8638-EC93-4F7C-BFA4-396AC4FBB1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duotone>
              <a:srgbClr val="5FCBEF">
                <a:shade val="45000"/>
                <a:satMod val="135000"/>
              </a:srgbClr>
              <a:prstClr val="white"/>
            </a:duotone>
            <a:alphaModFix amt="5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59919"/>
            <a:ext cx="12191999" cy="6857990"/>
          </a:xfrm>
          <a:prstGeom prst="rect">
            <a:avLst/>
          </a:prstGeom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F696163-E81D-49F6-B128-7E94DC4A9FF6}"/>
              </a:ext>
            </a:extLst>
          </p:cNvPr>
          <p:cNvSpPr txBox="1"/>
          <p:nvPr userDrawn="1"/>
        </p:nvSpPr>
        <p:spPr>
          <a:xfrm>
            <a:off x="2732049" y="2185639"/>
            <a:ext cx="7270595" cy="1973766"/>
          </a:xfrm>
          <a:prstGeom prst="rect">
            <a:avLst/>
          </a:prstGeom>
          <a:solidFill>
            <a:srgbClr val="2E83C3">
              <a:alpha val="83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" name="Rectangle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36" name="Picture 35" descr="A white text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EB8B2C59-B33B-412B-A46C-7187B1EA1A2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9689" y="2421741"/>
            <a:ext cx="5952910" cy="1587443"/>
          </a:xfrm>
          <a:prstGeom prst="rect">
            <a:avLst/>
          </a:prstGeom>
        </p:spPr>
      </p:pic>
      <p:sp>
        <p:nvSpPr>
          <p:cNvPr id="37" name="Rectangle 36">
            <a:extLst>
              <a:ext uri="{FF2B5EF4-FFF2-40B4-BE49-F238E27FC236}">
                <a16:creationId xmlns:a16="http://schemas.microsoft.com/office/drawing/2014/main" id="{16463CFB-784D-4019-AA5F-776FD8F141F2}"/>
              </a:ext>
            </a:extLst>
          </p:cNvPr>
          <p:cNvSpPr/>
          <p:nvPr userDrawn="1"/>
        </p:nvSpPr>
        <p:spPr>
          <a:xfrm>
            <a:off x="2732049" y="4142242"/>
            <a:ext cx="7270595" cy="592575"/>
          </a:xfrm>
          <a:prstGeom prst="rect">
            <a:avLst/>
          </a:prstGeom>
          <a:solidFill>
            <a:srgbClr val="5FCBEF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8" name="Subtitle 2">
            <a:extLst>
              <a:ext uri="{FF2B5EF4-FFF2-40B4-BE49-F238E27FC236}">
                <a16:creationId xmlns:a16="http://schemas.microsoft.com/office/drawing/2014/main" id="{4A4C0113-663E-4EBF-87E1-6EE2A62D92E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371894" y="4053537"/>
            <a:ext cx="6490394" cy="592575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r">
              <a:lnSpc>
                <a:spcPct val="110000"/>
              </a:lnSpc>
              <a:buNone/>
              <a:defRPr sz="2400" b="1">
                <a:solidFill>
                  <a:srgbClr val="1B3F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351631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ient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6692321-39F3-4542-AED7-589B84009D6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692321-39F3-4542-AED7-589B84009D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6" name="Group 15"/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rgbClr val="5FCBEF">
                <a:alpha val="7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rgbClr val="5FCBE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rgbClr val="5FCBEF">
                  <a:alpha val="70000"/>
                </a:srgb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17B0E4">
                <a:alpha val="66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7B0E4">
                <a:alpha val="5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36292">
                <a:alpha val="80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17B0E4">
                <a:alpha val="66000"/>
              </a:srgb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vert="horz" anchor="b">
            <a:noAutofit/>
          </a:bodyPr>
          <a:lstStyle>
            <a:lvl1pPr algn="r">
              <a:defRPr sz="5400">
                <a:solidFill>
                  <a:srgbClr val="5FCBE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DFE77512-1E22-4FB9-9D36-4557645C1CC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lIns="91440" tIns="45720" rIns="91440" bIns="45720" anchor="t"/>
          <a:lstStyle>
            <a:lvl1pPr marL="0" indent="0" algn="r">
              <a:buNone/>
              <a:defRPr sz="18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546057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1592673-2B33-4658-AD7B-A9E996D884B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592673-2B33-4658-AD7B-A9E996D884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4CA5D993-581D-485E-B54B-B3B26088A546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856756B4-6443-4E8F-850B-97EE4264BBEB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C5054E71-BBF8-4D5E-9A4D-62A11B6FB6BD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2D1FCD25-4F69-45D2-97F5-8A56CA70D172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29998925-0117-42C2-92F2-11EEF2CE7F24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3246F38B-D976-446C-A7CB-33034A58F30A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C0B7689F-E306-4285-9FFB-3B5E9A01FAC3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487172"/>
            <a:ext cx="8675434" cy="731520"/>
          </a:xfrm>
        </p:spPr>
        <p:txBody>
          <a:bodyPr vert="horz"/>
          <a:lstStyle>
            <a:lvl1pPr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54736" y="1825625"/>
            <a:ext cx="8670583" cy="4351338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E7FFCBC1-B7B1-419E-A1EE-A927A4460AA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06638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FAEC0E-41E0-4998-AE7D-91ABB771DD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315466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FAEC0E-41E0-4998-AE7D-91ABB771DD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3232604B-EA94-45C9-B090-FD77E893987F}"/>
              </a:ext>
            </a:extLst>
          </p:cNvPr>
          <p:cNvGrpSpPr/>
          <p:nvPr userDrawn="1"/>
        </p:nvGrpSpPr>
        <p:grpSpPr>
          <a:xfrm>
            <a:off x="0" y="-51077"/>
            <a:ext cx="12192000" cy="6866467"/>
            <a:chOff x="0" y="-8467"/>
            <a:chExt cx="12192000" cy="686646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FF9F158B-05A2-414C-B541-C0F87B5EB4DF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027E243F-3AD8-4742-82D7-532AAE404DB7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AAEC55DC-8E60-4E47-AB55-32C4412DA56F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AA942767-2B45-45F7-8103-82C1FFCE1E90}"/>
                </a:ext>
              </a:extLst>
            </p:cNvPr>
            <p:cNvSpPr/>
            <p:nvPr userDrawn="1"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4543BA56-507B-44A3-B129-CA324458389B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9AB21430-15F0-4B7E-81CA-3FE38DE34D36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2700867"/>
            <a:ext cx="8719266" cy="1826581"/>
          </a:xfrm>
        </p:spPr>
        <p:txBody>
          <a:bodyPr vert="horz" anchor="b"/>
          <a:lstStyle>
            <a:lvl1pPr algn="l">
              <a:defRPr sz="4000" b="0" cap="none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4736" y="4527448"/>
            <a:ext cx="8719266" cy="860400"/>
          </a:xfrm>
        </p:spPr>
        <p:txBody>
          <a:bodyPr lIns="91440" tIns="45720" rIns="91440" bIns="45720" anchor="t"/>
          <a:lstStyle>
            <a:lvl1pPr marL="0" indent="0" algn="l">
              <a:buNone/>
              <a:defRPr sz="20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624A8718-4673-43E1-AE5F-5A808A75C2CE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70512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F2C6AB7-41D6-4E80-9C13-D1435ECF2A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2C6AB7-41D6-4E80-9C13-D1435ECF2A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>
            <a:extLst>
              <a:ext uri="{FF2B5EF4-FFF2-40B4-BE49-F238E27FC236}">
                <a16:creationId xmlns:a16="http://schemas.microsoft.com/office/drawing/2014/main" id="{87A4E281-0BA3-4522-A926-474E166B18A3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2B98655-0119-45E2-B5E5-9478990287D8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6CC1220F-0C00-4536-9039-ECF8D09C2783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8">
              <a:extLst>
                <a:ext uri="{FF2B5EF4-FFF2-40B4-BE49-F238E27FC236}">
                  <a16:creationId xmlns:a16="http://schemas.microsoft.com/office/drawing/2014/main" id="{0B78A3BC-7765-45AC-8880-E304E33F4C53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29">
              <a:extLst>
                <a:ext uri="{FF2B5EF4-FFF2-40B4-BE49-F238E27FC236}">
                  <a16:creationId xmlns:a16="http://schemas.microsoft.com/office/drawing/2014/main" id="{A327D342-F248-4D9A-B0BF-952AFAF64A1C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20556E47-496A-4395-90D9-92BB01810043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CB133007-03F7-4B1C-AC76-651F75B9F6FE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487172"/>
            <a:ext cx="8719269" cy="731520"/>
          </a:xfrm>
        </p:spPr>
        <p:txBody>
          <a:bodyPr vert="horz"/>
          <a:lstStyle>
            <a:lvl1pPr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C5A53DA6-D4E6-48AD-928E-628F9DF0BEEF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4736" y="2160589"/>
            <a:ext cx="4184035" cy="3880772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7172A01D-6058-40AA-9FCA-07C5F6B0B05C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5089971" y="2160589"/>
            <a:ext cx="4184035" cy="3880772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ADFBDAB6-4297-4F37-A431-426FC9B08AE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40239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9D4ABE-6EDB-C877-0CDC-9601136D06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9628F66-E1BF-CAE7-D00F-F62127B4A4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11F234-6FA3-EEA0-278A-FF8F8A26F1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B8872D0F-370C-DE50-995E-73EEE0C1AB4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34665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Holder 2">
            <a:extLst>
              <a:ext uri="{FF2B5EF4-FFF2-40B4-BE49-F238E27FC236}">
                <a16:creationId xmlns:a16="http://schemas.microsoft.com/office/drawing/2014/main" id="{2DFDFA16-0AF7-197D-5FD6-E6C27577C4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5699093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886AC642-174C-4017-AE7A-EAA94FD39F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6AC642-174C-4017-AE7A-EAA94FD39F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1">
            <a:extLst>
              <a:ext uri="{FF2B5EF4-FFF2-40B4-BE49-F238E27FC236}">
                <a16:creationId xmlns:a16="http://schemas.microsoft.com/office/drawing/2014/main" id="{E983E01A-6FF3-4155-9606-8D4599823EFA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FC13E3F4-AA3F-4CE4-B6F5-C953E43345BA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94FFA243-B450-4C34-AD5D-FD9D4E273398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Rectangle 28">
              <a:extLst>
                <a:ext uri="{FF2B5EF4-FFF2-40B4-BE49-F238E27FC236}">
                  <a16:creationId xmlns:a16="http://schemas.microsoft.com/office/drawing/2014/main" id="{896D6847-AF62-485A-85AD-76E6F9B31F5A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Rectangle 29">
              <a:extLst>
                <a:ext uri="{FF2B5EF4-FFF2-40B4-BE49-F238E27FC236}">
                  <a16:creationId xmlns:a16="http://schemas.microsoft.com/office/drawing/2014/main" id="{621C6E7E-689A-4FB8-A927-756CBAD498F0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4D29DD4A-F306-4564-92A6-5DDCF561EECA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03CE62A5-0D25-4943-92A7-116E563A46A6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487172"/>
            <a:ext cx="8719265" cy="731520"/>
          </a:xfrm>
        </p:spPr>
        <p:txBody>
          <a:bodyPr vert="horz"/>
          <a:lstStyle>
            <a:lvl1pPr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4737" y="2160983"/>
            <a:ext cx="4184035" cy="576262"/>
          </a:xfrm>
        </p:spPr>
        <p:txBody>
          <a:bodyPr lIns="91440" anchor="b">
            <a:noAutofit/>
          </a:bodyPr>
          <a:lstStyle>
            <a:lvl1pPr marL="0" indent="0">
              <a:buNone/>
              <a:defRPr sz="2400" b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2">
            <a:extLst>
              <a:ext uri="{FF2B5EF4-FFF2-40B4-BE49-F238E27FC236}">
                <a16:creationId xmlns:a16="http://schemas.microsoft.com/office/drawing/2014/main" id="{6201AB89-5984-47FA-9A4D-3A08BA535B7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554736" y="2737245"/>
            <a:ext cx="4184035" cy="3304116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1FCE9325-7257-4CD0-B434-82527CD5A3B2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5089966" y="2160983"/>
            <a:ext cx="4184035" cy="576262"/>
          </a:xfrm>
        </p:spPr>
        <p:txBody>
          <a:bodyPr lIns="91440" anchor="b">
            <a:noAutofit/>
          </a:bodyPr>
          <a:lstStyle>
            <a:lvl1pPr marL="0" indent="0">
              <a:buNone/>
              <a:defRPr sz="2400" b="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A2F97410-0C9B-48C0-819A-D84A176982F5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5089966" y="2737245"/>
            <a:ext cx="4184035" cy="3304116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C51506E4-C611-476D-A4BA-6E98576F5DF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917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Clien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D59E052A-7C05-4494-B633-7CBDFD3A38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514439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59E052A-7C05-4494-B633-7CBDFD3A38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487172"/>
            <a:ext cx="8596668" cy="1320800"/>
          </a:xfrm>
        </p:spPr>
        <p:txBody>
          <a:bodyPr vert="horz"/>
          <a:lstStyle>
            <a:lvl1pPr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0AD4AAF-D6A6-461A-86AF-A262C60B85DD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8B14EFE8-3DD3-403D-BFEC-18A00B4C773A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2806C084-63EC-4889-967B-2D152B7926B9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8">
              <a:extLst>
                <a:ext uri="{FF2B5EF4-FFF2-40B4-BE49-F238E27FC236}">
                  <a16:creationId xmlns:a16="http://schemas.microsoft.com/office/drawing/2014/main" id="{B9EF8687-A563-4793-BD71-F789BC3B75CA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9">
              <a:extLst>
                <a:ext uri="{FF2B5EF4-FFF2-40B4-BE49-F238E27FC236}">
                  <a16:creationId xmlns:a16="http://schemas.microsoft.com/office/drawing/2014/main" id="{02AECFCA-AC32-4101-9CF8-2C56B22191A0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0F998F86-F6C0-4362-920E-E67F67E76805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776C4DE0-C0B4-4118-BD23-AB945B646C89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0" name="Slide Number">
            <a:extLst>
              <a:ext uri="{FF2B5EF4-FFF2-40B4-BE49-F238E27FC236}">
                <a16:creationId xmlns:a16="http://schemas.microsoft.com/office/drawing/2014/main" id="{CACD33A2-7626-40AF-B2AA-AA22A729F86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3587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ient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D474C5E-570D-428C-A3E3-D00475FBEE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D474C5E-570D-428C-A3E3-D00475FBEE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8A6B621A-1713-4464-B80B-B2667FAF3ED7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33285BCC-2CA9-4AED-953C-58C7FF662110}"/>
                </a:ext>
              </a:extLst>
            </p:cNvPr>
            <p:cNvCxnSpPr/>
            <p:nvPr/>
          </p:nvCxnSpPr>
          <p:spPr>
            <a:xfrm>
              <a:off x="9387637" y="-8467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3E75B98E-2BE1-4519-A383-B385C4908A76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9" name="Rectangle 23">
              <a:extLst>
                <a:ext uri="{FF2B5EF4-FFF2-40B4-BE49-F238E27FC236}">
                  <a16:creationId xmlns:a16="http://schemas.microsoft.com/office/drawing/2014/main" id="{99EFD2F7-672D-4ECF-81DC-8EC6B85E3F3B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Isosceles Triangle 10">
              <a:extLst>
                <a:ext uri="{FF2B5EF4-FFF2-40B4-BE49-F238E27FC236}">
                  <a16:creationId xmlns:a16="http://schemas.microsoft.com/office/drawing/2014/main" id="{951C1165-777A-4668-A57C-254DE0136A45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28">
              <a:extLst>
                <a:ext uri="{FF2B5EF4-FFF2-40B4-BE49-F238E27FC236}">
                  <a16:creationId xmlns:a16="http://schemas.microsoft.com/office/drawing/2014/main" id="{0DDAD11B-D2DB-4F2B-8DC2-8EAD5ADED87A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29">
              <a:extLst>
                <a:ext uri="{FF2B5EF4-FFF2-40B4-BE49-F238E27FC236}">
                  <a16:creationId xmlns:a16="http://schemas.microsoft.com/office/drawing/2014/main" id="{6F11BDD4-A622-4873-9363-DAAEAF67DAE2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A68FCE62-C7DC-4368-96A8-475B555CADF7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AA0D560F-BB89-44E8-9E67-4472A7E60093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8" name="Slide Number">
            <a:extLst>
              <a:ext uri="{FF2B5EF4-FFF2-40B4-BE49-F238E27FC236}">
                <a16:creationId xmlns:a16="http://schemas.microsoft.com/office/drawing/2014/main" id="{276278E0-BB5E-4304-9E8A-A00566D43BF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2535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A70088D-CB4A-43BB-A6A7-DDFF54CE81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62133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A70088D-CB4A-43BB-A6A7-DDFF54CE81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rtl="0"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2" name="object 3">
            <a:extLst>
              <a:ext uri="{FF2B5EF4-FFF2-40B4-BE49-F238E27FC236}">
                <a16:creationId xmlns:a16="http://schemas.microsoft.com/office/drawing/2014/main" id="{4DB77D69-A330-461A-A86F-87B0C3F57CDC}"/>
              </a:ext>
            </a:extLst>
          </p:cNvPr>
          <p:cNvSpPr/>
          <p:nvPr userDrawn="1"/>
        </p:nvSpPr>
        <p:spPr>
          <a:xfrm>
            <a:off x="7933" y="5961598"/>
            <a:ext cx="12176127" cy="576581"/>
          </a:xfrm>
          <a:custGeom>
            <a:avLst/>
            <a:gdLst>
              <a:gd name="connsiteX0" fmla="*/ 0 w 9450705"/>
              <a:gd name="connsiteY0" fmla="*/ 576580 h 576580"/>
              <a:gd name="connsiteX1" fmla="*/ 7483792 w 9450705"/>
              <a:gd name="connsiteY1" fmla="*/ 576580 h 576580"/>
              <a:gd name="connsiteX2" fmla="*/ 7694447 w 9450705"/>
              <a:gd name="connsiteY2" fmla="*/ 0 h 576580"/>
              <a:gd name="connsiteX3" fmla="*/ 9450705 w 9450705"/>
              <a:gd name="connsiteY3" fmla="*/ 3175 h 576580"/>
              <a:gd name="connsiteX0" fmla="*/ 0 w 10068878"/>
              <a:gd name="connsiteY0" fmla="*/ 573405 h 576580"/>
              <a:gd name="connsiteX1" fmla="*/ 8101965 w 10068878"/>
              <a:gd name="connsiteY1" fmla="*/ 576580 h 576580"/>
              <a:gd name="connsiteX2" fmla="*/ 8312620 w 10068878"/>
              <a:gd name="connsiteY2" fmla="*/ 0 h 576580"/>
              <a:gd name="connsiteX3" fmla="*/ 10068878 w 10068878"/>
              <a:gd name="connsiteY3" fmla="*/ 3175 h 576580"/>
              <a:gd name="connsiteX0" fmla="*/ 0 w 9656326"/>
              <a:gd name="connsiteY0" fmla="*/ 573405 h 576580"/>
              <a:gd name="connsiteX1" fmla="*/ 8101965 w 9656326"/>
              <a:gd name="connsiteY1" fmla="*/ 576580 h 576580"/>
              <a:gd name="connsiteX2" fmla="*/ 8312620 w 9656326"/>
              <a:gd name="connsiteY2" fmla="*/ 0 h 576580"/>
              <a:gd name="connsiteX3" fmla="*/ 9656326 w 9656326"/>
              <a:gd name="connsiteY3" fmla="*/ 3175 h 576580"/>
              <a:gd name="connsiteX0" fmla="*/ 0 w 10045304"/>
              <a:gd name="connsiteY0" fmla="*/ 568642 h 576580"/>
              <a:gd name="connsiteX1" fmla="*/ 8490943 w 10045304"/>
              <a:gd name="connsiteY1" fmla="*/ 576580 h 576580"/>
              <a:gd name="connsiteX2" fmla="*/ 8701598 w 10045304"/>
              <a:gd name="connsiteY2" fmla="*/ 0 h 576580"/>
              <a:gd name="connsiteX3" fmla="*/ 10045304 w 10045304"/>
              <a:gd name="connsiteY3" fmla="*/ 3175 h 57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5304" h="576580">
                <a:moveTo>
                  <a:pt x="0" y="568642"/>
                </a:moveTo>
                <a:lnTo>
                  <a:pt x="8490943" y="576580"/>
                </a:lnTo>
                <a:lnTo>
                  <a:pt x="8701598" y="0"/>
                </a:lnTo>
                <a:lnTo>
                  <a:pt x="10045304" y="3175"/>
                </a:lnTo>
              </a:path>
            </a:pathLst>
          </a:custGeom>
          <a:ln w="12699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FA89E6C-FA06-48A3-828B-47AD682D1C8B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598085" y="6100905"/>
            <a:ext cx="640080" cy="640086"/>
            <a:chOff x="7858063" y="6100907"/>
            <a:chExt cx="367022" cy="367025"/>
          </a:xfrm>
        </p:grpSpPr>
        <p:sp>
          <p:nvSpPr>
            <p:cNvPr id="14" name="object 7">
              <a:extLst>
                <a:ext uri="{FF2B5EF4-FFF2-40B4-BE49-F238E27FC236}">
                  <a16:creationId xmlns:a16="http://schemas.microsoft.com/office/drawing/2014/main" id="{0792A9B2-622B-4566-B478-29D1E25C517A}"/>
                </a:ext>
              </a:extLst>
            </p:cNvPr>
            <p:cNvSpPr/>
            <p:nvPr/>
          </p:nvSpPr>
          <p:spPr>
            <a:xfrm>
              <a:off x="7862652" y="6105498"/>
              <a:ext cx="358775" cy="358775"/>
            </a:xfrm>
            <a:custGeom>
              <a:avLst/>
              <a:gdLst/>
              <a:ahLst/>
              <a:cxnLst/>
              <a:rect l="l" t="t" r="r" b="b"/>
              <a:pathLst>
                <a:path w="358775" h="358775">
                  <a:moveTo>
                    <a:pt x="179133" y="0"/>
                  </a:moveTo>
                  <a:lnTo>
                    <a:pt x="131512" y="6398"/>
                  </a:lnTo>
                  <a:lnTo>
                    <a:pt x="88721" y="24456"/>
                  </a:lnTo>
                  <a:lnTo>
                    <a:pt x="52466" y="52466"/>
                  </a:lnTo>
                  <a:lnTo>
                    <a:pt x="24456" y="88721"/>
                  </a:lnTo>
                  <a:lnTo>
                    <a:pt x="6398" y="131512"/>
                  </a:lnTo>
                  <a:lnTo>
                    <a:pt x="0" y="179133"/>
                  </a:lnTo>
                  <a:lnTo>
                    <a:pt x="6398" y="226749"/>
                  </a:lnTo>
                  <a:lnTo>
                    <a:pt x="24456" y="269536"/>
                  </a:lnTo>
                  <a:lnTo>
                    <a:pt x="52466" y="305789"/>
                  </a:lnTo>
                  <a:lnTo>
                    <a:pt x="88721" y="333797"/>
                  </a:lnTo>
                  <a:lnTo>
                    <a:pt x="131512" y="351855"/>
                  </a:lnTo>
                  <a:lnTo>
                    <a:pt x="179133" y="358254"/>
                  </a:lnTo>
                  <a:lnTo>
                    <a:pt x="226753" y="351855"/>
                  </a:lnTo>
                  <a:lnTo>
                    <a:pt x="269542" y="333797"/>
                  </a:lnTo>
                  <a:lnTo>
                    <a:pt x="305793" y="305789"/>
                  </a:lnTo>
                  <a:lnTo>
                    <a:pt x="333800" y="269536"/>
                  </a:lnTo>
                  <a:lnTo>
                    <a:pt x="351856" y="226749"/>
                  </a:lnTo>
                  <a:lnTo>
                    <a:pt x="358254" y="179133"/>
                  </a:lnTo>
                  <a:lnTo>
                    <a:pt x="351856" y="131512"/>
                  </a:lnTo>
                  <a:lnTo>
                    <a:pt x="333800" y="88721"/>
                  </a:lnTo>
                  <a:lnTo>
                    <a:pt x="305793" y="52466"/>
                  </a:lnTo>
                  <a:lnTo>
                    <a:pt x="269542" y="24456"/>
                  </a:lnTo>
                  <a:lnTo>
                    <a:pt x="226753" y="6398"/>
                  </a:lnTo>
                  <a:lnTo>
                    <a:pt x="179133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object 8">
              <a:extLst>
                <a:ext uri="{FF2B5EF4-FFF2-40B4-BE49-F238E27FC236}">
                  <a16:creationId xmlns:a16="http://schemas.microsoft.com/office/drawing/2014/main" id="{C4D99814-30FB-426F-A2F7-D961BD84D865}"/>
                </a:ext>
              </a:extLst>
            </p:cNvPr>
            <p:cNvSpPr/>
            <p:nvPr/>
          </p:nvSpPr>
          <p:spPr>
            <a:xfrm>
              <a:off x="7862652" y="6105498"/>
              <a:ext cx="358775" cy="358775"/>
            </a:xfrm>
            <a:custGeom>
              <a:avLst/>
              <a:gdLst/>
              <a:ahLst/>
              <a:cxnLst/>
              <a:rect l="l" t="t" r="r" b="b"/>
              <a:pathLst>
                <a:path w="358775" h="358775">
                  <a:moveTo>
                    <a:pt x="179133" y="0"/>
                  </a:moveTo>
                  <a:lnTo>
                    <a:pt x="226753" y="6398"/>
                  </a:lnTo>
                  <a:lnTo>
                    <a:pt x="269542" y="24456"/>
                  </a:lnTo>
                  <a:lnTo>
                    <a:pt x="305793" y="52466"/>
                  </a:lnTo>
                  <a:lnTo>
                    <a:pt x="333800" y="88721"/>
                  </a:lnTo>
                  <a:lnTo>
                    <a:pt x="351856" y="131512"/>
                  </a:lnTo>
                  <a:lnTo>
                    <a:pt x="358254" y="179133"/>
                  </a:lnTo>
                  <a:lnTo>
                    <a:pt x="351856" y="226749"/>
                  </a:lnTo>
                  <a:lnTo>
                    <a:pt x="333800" y="269536"/>
                  </a:lnTo>
                  <a:lnTo>
                    <a:pt x="305793" y="305789"/>
                  </a:lnTo>
                  <a:lnTo>
                    <a:pt x="269542" y="333797"/>
                  </a:lnTo>
                  <a:lnTo>
                    <a:pt x="226753" y="351855"/>
                  </a:lnTo>
                  <a:lnTo>
                    <a:pt x="179133" y="358254"/>
                  </a:lnTo>
                  <a:lnTo>
                    <a:pt x="131512" y="351855"/>
                  </a:lnTo>
                  <a:lnTo>
                    <a:pt x="88721" y="333797"/>
                  </a:lnTo>
                  <a:lnTo>
                    <a:pt x="52466" y="305789"/>
                  </a:lnTo>
                  <a:lnTo>
                    <a:pt x="24456" y="269536"/>
                  </a:lnTo>
                  <a:lnTo>
                    <a:pt x="6398" y="226749"/>
                  </a:lnTo>
                  <a:lnTo>
                    <a:pt x="0" y="179133"/>
                  </a:lnTo>
                  <a:lnTo>
                    <a:pt x="6398" y="131512"/>
                  </a:lnTo>
                  <a:lnTo>
                    <a:pt x="24456" y="88721"/>
                  </a:lnTo>
                  <a:lnTo>
                    <a:pt x="52466" y="52466"/>
                  </a:lnTo>
                  <a:lnTo>
                    <a:pt x="88721" y="24456"/>
                  </a:lnTo>
                  <a:lnTo>
                    <a:pt x="131512" y="6398"/>
                  </a:lnTo>
                  <a:lnTo>
                    <a:pt x="179133" y="0"/>
                  </a:lnTo>
                  <a:close/>
                </a:path>
              </a:pathLst>
            </a:custGeom>
            <a:ln w="9296">
              <a:solidFill>
                <a:srgbClr val="DCB32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object 9">
              <a:extLst>
                <a:ext uri="{FF2B5EF4-FFF2-40B4-BE49-F238E27FC236}">
                  <a16:creationId xmlns:a16="http://schemas.microsoft.com/office/drawing/2014/main" id="{B4081610-013E-4B59-A415-BF21D43ADB8F}"/>
                </a:ext>
              </a:extLst>
            </p:cNvPr>
            <p:cNvSpPr/>
            <p:nvPr/>
          </p:nvSpPr>
          <p:spPr>
            <a:xfrm>
              <a:off x="7865451" y="6106747"/>
              <a:ext cx="295910" cy="253365"/>
            </a:xfrm>
            <a:custGeom>
              <a:avLst/>
              <a:gdLst/>
              <a:ahLst/>
              <a:cxnLst/>
              <a:rect l="l" t="t" r="r" b="b"/>
              <a:pathLst>
                <a:path w="295909" h="253365">
                  <a:moveTo>
                    <a:pt x="176334" y="0"/>
                  </a:moveTo>
                  <a:lnTo>
                    <a:pt x="136635" y="3667"/>
                  </a:lnTo>
                  <a:lnTo>
                    <a:pt x="74205" y="30437"/>
                  </a:lnTo>
                  <a:lnTo>
                    <a:pt x="37169" y="66681"/>
                  </a:lnTo>
                  <a:lnTo>
                    <a:pt x="8999" y="120789"/>
                  </a:lnTo>
                  <a:lnTo>
                    <a:pt x="0" y="178206"/>
                  </a:lnTo>
                  <a:lnTo>
                    <a:pt x="2332" y="204900"/>
                  </a:lnTo>
                  <a:lnTo>
                    <a:pt x="6802" y="228384"/>
                  </a:lnTo>
                  <a:lnTo>
                    <a:pt x="13049" y="245096"/>
                  </a:lnTo>
                  <a:lnTo>
                    <a:pt x="20861" y="253037"/>
                  </a:lnTo>
                  <a:lnTo>
                    <a:pt x="28673" y="253155"/>
                  </a:lnTo>
                  <a:lnTo>
                    <a:pt x="34920" y="246392"/>
                  </a:lnTo>
                  <a:lnTo>
                    <a:pt x="37022" y="234200"/>
                  </a:lnTo>
                  <a:lnTo>
                    <a:pt x="35299" y="217022"/>
                  </a:lnTo>
                  <a:lnTo>
                    <a:pt x="32507" y="194327"/>
                  </a:lnTo>
                  <a:lnTo>
                    <a:pt x="31402" y="165582"/>
                  </a:lnTo>
                  <a:lnTo>
                    <a:pt x="45891" y="108597"/>
                  </a:lnTo>
                  <a:lnTo>
                    <a:pt x="84107" y="62814"/>
                  </a:lnTo>
                  <a:lnTo>
                    <a:pt x="145648" y="34864"/>
                  </a:lnTo>
                  <a:lnTo>
                    <a:pt x="178169" y="30381"/>
                  </a:lnTo>
                  <a:lnTo>
                    <a:pt x="204884" y="31622"/>
                  </a:lnTo>
                  <a:lnTo>
                    <a:pt x="226761" y="37847"/>
                  </a:lnTo>
                  <a:lnTo>
                    <a:pt x="265906" y="54416"/>
                  </a:lnTo>
                  <a:lnTo>
                    <a:pt x="280868" y="58419"/>
                  </a:lnTo>
                  <a:lnTo>
                    <a:pt x="291199" y="57570"/>
                  </a:lnTo>
                  <a:lnTo>
                    <a:pt x="295686" y="53260"/>
                  </a:lnTo>
                  <a:lnTo>
                    <a:pt x="293091" y="45821"/>
                  </a:lnTo>
                  <a:lnTo>
                    <a:pt x="282176" y="35585"/>
                  </a:lnTo>
                  <a:lnTo>
                    <a:pt x="264961" y="23536"/>
                  </a:lnTo>
                  <a:lnTo>
                    <a:pt x="242928" y="12025"/>
                  </a:lnTo>
                  <a:lnTo>
                    <a:pt x="214059" y="3397"/>
                  </a:lnTo>
                  <a:lnTo>
                    <a:pt x="176334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object 10">
              <a:extLst>
                <a:ext uri="{FF2B5EF4-FFF2-40B4-BE49-F238E27FC236}">
                  <a16:creationId xmlns:a16="http://schemas.microsoft.com/office/drawing/2014/main" id="{1B664BBD-E343-4318-A9D6-D15830B01B99}"/>
                </a:ext>
              </a:extLst>
            </p:cNvPr>
            <p:cNvSpPr/>
            <p:nvPr/>
          </p:nvSpPr>
          <p:spPr>
            <a:xfrm>
              <a:off x="7865459" y="6106747"/>
              <a:ext cx="294005" cy="252095"/>
            </a:xfrm>
            <a:custGeom>
              <a:avLst/>
              <a:gdLst/>
              <a:ahLst/>
              <a:cxnLst/>
              <a:rect l="l" t="t" r="r" b="b"/>
              <a:pathLst>
                <a:path w="294004" h="252095">
                  <a:moveTo>
                    <a:pt x="176326" y="0"/>
                  </a:moveTo>
                  <a:lnTo>
                    <a:pt x="136627" y="3667"/>
                  </a:lnTo>
                  <a:lnTo>
                    <a:pt x="74197" y="30437"/>
                  </a:lnTo>
                  <a:lnTo>
                    <a:pt x="37161" y="66681"/>
                  </a:lnTo>
                  <a:lnTo>
                    <a:pt x="8991" y="120789"/>
                  </a:lnTo>
                  <a:lnTo>
                    <a:pt x="0" y="177576"/>
                  </a:lnTo>
                  <a:lnTo>
                    <a:pt x="2219" y="203951"/>
                  </a:lnTo>
                  <a:lnTo>
                    <a:pt x="6553" y="227075"/>
                  </a:lnTo>
                  <a:lnTo>
                    <a:pt x="12658" y="243802"/>
                  </a:lnTo>
                  <a:lnTo>
                    <a:pt x="20254" y="251761"/>
                  </a:lnTo>
                  <a:lnTo>
                    <a:pt x="27811" y="251886"/>
                  </a:lnTo>
                  <a:lnTo>
                    <a:pt x="33794" y="245109"/>
                  </a:lnTo>
                  <a:lnTo>
                    <a:pt x="35772" y="233118"/>
                  </a:lnTo>
                  <a:lnTo>
                    <a:pt x="34088" y="216271"/>
                  </a:lnTo>
                  <a:lnTo>
                    <a:pt x="31406" y="193885"/>
                  </a:lnTo>
                  <a:lnTo>
                    <a:pt x="30391" y="165277"/>
                  </a:lnTo>
                  <a:lnTo>
                    <a:pt x="44959" y="108270"/>
                  </a:lnTo>
                  <a:lnTo>
                    <a:pt x="83197" y="62255"/>
                  </a:lnTo>
                  <a:lnTo>
                    <a:pt x="144475" y="34129"/>
                  </a:lnTo>
                  <a:lnTo>
                    <a:pt x="177120" y="29506"/>
                  </a:lnTo>
                  <a:lnTo>
                    <a:pt x="204533" y="30645"/>
                  </a:lnTo>
                  <a:lnTo>
                    <a:pt x="226103" y="36675"/>
                  </a:lnTo>
                  <a:lnTo>
                    <a:pt x="264514" y="52740"/>
                  </a:lnTo>
                  <a:lnTo>
                    <a:pt x="279133" y="56641"/>
                  </a:lnTo>
                  <a:lnTo>
                    <a:pt x="289345" y="55888"/>
                  </a:lnTo>
                  <a:lnTo>
                    <a:pt x="293895" y="51796"/>
                  </a:lnTo>
                  <a:lnTo>
                    <a:pt x="291404" y="44619"/>
                  </a:lnTo>
                  <a:lnTo>
                    <a:pt x="280492" y="34607"/>
                  </a:lnTo>
                  <a:lnTo>
                    <a:pt x="263564" y="22920"/>
                  </a:lnTo>
                  <a:lnTo>
                    <a:pt x="241749" y="11722"/>
                  </a:lnTo>
                  <a:lnTo>
                    <a:pt x="213264" y="3314"/>
                  </a:lnTo>
                  <a:lnTo>
                    <a:pt x="176326" y="0"/>
                  </a:lnTo>
                  <a:close/>
                </a:path>
              </a:pathLst>
            </a:custGeom>
            <a:solidFill>
              <a:srgbClr val="0069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object 11">
              <a:extLst>
                <a:ext uri="{FF2B5EF4-FFF2-40B4-BE49-F238E27FC236}">
                  <a16:creationId xmlns:a16="http://schemas.microsoft.com/office/drawing/2014/main" id="{C98BC5C1-F434-41FB-8039-A238878EBF4B}"/>
                </a:ext>
              </a:extLst>
            </p:cNvPr>
            <p:cNvSpPr/>
            <p:nvPr/>
          </p:nvSpPr>
          <p:spPr>
            <a:xfrm>
              <a:off x="7865482" y="6106747"/>
              <a:ext cx="292100" cy="250825"/>
            </a:xfrm>
            <a:custGeom>
              <a:avLst/>
              <a:gdLst/>
              <a:ahLst/>
              <a:cxnLst/>
              <a:rect l="l" t="t" r="r" b="b"/>
              <a:pathLst>
                <a:path w="292100" h="250825">
                  <a:moveTo>
                    <a:pt x="176302" y="0"/>
                  </a:moveTo>
                  <a:lnTo>
                    <a:pt x="136603" y="3667"/>
                  </a:lnTo>
                  <a:lnTo>
                    <a:pt x="74174" y="30437"/>
                  </a:lnTo>
                  <a:lnTo>
                    <a:pt x="37137" y="66681"/>
                  </a:lnTo>
                  <a:lnTo>
                    <a:pt x="8967" y="120789"/>
                  </a:lnTo>
                  <a:lnTo>
                    <a:pt x="0" y="176944"/>
                  </a:lnTo>
                  <a:lnTo>
                    <a:pt x="2108" y="202994"/>
                  </a:lnTo>
                  <a:lnTo>
                    <a:pt x="6300" y="225755"/>
                  </a:lnTo>
                  <a:lnTo>
                    <a:pt x="12265" y="242507"/>
                  </a:lnTo>
                  <a:lnTo>
                    <a:pt x="19648" y="250493"/>
                  </a:lnTo>
                  <a:lnTo>
                    <a:pt x="26946" y="250627"/>
                  </a:lnTo>
                  <a:lnTo>
                    <a:pt x="32653" y="243827"/>
                  </a:lnTo>
                  <a:lnTo>
                    <a:pt x="34505" y="232036"/>
                  </a:lnTo>
                  <a:lnTo>
                    <a:pt x="32862" y="215520"/>
                  </a:lnTo>
                  <a:lnTo>
                    <a:pt x="30295" y="193444"/>
                  </a:lnTo>
                  <a:lnTo>
                    <a:pt x="29376" y="164972"/>
                  </a:lnTo>
                  <a:lnTo>
                    <a:pt x="44010" y="107953"/>
                  </a:lnTo>
                  <a:lnTo>
                    <a:pt x="82284" y="61696"/>
                  </a:lnTo>
                  <a:lnTo>
                    <a:pt x="143289" y="33394"/>
                  </a:lnTo>
                  <a:lnTo>
                    <a:pt x="176057" y="28631"/>
                  </a:lnTo>
                  <a:lnTo>
                    <a:pt x="204179" y="29667"/>
                  </a:lnTo>
                  <a:lnTo>
                    <a:pt x="225441" y="35504"/>
                  </a:lnTo>
                  <a:lnTo>
                    <a:pt x="245443" y="43629"/>
                  </a:lnTo>
                  <a:lnTo>
                    <a:pt x="263113" y="51075"/>
                  </a:lnTo>
                  <a:lnTo>
                    <a:pt x="277382" y="54876"/>
                  </a:lnTo>
                  <a:lnTo>
                    <a:pt x="287471" y="54215"/>
                  </a:lnTo>
                  <a:lnTo>
                    <a:pt x="292090" y="50333"/>
                  </a:lnTo>
                  <a:lnTo>
                    <a:pt x="289710" y="43407"/>
                  </a:lnTo>
                  <a:lnTo>
                    <a:pt x="278804" y="33616"/>
                  </a:lnTo>
                  <a:lnTo>
                    <a:pt x="262151" y="22293"/>
                  </a:lnTo>
                  <a:lnTo>
                    <a:pt x="240550" y="11412"/>
                  </a:lnTo>
                  <a:lnTo>
                    <a:pt x="212451" y="3229"/>
                  </a:lnTo>
                  <a:lnTo>
                    <a:pt x="176302" y="0"/>
                  </a:lnTo>
                  <a:close/>
                </a:path>
              </a:pathLst>
            </a:custGeom>
            <a:solidFill>
              <a:srgbClr val="0068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object 12">
              <a:extLst>
                <a:ext uri="{FF2B5EF4-FFF2-40B4-BE49-F238E27FC236}">
                  <a16:creationId xmlns:a16="http://schemas.microsoft.com/office/drawing/2014/main" id="{81C78121-63AB-4677-BC02-6DED992D3D25}"/>
                </a:ext>
              </a:extLst>
            </p:cNvPr>
            <p:cNvSpPr/>
            <p:nvPr/>
          </p:nvSpPr>
          <p:spPr>
            <a:xfrm>
              <a:off x="7865500" y="6106747"/>
              <a:ext cx="290830" cy="249554"/>
            </a:xfrm>
            <a:custGeom>
              <a:avLst/>
              <a:gdLst/>
              <a:ahLst/>
              <a:cxnLst/>
              <a:rect l="l" t="t" r="r" b="b"/>
              <a:pathLst>
                <a:path w="290829" h="249554">
                  <a:moveTo>
                    <a:pt x="176285" y="0"/>
                  </a:moveTo>
                  <a:lnTo>
                    <a:pt x="136586" y="3667"/>
                  </a:lnTo>
                  <a:lnTo>
                    <a:pt x="74156" y="30437"/>
                  </a:lnTo>
                  <a:lnTo>
                    <a:pt x="37119" y="66681"/>
                  </a:lnTo>
                  <a:lnTo>
                    <a:pt x="8950" y="120789"/>
                  </a:lnTo>
                  <a:lnTo>
                    <a:pt x="0" y="176312"/>
                  </a:lnTo>
                  <a:lnTo>
                    <a:pt x="1992" y="202040"/>
                  </a:lnTo>
                  <a:lnTo>
                    <a:pt x="6042" y="224434"/>
                  </a:lnTo>
                  <a:lnTo>
                    <a:pt x="11869" y="241208"/>
                  </a:lnTo>
                  <a:lnTo>
                    <a:pt x="19037" y="249215"/>
                  </a:lnTo>
                  <a:lnTo>
                    <a:pt x="26076" y="249358"/>
                  </a:lnTo>
                  <a:lnTo>
                    <a:pt x="31518" y="242544"/>
                  </a:lnTo>
                  <a:lnTo>
                    <a:pt x="33245" y="230955"/>
                  </a:lnTo>
                  <a:lnTo>
                    <a:pt x="29185" y="193002"/>
                  </a:lnTo>
                  <a:lnTo>
                    <a:pt x="28355" y="164668"/>
                  </a:lnTo>
                  <a:lnTo>
                    <a:pt x="43059" y="107626"/>
                  </a:lnTo>
                  <a:lnTo>
                    <a:pt x="81365" y="61137"/>
                  </a:lnTo>
                  <a:lnTo>
                    <a:pt x="142106" y="32659"/>
                  </a:lnTo>
                  <a:lnTo>
                    <a:pt x="174998" y="27756"/>
                  </a:lnTo>
                  <a:lnTo>
                    <a:pt x="203819" y="28689"/>
                  </a:lnTo>
                  <a:lnTo>
                    <a:pt x="224776" y="34326"/>
                  </a:lnTo>
                  <a:lnTo>
                    <a:pt x="244421" y="42184"/>
                  </a:lnTo>
                  <a:lnTo>
                    <a:pt x="261722" y="49397"/>
                  </a:lnTo>
                  <a:lnTo>
                    <a:pt x="275650" y="53098"/>
                  </a:lnTo>
                  <a:lnTo>
                    <a:pt x="285610" y="52539"/>
                  </a:lnTo>
                  <a:lnTo>
                    <a:pt x="290291" y="48874"/>
                  </a:lnTo>
                  <a:lnTo>
                    <a:pt x="288017" y="42206"/>
                  </a:lnTo>
                  <a:lnTo>
                    <a:pt x="277110" y="32638"/>
                  </a:lnTo>
                  <a:lnTo>
                    <a:pt x="260746" y="21677"/>
                  </a:lnTo>
                  <a:lnTo>
                    <a:pt x="239366" y="11109"/>
                  </a:lnTo>
                  <a:lnTo>
                    <a:pt x="211652" y="3146"/>
                  </a:lnTo>
                  <a:lnTo>
                    <a:pt x="176285" y="0"/>
                  </a:lnTo>
                  <a:close/>
                </a:path>
              </a:pathLst>
            </a:custGeom>
            <a:solidFill>
              <a:srgbClr val="00663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object 13">
              <a:extLst>
                <a:ext uri="{FF2B5EF4-FFF2-40B4-BE49-F238E27FC236}">
                  <a16:creationId xmlns:a16="http://schemas.microsoft.com/office/drawing/2014/main" id="{E54A6593-A0E0-4771-A0A0-ABBF00917BE6}"/>
                </a:ext>
              </a:extLst>
            </p:cNvPr>
            <p:cNvSpPr/>
            <p:nvPr/>
          </p:nvSpPr>
          <p:spPr>
            <a:xfrm>
              <a:off x="7865514" y="6106747"/>
              <a:ext cx="288925" cy="248285"/>
            </a:xfrm>
            <a:custGeom>
              <a:avLst/>
              <a:gdLst/>
              <a:ahLst/>
              <a:cxnLst/>
              <a:rect l="l" t="t" r="r" b="b"/>
              <a:pathLst>
                <a:path w="288925" h="248284">
                  <a:moveTo>
                    <a:pt x="176271" y="0"/>
                  </a:moveTo>
                  <a:lnTo>
                    <a:pt x="136572" y="3667"/>
                  </a:lnTo>
                  <a:lnTo>
                    <a:pt x="74142" y="30437"/>
                  </a:lnTo>
                  <a:lnTo>
                    <a:pt x="37105" y="66681"/>
                  </a:lnTo>
                  <a:lnTo>
                    <a:pt x="8936" y="120789"/>
                  </a:lnTo>
                  <a:lnTo>
                    <a:pt x="0" y="175671"/>
                  </a:lnTo>
                  <a:lnTo>
                    <a:pt x="1883" y="201080"/>
                  </a:lnTo>
                  <a:lnTo>
                    <a:pt x="5799" y="223113"/>
                  </a:lnTo>
                  <a:lnTo>
                    <a:pt x="11478" y="239911"/>
                  </a:lnTo>
                  <a:lnTo>
                    <a:pt x="18430" y="247942"/>
                  </a:lnTo>
                  <a:lnTo>
                    <a:pt x="25214" y="248095"/>
                  </a:lnTo>
                  <a:lnTo>
                    <a:pt x="30386" y="241261"/>
                  </a:lnTo>
                  <a:lnTo>
                    <a:pt x="31989" y="229878"/>
                  </a:lnTo>
                  <a:lnTo>
                    <a:pt x="28084" y="192562"/>
                  </a:lnTo>
                  <a:lnTo>
                    <a:pt x="27351" y="164363"/>
                  </a:lnTo>
                  <a:lnTo>
                    <a:pt x="42119" y="107303"/>
                  </a:lnTo>
                  <a:lnTo>
                    <a:pt x="80462" y="60578"/>
                  </a:lnTo>
                  <a:lnTo>
                    <a:pt x="140935" y="31929"/>
                  </a:lnTo>
                  <a:lnTo>
                    <a:pt x="173950" y="26883"/>
                  </a:lnTo>
                  <a:lnTo>
                    <a:pt x="203474" y="27711"/>
                  </a:lnTo>
                  <a:lnTo>
                    <a:pt x="224116" y="33154"/>
                  </a:lnTo>
                  <a:lnTo>
                    <a:pt x="243397" y="40744"/>
                  </a:lnTo>
                  <a:lnTo>
                    <a:pt x="260324" y="47721"/>
                  </a:lnTo>
                  <a:lnTo>
                    <a:pt x="273908" y="51320"/>
                  </a:lnTo>
                  <a:lnTo>
                    <a:pt x="283751" y="50858"/>
                  </a:lnTo>
                  <a:lnTo>
                    <a:pt x="288501" y="47410"/>
                  </a:lnTo>
                  <a:lnTo>
                    <a:pt x="286335" y="41003"/>
                  </a:lnTo>
                  <a:lnTo>
                    <a:pt x="275432" y="31661"/>
                  </a:lnTo>
                  <a:lnTo>
                    <a:pt x="259340" y="21056"/>
                  </a:lnTo>
                  <a:lnTo>
                    <a:pt x="238172" y="10801"/>
                  </a:lnTo>
                  <a:lnTo>
                    <a:pt x="210844" y="3061"/>
                  </a:lnTo>
                  <a:lnTo>
                    <a:pt x="176271" y="0"/>
                  </a:lnTo>
                  <a:close/>
                </a:path>
              </a:pathLst>
            </a:custGeom>
            <a:solidFill>
              <a:srgbClr val="0165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object 14">
              <a:extLst>
                <a:ext uri="{FF2B5EF4-FFF2-40B4-BE49-F238E27FC236}">
                  <a16:creationId xmlns:a16="http://schemas.microsoft.com/office/drawing/2014/main" id="{BCA8DC92-67E2-48E0-99CB-20A1C3BED738}"/>
                </a:ext>
              </a:extLst>
            </p:cNvPr>
            <p:cNvSpPr/>
            <p:nvPr/>
          </p:nvSpPr>
          <p:spPr>
            <a:xfrm>
              <a:off x="7865532" y="6106747"/>
              <a:ext cx="287020" cy="247015"/>
            </a:xfrm>
            <a:custGeom>
              <a:avLst/>
              <a:gdLst/>
              <a:ahLst/>
              <a:cxnLst/>
              <a:rect l="l" t="t" r="r" b="b"/>
              <a:pathLst>
                <a:path w="287020" h="247015">
                  <a:moveTo>
                    <a:pt x="176253" y="0"/>
                  </a:moveTo>
                  <a:lnTo>
                    <a:pt x="136554" y="3667"/>
                  </a:lnTo>
                  <a:lnTo>
                    <a:pt x="74124" y="30437"/>
                  </a:lnTo>
                  <a:lnTo>
                    <a:pt x="37088" y="66681"/>
                  </a:lnTo>
                  <a:lnTo>
                    <a:pt x="8918" y="120789"/>
                  </a:lnTo>
                  <a:lnTo>
                    <a:pt x="0" y="175044"/>
                  </a:lnTo>
                  <a:lnTo>
                    <a:pt x="1767" y="200128"/>
                  </a:lnTo>
                  <a:lnTo>
                    <a:pt x="5540" y="221792"/>
                  </a:lnTo>
                  <a:lnTo>
                    <a:pt x="11084" y="238614"/>
                  </a:lnTo>
                  <a:lnTo>
                    <a:pt x="17824" y="246668"/>
                  </a:lnTo>
                  <a:lnTo>
                    <a:pt x="24349" y="246831"/>
                  </a:lnTo>
                  <a:lnTo>
                    <a:pt x="29251" y="239979"/>
                  </a:lnTo>
                  <a:lnTo>
                    <a:pt x="30731" y="228797"/>
                  </a:lnTo>
                  <a:lnTo>
                    <a:pt x="26984" y="192121"/>
                  </a:lnTo>
                  <a:lnTo>
                    <a:pt x="26342" y="164058"/>
                  </a:lnTo>
                  <a:lnTo>
                    <a:pt x="41179" y="106981"/>
                  </a:lnTo>
                  <a:lnTo>
                    <a:pt x="79543" y="60020"/>
                  </a:lnTo>
                  <a:lnTo>
                    <a:pt x="139752" y="31189"/>
                  </a:lnTo>
                  <a:lnTo>
                    <a:pt x="172892" y="26007"/>
                  </a:lnTo>
                  <a:lnTo>
                    <a:pt x="203114" y="26733"/>
                  </a:lnTo>
                  <a:lnTo>
                    <a:pt x="223456" y="31976"/>
                  </a:lnTo>
                  <a:lnTo>
                    <a:pt x="242377" y="39301"/>
                  </a:lnTo>
                  <a:lnTo>
                    <a:pt x="258930" y="46048"/>
                  </a:lnTo>
                  <a:lnTo>
                    <a:pt x="272164" y="49555"/>
                  </a:lnTo>
                  <a:lnTo>
                    <a:pt x="281882" y="49185"/>
                  </a:lnTo>
                  <a:lnTo>
                    <a:pt x="286696" y="45948"/>
                  </a:lnTo>
                  <a:lnTo>
                    <a:pt x="284637" y="39797"/>
                  </a:lnTo>
                  <a:lnTo>
                    <a:pt x="273738" y="30683"/>
                  </a:lnTo>
                  <a:lnTo>
                    <a:pt x="257935" y="20440"/>
                  </a:lnTo>
                  <a:lnTo>
                    <a:pt x="236988" y="10498"/>
                  </a:lnTo>
                  <a:lnTo>
                    <a:pt x="210045" y="2977"/>
                  </a:lnTo>
                  <a:lnTo>
                    <a:pt x="176253" y="0"/>
                  </a:lnTo>
                  <a:close/>
                </a:path>
              </a:pathLst>
            </a:custGeom>
            <a:solidFill>
              <a:srgbClr val="00633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object 15">
              <a:extLst>
                <a:ext uri="{FF2B5EF4-FFF2-40B4-BE49-F238E27FC236}">
                  <a16:creationId xmlns:a16="http://schemas.microsoft.com/office/drawing/2014/main" id="{A3A14196-4DED-4D14-AD06-247D46F1F15D}"/>
                </a:ext>
              </a:extLst>
            </p:cNvPr>
            <p:cNvSpPr/>
            <p:nvPr/>
          </p:nvSpPr>
          <p:spPr>
            <a:xfrm>
              <a:off x="7865551" y="6106747"/>
              <a:ext cx="285115" cy="245745"/>
            </a:xfrm>
            <a:custGeom>
              <a:avLst/>
              <a:gdLst/>
              <a:ahLst/>
              <a:cxnLst/>
              <a:rect l="l" t="t" r="r" b="b"/>
              <a:pathLst>
                <a:path w="285115" h="245745">
                  <a:moveTo>
                    <a:pt x="176234" y="0"/>
                  </a:moveTo>
                  <a:lnTo>
                    <a:pt x="136535" y="3667"/>
                  </a:lnTo>
                  <a:lnTo>
                    <a:pt x="74105" y="30437"/>
                  </a:lnTo>
                  <a:lnTo>
                    <a:pt x="37069" y="66681"/>
                  </a:lnTo>
                  <a:lnTo>
                    <a:pt x="8899" y="120789"/>
                  </a:lnTo>
                  <a:lnTo>
                    <a:pt x="0" y="174409"/>
                  </a:lnTo>
                  <a:lnTo>
                    <a:pt x="1659" y="199174"/>
                  </a:lnTo>
                  <a:lnTo>
                    <a:pt x="5292" y="220484"/>
                  </a:lnTo>
                  <a:lnTo>
                    <a:pt x="10689" y="237323"/>
                  </a:lnTo>
                  <a:lnTo>
                    <a:pt x="17214" y="245397"/>
                  </a:lnTo>
                  <a:lnTo>
                    <a:pt x="23487" y="245568"/>
                  </a:lnTo>
                  <a:lnTo>
                    <a:pt x="28127" y="238696"/>
                  </a:lnTo>
                  <a:lnTo>
                    <a:pt x="29472" y="227713"/>
                  </a:lnTo>
                  <a:lnTo>
                    <a:pt x="25868" y="191674"/>
                  </a:lnTo>
                  <a:lnTo>
                    <a:pt x="25320" y="163753"/>
                  </a:lnTo>
                  <a:lnTo>
                    <a:pt x="40233" y="106660"/>
                  </a:lnTo>
                  <a:lnTo>
                    <a:pt x="78635" y="59474"/>
                  </a:lnTo>
                  <a:lnTo>
                    <a:pt x="138574" y="30460"/>
                  </a:lnTo>
                  <a:lnTo>
                    <a:pt x="171834" y="25134"/>
                  </a:lnTo>
                  <a:lnTo>
                    <a:pt x="202752" y="25755"/>
                  </a:lnTo>
                  <a:lnTo>
                    <a:pt x="222788" y="30803"/>
                  </a:lnTo>
                  <a:lnTo>
                    <a:pt x="241353" y="37861"/>
                  </a:lnTo>
                  <a:lnTo>
                    <a:pt x="257537" y="44372"/>
                  </a:lnTo>
                  <a:lnTo>
                    <a:pt x="270430" y="47777"/>
                  </a:lnTo>
                  <a:lnTo>
                    <a:pt x="280024" y="47509"/>
                  </a:lnTo>
                  <a:lnTo>
                    <a:pt x="284900" y="44489"/>
                  </a:lnTo>
                  <a:lnTo>
                    <a:pt x="282944" y="38595"/>
                  </a:lnTo>
                  <a:lnTo>
                    <a:pt x="272043" y="29705"/>
                  </a:lnTo>
                  <a:lnTo>
                    <a:pt x="256521" y="19818"/>
                  </a:lnTo>
                  <a:lnTo>
                    <a:pt x="235792" y="10190"/>
                  </a:lnTo>
                  <a:lnTo>
                    <a:pt x="209237" y="2893"/>
                  </a:lnTo>
                  <a:lnTo>
                    <a:pt x="176234" y="0"/>
                  </a:lnTo>
                  <a:close/>
                </a:path>
              </a:pathLst>
            </a:custGeom>
            <a:solidFill>
              <a:srgbClr val="0062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object 16">
              <a:extLst>
                <a:ext uri="{FF2B5EF4-FFF2-40B4-BE49-F238E27FC236}">
                  <a16:creationId xmlns:a16="http://schemas.microsoft.com/office/drawing/2014/main" id="{78171DBD-71A7-4CE9-928F-2B0082F64041}"/>
                </a:ext>
              </a:extLst>
            </p:cNvPr>
            <p:cNvSpPr/>
            <p:nvPr/>
          </p:nvSpPr>
          <p:spPr>
            <a:xfrm>
              <a:off x="7865564" y="6106747"/>
              <a:ext cx="283210" cy="244475"/>
            </a:xfrm>
            <a:custGeom>
              <a:avLst/>
              <a:gdLst/>
              <a:ahLst/>
              <a:cxnLst/>
              <a:rect l="l" t="t" r="r" b="b"/>
              <a:pathLst>
                <a:path w="283209" h="244475">
                  <a:moveTo>
                    <a:pt x="176222" y="0"/>
                  </a:moveTo>
                  <a:lnTo>
                    <a:pt x="136522" y="3667"/>
                  </a:lnTo>
                  <a:lnTo>
                    <a:pt x="74093" y="30437"/>
                  </a:lnTo>
                  <a:lnTo>
                    <a:pt x="37056" y="66681"/>
                  </a:lnTo>
                  <a:lnTo>
                    <a:pt x="8886" y="120789"/>
                  </a:lnTo>
                  <a:lnTo>
                    <a:pt x="0" y="173777"/>
                  </a:lnTo>
                  <a:lnTo>
                    <a:pt x="1543" y="198220"/>
                  </a:lnTo>
                  <a:lnTo>
                    <a:pt x="5038" y="219163"/>
                  </a:lnTo>
                  <a:lnTo>
                    <a:pt x="10298" y="236026"/>
                  </a:lnTo>
                  <a:lnTo>
                    <a:pt x="16608" y="244124"/>
                  </a:lnTo>
                  <a:lnTo>
                    <a:pt x="22623" y="244304"/>
                  </a:lnTo>
                  <a:lnTo>
                    <a:pt x="26997" y="237413"/>
                  </a:lnTo>
                  <a:lnTo>
                    <a:pt x="28219" y="226632"/>
                  </a:lnTo>
                  <a:lnTo>
                    <a:pt x="24773" y="191238"/>
                  </a:lnTo>
                  <a:lnTo>
                    <a:pt x="24317" y="163461"/>
                  </a:lnTo>
                  <a:lnTo>
                    <a:pt x="39293" y="106333"/>
                  </a:lnTo>
                  <a:lnTo>
                    <a:pt x="77720" y="58902"/>
                  </a:lnTo>
                  <a:lnTo>
                    <a:pt x="137401" y="29722"/>
                  </a:lnTo>
                  <a:lnTo>
                    <a:pt x="170782" y="24253"/>
                  </a:lnTo>
                  <a:lnTo>
                    <a:pt x="202396" y="24764"/>
                  </a:lnTo>
                  <a:lnTo>
                    <a:pt x="222131" y="29622"/>
                  </a:lnTo>
                  <a:lnTo>
                    <a:pt x="240334" y="36420"/>
                  </a:lnTo>
                  <a:lnTo>
                    <a:pt x="256142" y="42699"/>
                  </a:lnTo>
                  <a:lnTo>
                    <a:pt x="268690" y="45999"/>
                  </a:lnTo>
                  <a:lnTo>
                    <a:pt x="278162" y="45833"/>
                  </a:lnTo>
                  <a:lnTo>
                    <a:pt x="283106" y="43030"/>
                  </a:lnTo>
                  <a:lnTo>
                    <a:pt x="281261" y="37394"/>
                  </a:lnTo>
                  <a:lnTo>
                    <a:pt x="270367" y="28727"/>
                  </a:lnTo>
                  <a:lnTo>
                    <a:pt x="255126" y="19197"/>
                  </a:lnTo>
                  <a:lnTo>
                    <a:pt x="234615" y="9882"/>
                  </a:lnTo>
                  <a:lnTo>
                    <a:pt x="208443" y="2808"/>
                  </a:lnTo>
                  <a:lnTo>
                    <a:pt x="176222" y="0"/>
                  </a:lnTo>
                  <a:close/>
                </a:path>
              </a:pathLst>
            </a:custGeom>
            <a:solidFill>
              <a:srgbClr val="00603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" name="object 17">
              <a:extLst>
                <a:ext uri="{FF2B5EF4-FFF2-40B4-BE49-F238E27FC236}">
                  <a16:creationId xmlns:a16="http://schemas.microsoft.com/office/drawing/2014/main" id="{12CEF441-77B6-4698-A5FE-DEE60F243480}"/>
                </a:ext>
              </a:extLst>
            </p:cNvPr>
            <p:cNvSpPr/>
            <p:nvPr/>
          </p:nvSpPr>
          <p:spPr>
            <a:xfrm>
              <a:off x="7865581" y="6106747"/>
              <a:ext cx="281305" cy="243204"/>
            </a:xfrm>
            <a:custGeom>
              <a:avLst/>
              <a:gdLst/>
              <a:ahLst/>
              <a:cxnLst/>
              <a:rect l="l" t="t" r="r" b="b"/>
              <a:pathLst>
                <a:path w="281304" h="243204">
                  <a:moveTo>
                    <a:pt x="176204" y="0"/>
                  </a:moveTo>
                  <a:lnTo>
                    <a:pt x="136505" y="3667"/>
                  </a:lnTo>
                  <a:lnTo>
                    <a:pt x="74075" y="30437"/>
                  </a:lnTo>
                  <a:lnTo>
                    <a:pt x="37038" y="66681"/>
                  </a:lnTo>
                  <a:lnTo>
                    <a:pt x="8869" y="120789"/>
                  </a:lnTo>
                  <a:lnTo>
                    <a:pt x="0" y="173145"/>
                  </a:lnTo>
                  <a:lnTo>
                    <a:pt x="1427" y="197267"/>
                  </a:lnTo>
                  <a:lnTo>
                    <a:pt x="4779" y="217843"/>
                  </a:lnTo>
                  <a:lnTo>
                    <a:pt x="9899" y="234729"/>
                  </a:lnTo>
                  <a:lnTo>
                    <a:pt x="15997" y="242850"/>
                  </a:lnTo>
                  <a:lnTo>
                    <a:pt x="21757" y="243040"/>
                  </a:lnTo>
                  <a:lnTo>
                    <a:pt x="25861" y="236131"/>
                  </a:lnTo>
                  <a:lnTo>
                    <a:pt x="26959" y="225550"/>
                  </a:lnTo>
                  <a:lnTo>
                    <a:pt x="23663" y="190791"/>
                  </a:lnTo>
                  <a:lnTo>
                    <a:pt x="23296" y="163144"/>
                  </a:lnTo>
                  <a:lnTo>
                    <a:pt x="38349" y="106011"/>
                  </a:lnTo>
                  <a:lnTo>
                    <a:pt x="76814" y="58356"/>
                  </a:lnTo>
                  <a:lnTo>
                    <a:pt x="136221" y="28989"/>
                  </a:lnTo>
                  <a:lnTo>
                    <a:pt x="169729" y="23378"/>
                  </a:lnTo>
                  <a:lnTo>
                    <a:pt x="202049" y="23787"/>
                  </a:lnTo>
                  <a:lnTo>
                    <a:pt x="221470" y="28449"/>
                  </a:lnTo>
                  <a:lnTo>
                    <a:pt x="239312" y="34982"/>
                  </a:lnTo>
                  <a:lnTo>
                    <a:pt x="254746" y="41028"/>
                  </a:lnTo>
                  <a:lnTo>
                    <a:pt x="266946" y="44234"/>
                  </a:lnTo>
                  <a:lnTo>
                    <a:pt x="276295" y="44154"/>
                  </a:lnTo>
                  <a:lnTo>
                    <a:pt x="281306" y="41562"/>
                  </a:lnTo>
                  <a:lnTo>
                    <a:pt x="279569" y="36181"/>
                  </a:lnTo>
                  <a:lnTo>
                    <a:pt x="268673" y="27736"/>
                  </a:lnTo>
                  <a:lnTo>
                    <a:pt x="253719" y="18575"/>
                  </a:lnTo>
                  <a:lnTo>
                    <a:pt x="233426" y="9577"/>
                  </a:lnTo>
                  <a:lnTo>
                    <a:pt x="207638" y="2724"/>
                  </a:lnTo>
                  <a:lnTo>
                    <a:pt x="176204" y="0"/>
                  </a:lnTo>
                  <a:close/>
                </a:path>
              </a:pathLst>
            </a:custGeom>
            <a:solidFill>
              <a:srgbClr val="005F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" name="object 18">
              <a:extLst>
                <a:ext uri="{FF2B5EF4-FFF2-40B4-BE49-F238E27FC236}">
                  <a16:creationId xmlns:a16="http://schemas.microsoft.com/office/drawing/2014/main" id="{8B16EE78-DB21-4267-9F2D-466D7EF0944C}"/>
                </a:ext>
              </a:extLst>
            </p:cNvPr>
            <p:cNvSpPr/>
            <p:nvPr/>
          </p:nvSpPr>
          <p:spPr>
            <a:xfrm>
              <a:off x="7865600" y="6106747"/>
              <a:ext cx="280035" cy="241935"/>
            </a:xfrm>
            <a:custGeom>
              <a:avLst/>
              <a:gdLst/>
              <a:ahLst/>
              <a:cxnLst/>
              <a:rect l="l" t="t" r="r" b="b"/>
              <a:pathLst>
                <a:path w="280034" h="241934">
                  <a:moveTo>
                    <a:pt x="176185" y="0"/>
                  </a:moveTo>
                  <a:lnTo>
                    <a:pt x="136486" y="3667"/>
                  </a:lnTo>
                  <a:lnTo>
                    <a:pt x="74056" y="30437"/>
                  </a:lnTo>
                  <a:lnTo>
                    <a:pt x="37019" y="66681"/>
                  </a:lnTo>
                  <a:lnTo>
                    <a:pt x="8850" y="120789"/>
                  </a:lnTo>
                  <a:lnTo>
                    <a:pt x="0" y="172510"/>
                  </a:lnTo>
                  <a:lnTo>
                    <a:pt x="1319" y="196313"/>
                  </a:lnTo>
                  <a:lnTo>
                    <a:pt x="4532" y="216534"/>
                  </a:lnTo>
                  <a:lnTo>
                    <a:pt x="9509" y="233431"/>
                  </a:lnTo>
                  <a:lnTo>
                    <a:pt x="15390" y="241573"/>
                  </a:lnTo>
                  <a:lnTo>
                    <a:pt x="20891" y="241770"/>
                  </a:lnTo>
                  <a:lnTo>
                    <a:pt x="24725" y="234835"/>
                  </a:lnTo>
                  <a:lnTo>
                    <a:pt x="25692" y="224468"/>
                  </a:lnTo>
                  <a:lnTo>
                    <a:pt x="22550" y="190351"/>
                  </a:lnTo>
                  <a:lnTo>
                    <a:pt x="22274" y="162839"/>
                  </a:lnTo>
                  <a:lnTo>
                    <a:pt x="37401" y="105689"/>
                  </a:lnTo>
                  <a:lnTo>
                    <a:pt x="75893" y="57797"/>
                  </a:lnTo>
                  <a:lnTo>
                    <a:pt x="135037" y="28254"/>
                  </a:lnTo>
                  <a:lnTo>
                    <a:pt x="168669" y="22504"/>
                  </a:lnTo>
                  <a:lnTo>
                    <a:pt x="201687" y="22809"/>
                  </a:lnTo>
                  <a:lnTo>
                    <a:pt x="220801" y="27272"/>
                  </a:lnTo>
                  <a:lnTo>
                    <a:pt x="238282" y="33537"/>
                  </a:lnTo>
                  <a:lnTo>
                    <a:pt x="253343" y="39350"/>
                  </a:lnTo>
                  <a:lnTo>
                    <a:pt x="265199" y="42456"/>
                  </a:lnTo>
                  <a:lnTo>
                    <a:pt x="274432" y="42473"/>
                  </a:lnTo>
                  <a:lnTo>
                    <a:pt x="279509" y="40098"/>
                  </a:lnTo>
                  <a:lnTo>
                    <a:pt x="277876" y="34978"/>
                  </a:lnTo>
                  <a:lnTo>
                    <a:pt x="266977" y="26758"/>
                  </a:lnTo>
                  <a:lnTo>
                    <a:pt x="252305" y="17954"/>
                  </a:lnTo>
                  <a:lnTo>
                    <a:pt x="232230" y="9269"/>
                  </a:lnTo>
                  <a:lnTo>
                    <a:pt x="206831" y="2639"/>
                  </a:lnTo>
                  <a:lnTo>
                    <a:pt x="176185" y="0"/>
                  </a:lnTo>
                  <a:close/>
                </a:path>
              </a:pathLst>
            </a:custGeom>
            <a:solidFill>
              <a:srgbClr val="005D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" name="object 19">
              <a:extLst>
                <a:ext uri="{FF2B5EF4-FFF2-40B4-BE49-F238E27FC236}">
                  <a16:creationId xmlns:a16="http://schemas.microsoft.com/office/drawing/2014/main" id="{3E181EC5-8FF0-44E1-8CF4-68FEAC53499D}"/>
                </a:ext>
              </a:extLst>
            </p:cNvPr>
            <p:cNvSpPr/>
            <p:nvPr/>
          </p:nvSpPr>
          <p:spPr>
            <a:xfrm>
              <a:off x="7865618" y="6106747"/>
              <a:ext cx="278130" cy="240665"/>
            </a:xfrm>
            <a:custGeom>
              <a:avLst/>
              <a:gdLst/>
              <a:ahLst/>
              <a:cxnLst/>
              <a:rect l="l" t="t" r="r" b="b"/>
              <a:pathLst>
                <a:path w="278129" h="240665">
                  <a:moveTo>
                    <a:pt x="176168" y="0"/>
                  </a:moveTo>
                  <a:lnTo>
                    <a:pt x="136468" y="3667"/>
                  </a:lnTo>
                  <a:lnTo>
                    <a:pt x="74039" y="30437"/>
                  </a:lnTo>
                  <a:lnTo>
                    <a:pt x="37002" y="66681"/>
                  </a:lnTo>
                  <a:lnTo>
                    <a:pt x="8832" y="120789"/>
                  </a:lnTo>
                  <a:lnTo>
                    <a:pt x="0" y="171873"/>
                  </a:lnTo>
                  <a:lnTo>
                    <a:pt x="1203" y="195354"/>
                  </a:lnTo>
                  <a:lnTo>
                    <a:pt x="4273" y="215214"/>
                  </a:lnTo>
                  <a:lnTo>
                    <a:pt x="9115" y="232142"/>
                  </a:lnTo>
                  <a:lnTo>
                    <a:pt x="14785" y="240309"/>
                  </a:lnTo>
                  <a:lnTo>
                    <a:pt x="20032" y="240513"/>
                  </a:lnTo>
                  <a:lnTo>
                    <a:pt x="23602" y="233552"/>
                  </a:lnTo>
                  <a:lnTo>
                    <a:pt x="24443" y="223386"/>
                  </a:lnTo>
                  <a:lnTo>
                    <a:pt x="21447" y="189910"/>
                  </a:lnTo>
                  <a:lnTo>
                    <a:pt x="21266" y="162534"/>
                  </a:lnTo>
                  <a:lnTo>
                    <a:pt x="36458" y="105362"/>
                  </a:lnTo>
                  <a:lnTo>
                    <a:pt x="74987" y="57238"/>
                  </a:lnTo>
                  <a:lnTo>
                    <a:pt x="133858" y="27519"/>
                  </a:lnTo>
                  <a:lnTo>
                    <a:pt x="167613" y="21629"/>
                  </a:lnTo>
                  <a:lnTo>
                    <a:pt x="201339" y="21831"/>
                  </a:lnTo>
                  <a:lnTo>
                    <a:pt x="220146" y="26099"/>
                  </a:lnTo>
                  <a:lnTo>
                    <a:pt x="237266" y="32097"/>
                  </a:lnTo>
                  <a:lnTo>
                    <a:pt x="251954" y="37674"/>
                  </a:lnTo>
                  <a:lnTo>
                    <a:pt x="263467" y="40678"/>
                  </a:lnTo>
                  <a:lnTo>
                    <a:pt x="272568" y="40797"/>
                  </a:lnTo>
                  <a:lnTo>
                    <a:pt x="277707" y="38639"/>
                  </a:lnTo>
                  <a:lnTo>
                    <a:pt x="276183" y="33777"/>
                  </a:lnTo>
                  <a:lnTo>
                    <a:pt x="265296" y="25780"/>
                  </a:lnTo>
                  <a:lnTo>
                    <a:pt x="250904" y="17337"/>
                  </a:lnTo>
                  <a:lnTo>
                    <a:pt x="231043" y="8966"/>
                  </a:lnTo>
                  <a:lnTo>
                    <a:pt x="206026" y="2556"/>
                  </a:lnTo>
                  <a:lnTo>
                    <a:pt x="176168" y="0"/>
                  </a:lnTo>
                  <a:close/>
                </a:path>
              </a:pathLst>
            </a:custGeom>
            <a:solidFill>
              <a:srgbClr val="005C3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" name="object 20">
              <a:extLst>
                <a:ext uri="{FF2B5EF4-FFF2-40B4-BE49-F238E27FC236}">
                  <a16:creationId xmlns:a16="http://schemas.microsoft.com/office/drawing/2014/main" id="{B53E2CCA-DCC4-48C8-BDC2-7E92E1338B7A}"/>
                </a:ext>
              </a:extLst>
            </p:cNvPr>
            <p:cNvSpPr/>
            <p:nvPr/>
          </p:nvSpPr>
          <p:spPr>
            <a:xfrm>
              <a:off x="7865635" y="6106747"/>
              <a:ext cx="276225" cy="239395"/>
            </a:xfrm>
            <a:custGeom>
              <a:avLst/>
              <a:gdLst/>
              <a:ahLst/>
              <a:cxnLst/>
              <a:rect l="l" t="t" r="r" b="b"/>
              <a:pathLst>
                <a:path w="276225" h="239395">
                  <a:moveTo>
                    <a:pt x="176150" y="0"/>
                  </a:moveTo>
                  <a:lnTo>
                    <a:pt x="136451" y="3667"/>
                  </a:lnTo>
                  <a:lnTo>
                    <a:pt x="74021" y="30437"/>
                  </a:lnTo>
                  <a:lnTo>
                    <a:pt x="36984" y="66681"/>
                  </a:lnTo>
                  <a:lnTo>
                    <a:pt x="8815" y="120789"/>
                  </a:lnTo>
                  <a:lnTo>
                    <a:pt x="0" y="171237"/>
                  </a:lnTo>
                  <a:lnTo>
                    <a:pt x="1087" y="194395"/>
                  </a:lnTo>
                  <a:lnTo>
                    <a:pt x="4014" y="213893"/>
                  </a:lnTo>
                  <a:lnTo>
                    <a:pt x="8716" y="230837"/>
                  </a:lnTo>
                  <a:lnTo>
                    <a:pt x="14174" y="239026"/>
                  </a:lnTo>
                  <a:lnTo>
                    <a:pt x="19166" y="239242"/>
                  </a:lnTo>
                  <a:lnTo>
                    <a:pt x="22467" y="232270"/>
                  </a:lnTo>
                  <a:lnTo>
                    <a:pt x="23183" y="222305"/>
                  </a:lnTo>
                  <a:lnTo>
                    <a:pt x="20342" y="189468"/>
                  </a:lnTo>
                  <a:lnTo>
                    <a:pt x="20258" y="162229"/>
                  </a:lnTo>
                  <a:lnTo>
                    <a:pt x="35513" y="105044"/>
                  </a:lnTo>
                  <a:lnTo>
                    <a:pt x="74067" y="56680"/>
                  </a:lnTo>
                  <a:lnTo>
                    <a:pt x="132680" y="26784"/>
                  </a:lnTo>
                  <a:lnTo>
                    <a:pt x="166556" y="20754"/>
                  </a:lnTo>
                  <a:lnTo>
                    <a:pt x="200979" y="20853"/>
                  </a:lnTo>
                  <a:lnTo>
                    <a:pt x="219478" y="24928"/>
                  </a:lnTo>
                  <a:lnTo>
                    <a:pt x="236237" y="30664"/>
                  </a:lnTo>
                  <a:lnTo>
                    <a:pt x="250553" y="36008"/>
                  </a:lnTo>
                  <a:lnTo>
                    <a:pt x="261723" y="38912"/>
                  </a:lnTo>
                  <a:lnTo>
                    <a:pt x="270707" y="39124"/>
                  </a:lnTo>
                  <a:lnTo>
                    <a:pt x="275912" y="37177"/>
                  </a:lnTo>
                  <a:lnTo>
                    <a:pt x="274492" y="32570"/>
                  </a:lnTo>
                  <a:lnTo>
                    <a:pt x="263602" y="24803"/>
                  </a:lnTo>
                  <a:lnTo>
                    <a:pt x="249491" y="16716"/>
                  </a:lnTo>
                  <a:lnTo>
                    <a:pt x="229849" y="8658"/>
                  </a:lnTo>
                  <a:lnTo>
                    <a:pt x="205220" y="2471"/>
                  </a:lnTo>
                  <a:lnTo>
                    <a:pt x="176150" y="0"/>
                  </a:lnTo>
                  <a:close/>
                </a:path>
              </a:pathLst>
            </a:custGeom>
            <a:solidFill>
              <a:srgbClr val="005B3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" name="object 21">
              <a:extLst>
                <a:ext uri="{FF2B5EF4-FFF2-40B4-BE49-F238E27FC236}">
                  <a16:creationId xmlns:a16="http://schemas.microsoft.com/office/drawing/2014/main" id="{F594C163-5E2B-416D-AEAE-A1049959749F}"/>
                </a:ext>
              </a:extLst>
            </p:cNvPr>
            <p:cNvSpPr/>
            <p:nvPr/>
          </p:nvSpPr>
          <p:spPr>
            <a:xfrm>
              <a:off x="7865650" y="6106747"/>
              <a:ext cx="274320" cy="238125"/>
            </a:xfrm>
            <a:custGeom>
              <a:avLst/>
              <a:gdLst/>
              <a:ahLst/>
              <a:cxnLst/>
              <a:rect l="l" t="t" r="r" b="b"/>
              <a:pathLst>
                <a:path w="274320" h="238125">
                  <a:moveTo>
                    <a:pt x="176136" y="0"/>
                  </a:moveTo>
                  <a:lnTo>
                    <a:pt x="136437" y="3667"/>
                  </a:lnTo>
                  <a:lnTo>
                    <a:pt x="74007" y="30437"/>
                  </a:lnTo>
                  <a:lnTo>
                    <a:pt x="36970" y="66681"/>
                  </a:lnTo>
                  <a:lnTo>
                    <a:pt x="8801" y="120789"/>
                  </a:lnTo>
                  <a:lnTo>
                    <a:pt x="0" y="170610"/>
                  </a:lnTo>
                  <a:lnTo>
                    <a:pt x="978" y="193443"/>
                  </a:lnTo>
                  <a:lnTo>
                    <a:pt x="3771" y="212572"/>
                  </a:lnTo>
                  <a:lnTo>
                    <a:pt x="8325" y="229546"/>
                  </a:lnTo>
                  <a:lnTo>
                    <a:pt x="13568" y="237758"/>
                  </a:lnTo>
                  <a:lnTo>
                    <a:pt x="18304" y="237981"/>
                  </a:lnTo>
                  <a:lnTo>
                    <a:pt x="21335" y="230987"/>
                  </a:lnTo>
                  <a:lnTo>
                    <a:pt x="21926" y="221223"/>
                  </a:lnTo>
                  <a:lnTo>
                    <a:pt x="20678" y="208016"/>
                  </a:lnTo>
                  <a:lnTo>
                    <a:pt x="19235" y="189032"/>
                  </a:lnTo>
                  <a:lnTo>
                    <a:pt x="23722" y="132771"/>
                  </a:lnTo>
                  <a:lnTo>
                    <a:pt x="51237" y="78821"/>
                  </a:lnTo>
                  <a:lnTo>
                    <a:pt x="100198" y="38193"/>
                  </a:lnTo>
                  <a:lnTo>
                    <a:pt x="165506" y="19879"/>
                  </a:lnTo>
                  <a:lnTo>
                    <a:pt x="200634" y="19875"/>
                  </a:lnTo>
                  <a:lnTo>
                    <a:pt x="218826" y="23749"/>
                  </a:lnTo>
                  <a:lnTo>
                    <a:pt x="235224" y="29214"/>
                  </a:lnTo>
                  <a:lnTo>
                    <a:pt x="249167" y="34325"/>
                  </a:lnTo>
                  <a:lnTo>
                    <a:pt x="259994" y="37134"/>
                  </a:lnTo>
                  <a:lnTo>
                    <a:pt x="268848" y="37448"/>
                  </a:lnTo>
                  <a:lnTo>
                    <a:pt x="274116" y="35718"/>
                  </a:lnTo>
                  <a:lnTo>
                    <a:pt x="272803" y="31369"/>
                  </a:lnTo>
                  <a:lnTo>
                    <a:pt x="261912" y="23825"/>
                  </a:lnTo>
                  <a:lnTo>
                    <a:pt x="248089" y="16094"/>
                  </a:lnTo>
                  <a:lnTo>
                    <a:pt x="228668" y="8350"/>
                  </a:lnTo>
                  <a:lnTo>
                    <a:pt x="204424" y="2386"/>
                  </a:lnTo>
                  <a:lnTo>
                    <a:pt x="176136" y="0"/>
                  </a:lnTo>
                  <a:close/>
                </a:path>
              </a:pathLst>
            </a:custGeom>
            <a:solidFill>
              <a:srgbClr val="0059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" name="object 22">
              <a:extLst>
                <a:ext uri="{FF2B5EF4-FFF2-40B4-BE49-F238E27FC236}">
                  <a16:creationId xmlns:a16="http://schemas.microsoft.com/office/drawing/2014/main" id="{5C6C8F75-E7C2-4751-B8F8-FABC55680BF1}"/>
                </a:ext>
              </a:extLst>
            </p:cNvPr>
            <p:cNvSpPr/>
            <p:nvPr/>
          </p:nvSpPr>
          <p:spPr>
            <a:xfrm>
              <a:off x="7865667" y="6106747"/>
              <a:ext cx="272415" cy="236854"/>
            </a:xfrm>
            <a:custGeom>
              <a:avLst/>
              <a:gdLst/>
              <a:ahLst/>
              <a:cxnLst/>
              <a:rect l="l" t="t" r="r" b="b"/>
              <a:pathLst>
                <a:path w="272415" h="236854">
                  <a:moveTo>
                    <a:pt x="176118" y="0"/>
                  </a:moveTo>
                  <a:lnTo>
                    <a:pt x="136419" y="3667"/>
                  </a:lnTo>
                  <a:lnTo>
                    <a:pt x="73990" y="30437"/>
                  </a:lnTo>
                  <a:lnTo>
                    <a:pt x="36953" y="66681"/>
                  </a:lnTo>
                  <a:lnTo>
                    <a:pt x="8783" y="120789"/>
                  </a:lnTo>
                  <a:lnTo>
                    <a:pt x="0" y="169973"/>
                  </a:lnTo>
                  <a:lnTo>
                    <a:pt x="863" y="192484"/>
                  </a:lnTo>
                  <a:lnTo>
                    <a:pt x="3513" y="211251"/>
                  </a:lnTo>
                  <a:lnTo>
                    <a:pt x="7929" y="228244"/>
                  </a:lnTo>
                  <a:lnTo>
                    <a:pt x="12957" y="236480"/>
                  </a:lnTo>
                  <a:lnTo>
                    <a:pt x="17434" y="236715"/>
                  </a:lnTo>
                  <a:lnTo>
                    <a:pt x="20200" y="229704"/>
                  </a:lnTo>
                  <a:lnTo>
                    <a:pt x="20661" y="220145"/>
                  </a:lnTo>
                  <a:lnTo>
                    <a:pt x="19454" y="207265"/>
                  </a:lnTo>
                  <a:lnTo>
                    <a:pt x="18129" y="188587"/>
                  </a:lnTo>
                  <a:lnTo>
                    <a:pt x="22751" y="132550"/>
                  </a:lnTo>
                  <a:lnTo>
                    <a:pt x="50316" y="78343"/>
                  </a:lnTo>
                  <a:lnTo>
                    <a:pt x="99163" y="37587"/>
                  </a:lnTo>
                  <a:lnTo>
                    <a:pt x="164448" y="19006"/>
                  </a:lnTo>
                  <a:lnTo>
                    <a:pt x="200274" y="18897"/>
                  </a:lnTo>
                  <a:lnTo>
                    <a:pt x="218160" y="22578"/>
                  </a:lnTo>
                  <a:lnTo>
                    <a:pt x="234200" y="27781"/>
                  </a:lnTo>
                  <a:lnTo>
                    <a:pt x="247771" y="32660"/>
                  </a:lnTo>
                  <a:lnTo>
                    <a:pt x="258249" y="35369"/>
                  </a:lnTo>
                  <a:lnTo>
                    <a:pt x="266981" y="35772"/>
                  </a:lnTo>
                  <a:lnTo>
                    <a:pt x="272316" y="34256"/>
                  </a:lnTo>
                  <a:lnTo>
                    <a:pt x="271110" y="30167"/>
                  </a:lnTo>
                  <a:lnTo>
                    <a:pt x="260218" y="22847"/>
                  </a:lnTo>
                  <a:lnTo>
                    <a:pt x="246677" y="15478"/>
                  </a:lnTo>
                  <a:lnTo>
                    <a:pt x="227474" y="8047"/>
                  </a:lnTo>
                  <a:lnTo>
                    <a:pt x="203618" y="2303"/>
                  </a:lnTo>
                  <a:lnTo>
                    <a:pt x="176118" y="0"/>
                  </a:lnTo>
                  <a:close/>
                </a:path>
              </a:pathLst>
            </a:custGeom>
            <a:solidFill>
              <a:srgbClr val="0058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" name="object 23">
              <a:extLst>
                <a:ext uri="{FF2B5EF4-FFF2-40B4-BE49-F238E27FC236}">
                  <a16:creationId xmlns:a16="http://schemas.microsoft.com/office/drawing/2014/main" id="{4CD2DB42-855F-4EBD-ABD8-9B4D718AAAF3}"/>
                </a:ext>
              </a:extLst>
            </p:cNvPr>
            <p:cNvSpPr/>
            <p:nvPr/>
          </p:nvSpPr>
          <p:spPr>
            <a:xfrm>
              <a:off x="7865685" y="6106747"/>
              <a:ext cx="271145" cy="235585"/>
            </a:xfrm>
            <a:custGeom>
              <a:avLst/>
              <a:gdLst/>
              <a:ahLst/>
              <a:cxnLst/>
              <a:rect l="l" t="t" r="r" b="b"/>
              <a:pathLst>
                <a:path w="271145" h="235584">
                  <a:moveTo>
                    <a:pt x="176101" y="0"/>
                  </a:moveTo>
                  <a:lnTo>
                    <a:pt x="136402" y="3667"/>
                  </a:lnTo>
                  <a:lnTo>
                    <a:pt x="73972" y="30437"/>
                  </a:lnTo>
                  <a:lnTo>
                    <a:pt x="36935" y="66681"/>
                  </a:lnTo>
                  <a:lnTo>
                    <a:pt x="8766" y="120789"/>
                  </a:lnTo>
                  <a:lnTo>
                    <a:pt x="0" y="169343"/>
                  </a:lnTo>
                  <a:lnTo>
                    <a:pt x="747" y="191536"/>
                  </a:lnTo>
                  <a:lnTo>
                    <a:pt x="3254" y="209943"/>
                  </a:lnTo>
                  <a:lnTo>
                    <a:pt x="7535" y="226952"/>
                  </a:lnTo>
                  <a:lnTo>
                    <a:pt x="12350" y="235208"/>
                  </a:lnTo>
                  <a:lnTo>
                    <a:pt x="16570" y="235452"/>
                  </a:lnTo>
                  <a:lnTo>
                    <a:pt x="19065" y="228422"/>
                  </a:lnTo>
                  <a:lnTo>
                    <a:pt x="19403" y="219063"/>
                  </a:lnTo>
                  <a:lnTo>
                    <a:pt x="18238" y="206514"/>
                  </a:lnTo>
                  <a:lnTo>
                    <a:pt x="17024" y="188145"/>
                  </a:lnTo>
                  <a:lnTo>
                    <a:pt x="21768" y="132329"/>
                  </a:lnTo>
                  <a:lnTo>
                    <a:pt x="49394" y="77865"/>
                  </a:lnTo>
                  <a:lnTo>
                    <a:pt x="98138" y="36975"/>
                  </a:lnTo>
                  <a:lnTo>
                    <a:pt x="163391" y="18125"/>
                  </a:lnTo>
                  <a:lnTo>
                    <a:pt x="199913" y="17906"/>
                  </a:lnTo>
                  <a:lnTo>
                    <a:pt x="217493" y="21395"/>
                  </a:lnTo>
                  <a:lnTo>
                    <a:pt x="233171" y="26335"/>
                  </a:lnTo>
                  <a:lnTo>
                    <a:pt x="246369" y="30981"/>
                  </a:lnTo>
                  <a:lnTo>
                    <a:pt x="256505" y="33591"/>
                  </a:lnTo>
                  <a:lnTo>
                    <a:pt x="265120" y="34094"/>
                  </a:lnTo>
                  <a:lnTo>
                    <a:pt x="270522" y="32792"/>
                  </a:lnTo>
                  <a:lnTo>
                    <a:pt x="269424" y="28960"/>
                  </a:lnTo>
                  <a:lnTo>
                    <a:pt x="258537" y="21869"/>
                  </a:lnTo>
                  <a:lnTo>
                    <a:pt x="245277" y="14857"/>
                  </a:lnTo>
                  <a:lnTo>
                    <a:pt x="226291" y="7739"/>
                  </a:lnTo>
                  <a:lnTo>
                    <a:pt x="202819" y="2218"/>
                  </a:lnTo>
                  <a:lnTo>
                    <a:pt x="176101" y="0"/>
                  </a:lnTo>
                  <a:close/>
                </a:path>
              </a:pathLst>
            </a:custGeom>
            <a:solidFill>
              <a:srgbClr val="0057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" name="object 24">
              <a:extLst>
                <a:ext uri="{FF2B5EF4-FFF2-40B4-BE49-F238E27FC236}">
                  <a16:creationId xmlns:a16="http://schemas.microsoft.com/office/drawing/2014/main" id="{A16506C0-262B-456A-A38F-72C3579EC5F7}"/>
                </a:ext>
              </a:extLst>
            </p:cNvPr>
            <p:cNvSpPr/>
            <p:nvPr/>
          </p:nvSpPr>
          <p:spPr>
            <a:xfrm>
              <a:off x="7865703" y="6106747"/>
              <a:ext cx="269240" cy="234315"/>
            </a:xfrm>
            <a:custGeom>
              <a:avLst/>
              <a:gdLst/>
              <a:ahLst/>
              <a:cxnLst/>
              <a:rect l="l" t="t" r="r" b="b"/>
              <a:pathLst>
                <a:path w="269240" h="234315">
                  <a:moveTo>
                    <a:pt x="176082" y="0"/>
                  </a:moveTo>
                  <a:lnTo>
                    <a:pt x="136383" y="3667"/>
                  </a:lnTo>
                  <a:lnTo>
                    <a:pt x="73953" y="30437"/>
                  </a:lnTo>
                  <a:lnTo>
                    <a:pt x="36916" y="66681"/>
                  </a:lnTo>
                  <a:lnTo>
                    <a:pt x="8747" y="120789"/>
                  </a:lnTo>
                  <a:lnTo>
                    <a:pt x="0" y="168706"/>
                  </a:lnTo>
                  <a:lnTo>
                    <a:pt x="638" y="190576"/>
                  </a:lnTo>
                  <a:lnTo>
                    <a:pt x="3006" y="208622"/>
                  </a:lnTo>
                  <a:lnTo>
                    <a:pt x="7140" y="225655"/>
                  </a:lnTo>
                  <a:lnTo>
                    <a:pt x="11741" y="233935"/>
                  </a:lnTo>
                  <a:lnTo>
                    <a:pt x="15708" y="234188"/>
                  </a:lnTo>
                  <a:lnTo>
                    <a:pt x="17941" y="227139"/>
                  </a:lnTo>
                  <a:lnTo>
                    <a:pt x="18146" y="217982"/>
                  </a:lnTo>
                  <a:lnTo>
                    <a:pt x="17019" y="205763"/>
                  </a:lnTo>
                  <a:lnTo>
                    <a:pt x="15918" y="187704"/>
                  </a:lnTo>
                  <a:lnTo>
                    <a:pt x="20794" y="132108"/>
                  </a:lnTo>
                  <a:lnTo>
                    <a:pt x="48466" y="77387"/>
                  </a:lnTo>
                  <a:lnTo>
                    <a:pt x="97101" y="36363"/>
                  </a:lnTo>
                  <a:lnTo>
                    <a:pt x="162336" y="17250"/>
                  </a:lnTo>
                  <a:lnTo>
                    <a:pt x="199564" y="16929"/>
                  </a:lnTo>
                  <a:lnTo>
                    <a:pt x="216836" y="20222"/>
                  </a:lnTo>
                  <a:lnTo>
                    <a:pt x="232154" y="24895"/>
                  </a:lnTo>
                  <a:lnTo>
                    <a:pt x="244979" y="29305"/>
                  </a:lnTo>
                  <a:lnTo>
                    <a:pt x="254771" y="31813"/>
                  </a:lnTo>
                  <a:lnTo>
                    <a:pt x="263254" y="32417"/>
                  </a:lnTo>
                  <a:lnTo>
                    <a:pt x="268717" y="31334"/>
                  </a:lnTo>
                  <a:lnTo>
                    <a:pt x="267724" y="27759"/>
                  </a:lnTo>
                  <a:lnTo>
                    <a:pt x="256841" y="20891"/>
                  </a:lnTo>
                  <a:lnTo>
                    <a:pt x="243869" y="14241"/>
                  </a:lnTo>
                  <a:lnTo>
                    <a:pt x="225101" y="7435"/>
                  </a:lnTo>
                  <a:lnTo>
                    <a:pt x="202013" y="2135"/>
                  </a:lnTo>
                  <a:lnTo>
                    <a:pt x="176082" y="0"/>
                  </a:lnTo>
                  <a:close/>
                </a:path>
              </a:pathLst>
            </a:custGeom>
            <a:solidFill>
              <a:srgbClr val="0255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" name="object 25">
              <a:extLst>
                <a:ext uri="{FF2B5EF4-FFF2-40B4-BE49-F238E27FC236}">
                  <a16:creationId xmlns:a16="http://schemas.microsoft.com/office/drawing/2014/main" id="{B002EAE6-143A-47C6-B684-BE2C1A60F9F6}"/>
                </a:ext>
              </a:extLst>
            </p:cNvPr>
            <p:cNvSpPr/>
            <p:nvPr/>
          </p:nvSpPr>
          <p:spPr>
            <a:xfrm>
              <a:off x="7865721" y="6106747"/>
              <a:ext cx="267335" cy="233045"/>
            </a:xfrm>
            <a:custGeom>
              <a:avLst/>
              <a:gdLst/>
              <a:ahLst/>
              <a:cxnLst/>
              <a:rect l="l" t="t" r="r" b="b"/>
              <a:pathLst>
                <a:path w="267334" h="233045">
                  <a:moveTo>
                    <a:pt x="176064" y="0"/>
                  </a:moveTo>
                  <a:lnTo>
                    <a:pt x="136365" y="3667"/>
                  </a:lnTo>
                  <a:lnTo>
                    <a:pt x="73936" y="30437"/>
                  </a:lnTo>
                  <a:lnTo>
                    <a:pt x="36899" y="66681"/>
                  </a:lnTo>
                  <a:lnTo>
                    <a:pt x="8729" y="120789"/>
                  </a:lnTo>
                  <a:lnTo>
                    <a:pt x="0" y="168074"/>
                  </a:lnTo>
                  <a:lnTo>
                    <a:pt x="523" y="189623"/>
                  </a:lnTo>
                  <a:lnTo>
                    <a:pt x="2747" y="207302"/>
                  </a:lnTo>
                  <a:lnTo>
                    <a:pt x="6746" y="224358"/>
                  </a:lnTo>
                  <a:lnTo>
                    <a:pt x="11134" y="232662"/>
                  </a:lnTo>
                  <a:lnTo>
                    <a:pt x="14844" y="232924"/>
                  </a:lnTo>
                  <a:lnTo>
                    <a:pt x="16806" y="225856"/>
                  </a:lnTo>
                  <a:lnTo>
                    <a:pt x="16886" y="216900"/>
                  </a:lnTo>
                  <a:lnTo>
                    <a:pt x="15798" y="205012"/>
                  </a:lnTo>
                  <a:lnTo>
                    <a:pt x="14808" y="187262"/>
                  </a:lnTo>
                  <a:lnTo>
                    <a:pt x="19812" y="131881"/>
                  </a:lnTo>
                  <a:lnTo>
                    <a:pt x="47549" y="76913"/>
                  </a:lnTo>
                  <a:lnTo>
                    <a:pt x="96075" y="35757"/>
                  </a:lnTo>
                  <a:lnTo>
                    <a:pt x="161275" y="16376"/>
                  </a:lnTo>
                  <a:lnTo>
                    <a:pt x="199204" y="15951"/>
                  </a:lnTo>
                  <a:lnTo>
                    <a:pt x="216170" y="19044"/>
                  </a:lnTo>
                  <a:lnTo>
                    <a:pt x="231130" y="23450"/>
                  </a:lnTo>
                  <a:lnTo>
                    <a:pt x="243583" y="27627"/>
                  </a:lnTo>
                  <a:lnTo>
                    <a:pt x="253026" y="30035"/>
                  </a:lnTo>
                  <a:lnTo>
                    <a:pt x="261393" y="30736"/>
                  </a:lnTo>
                  <a:lnTo>
                    <a:pt x="266922" y="29868"/>
                  </a:lnTo>
                  <a:lnTo>
                    <a:pt x="266033" y="26551"/>
                  </a:lnTo>
                  <a:lnTo>
                    <a:pt x="255147" y="19900"/>
                  </a:lnTo>
                  <a:lnTo>
                    <a:pt x="242457" y="13614"/>
                  </a:lnTo>
                  <a:lnTo>
                    <a:pt x="223907" y="7126"/>
                  </a:lnTo>
                  <a:lnTo>
                    <a:pt x="201207" y="2050"/>
                  </a:lnTo>
                  <a:lnTo>
                    <a:pt x="176064" y="0"/>
                  </a:lnTo>
                  <a:close/>
                </a:path>
              </a:pathLst>
            </a:custGeom>
            <a:solidFill>
              <a:srgbClr val="0254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" name="object 26">
              <a:extLst>
                <a:ext uri="{FF2B5EF4-FFF2-40B4-BE49-F238E27FC236}">
                  <a16:creationId xmlns:a16="http://schemas.microsoft.com/office/drawing/2014/main" id="{99C8871F-3F7E-41FA-8436-5382EE686B2E}"/>
                </a:ext>
              </a:extLst>
            </p:cNvPr>
            <p:cNvSpPr/>
            <p:nvPr/>
          </p:nvSpPr>
          <p:spPr>
            <a:xfrm>
              <a:off x="7865735" y="6106747"/>
              <a:ext cx="265430" cy="231775"/>
            </a:xfrm>
            <a:custGeom>
              <a:avLst/>
              <a:gdLst/>
              <a:ahLst/>
              <a:cxnLst/>
              <a:rect l="l" t="t" r="r" b="b"/>
              <a:pathLst>
                <a:path w="265429" h="231775">
                  <a:moveTo>
                    <a:pt x="176050" y="0"/>
                  </a:moveTo>
                  <a:lnTo>
                    <a:pt x="136351" y="3667"/>
                  </a:lnTo>
                  <a:lnTo>
                    <a:pt x="73921" y="30437"/>
                  </a:lnTo>
                  <a:lnTo>
                    <a:pt x="36884" y="66681"/>
                  </a:lnTo>
                  <a:lnTo>
                    <a:pt x="8715" y="120789"/>
                  </a:lnTo>
                  <a:lnTo>
                    <a:pt x="0" y="167439"/>
                  </a:lnTo>
                  <a:lnTo>
                    <a:pt x="414" y="188669"/>
                  </a:lnTo>
                  <a:lnTo>
                    <a:pt x="2505" y="205993"/>
                  </a:lnTo>
                  <a:lnTo>
                    <a:pt x="6354" y="223066"/>
                  </a:lnTo>
                  <a:lnTo>
                    <a:pt x="10523" y="231390"/>
                  </a:lnTo>
                  <a:lnTo>
                    <a:pt x="13976" y="231661"/>
                  </a:lnTo>
                  <a:lnTo>
                    <a:pt x="15674" y="224574"/>
                  </a:lnTo>
                  <a:lnTo>
                    <a:pt x="15630" y="215818"/>
                  </a:lnTo>
                  <a:lnTo>
                    <a:pt x="14582" y="204262"/>
                  </a:lnTo>
                  <a:lnTo>
                    <a:pt x="13706" y="186821"/>
                  </a:lnTo>
                  <a:lnTo>
                    <a:pt x="18845" y="131660"/>
                  </a:lnTo>
                  <a:lnTo>
                    <a:pt x="46632" y="76435"/>
                  </a:lnTo>
                  <a:lnTo>
                    <a:pt x="95043" y="35145"/>
                  </a:lnTo>
                  <a:lnTo>
                    <a:pt x="160225" y="15501"/>
                  </a:lnTo>
                  <a:lnTo>
                    <a:pt x="198859" y="14973"/>
                  </a:lnTo>
                  <a:lnTo>
                    <a:pt x="215513" y="17872"/>
                  </a:lnTo>
                  <a:lnTo>
                    <a:pt x="230111" y="22012"/>
                  </a:lnTo>
                  <a:lnTo>
                    <a:pt x="242190" y="25956"/>
                  </a:lnTo>
                  <a:lnTo>
                    <a:pt x="251285" y="28270"/>
                  </a:lnTo>
                  <a:lnTo>
                    <a:pt x="259529" y="29063"/>
                  </a:lnTo>
                  <a:lnTo>
                    <a:pt x="265126" y="28406"/>
                  </a:lnTo>
                  <a:lnTo>
                    <a:pt x="264349" y="25344"/>
                  </a:lnTo>
                  <a:lnTo>
                    <a:pt x="253469" y="18922"/>
                  </a:lnTo>
                  <a:lnTo>
                    <a:pt x="241053" y="12998"/>
                  </a:lnTo>
                  <a:lnTo>
                    <a:pt x="222718" y="6823"/>
                  </a:lnTo>
                  <a:lnTo>
                    <a:pt x="200404" y="1967"/>
                  </a:lnTo>
                  <a:lnTo>
                    <a:pt x="176050" y="0"/>
                  </a:lnTo>
                  <a:close/>
                </a:path>
              </a:pathLst>
            </a:custGeom>
            <a:solidFill>
              <a:srgbClr val="0252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" name="object 27">
              <a:extLst>
                <a:ext uri="{FF2B5EF4-FFF2-40B4-BE49-F238E27FC236}">
                  <a16:creationId xmlns:a16="http://schemas.microsoft.com/office/drawing/2014/main" id="{CBB8448D-DEB2-4540-A7B8-6EB03CB42386}"/>
                </a:ext>
              </a:extLst>
            </p:cNvPr>
            <p:cNvSpPr/>
            <p:nvPr/>
          </p:nvSpPr>
          <p:spPr>
            <a:xfrm>
              <a:off x="7865753" y="6106747"/>
              <a:ext cx="263525" cy="230504"/>
            </a:xfrm>
            <a:custGeom>
              <a:avLst/>
              <a:gdLst/>
              <a:ahLst/>
              <a:cxnLst/>
              <a:rect l="l" t="t" r="r" b="b"/>
              <a:pathLst>
                <a:path w="263525" h="230504">
                  <a:moveTo>
                    <a:pt x="176033" y="0"/>
                  </a:moveTo>
                  <a:lnTo>
                    <a:pt x="136333" y="3667"/>
                  </a:lnTo>
                  <a:lnTo>
                    <a:pt x="73904" y="30437"/>
                  </a:lnTo>
                  <a:lnTo>
                    <a:pt x="36867" y="66681"/>
                  </a:lnTo>
                  <a:lnTo>
                    <a:pt x="8697" y="120789"/>
                  </a:lnTo>
                  <a:lnTo>
                    <a:pt x="0" y="166808"/>
                  </a:lnTo>
                  <a:lnTo>
                    <a:pt x="298" y="187715"/>
                  </a:lnTo>
                  <a:lnTo>
                    <a:pt x="2246" y="204673"/>
                  </a:lnTo>
                  <a:lnTo>
                    <a:pt x="5960" y="221769"/>
                  </a:lnTo>
                  <a:lnTo>
                    <a:pt x="9917" y="230116"/>
                  </a:lnTo>
                  <a:lnTo>
                    <a:pt x="13111" y="230392"/>
                  </a:lnTo>
                  <a:lnTo>
                    <a:pt x="14539" y="223278"/>
                  </a:lnTo>
                  <a:lnTo>
                    <a:pt x="14370" y="214731"/>
                  </a:lnTo>
                  <a:lnTo>
                    <a:pt x="13361" y="203509"/>
                  </a:lnTo>
                  <a:lnTo>
                    <a:pt x="12596" y="186379"/>
                  </a:lnTo>
                  <a:lnTo>
                    <a:pt x="17861" y="131439"/>
                  </a:lnTo>
                  <a:lnTo>
                    <a:pt x="45709" y="75957"/>
                  </a:lnTo>
                  <a:lnTo>
                    <a:pt x="94018" y="34533"/>
                  </a:lnTo>
                  <a:lnTo>
                    <a:pt x="159168" y="14626"/>
                  </a:lnTo>
                  <a:lnTo>
                    <a:pt x="198499" y="13995"/>
                  </a:lnTo>
                  <a:lnTo>
                    <a:pt x="214850" y="16696"/>
                  </a:lnTo>
                  <a:lnTo>
                    <a:pt x="229088" y="20572"/>
                  </a:lnTo>
                  <a:lnTo>
                    <a:pt x="240795" y="24284"/>
                  </a:lnTo>
                  <a:lnTo>
                    <a:pt x="249553" y="26492"/>
                  </a:lnTo>
                  <a:lnTo>
                    <a:pt x="257667" y="27381"/>
                  </a:lnTo>
                  <a:lnTo>
                    <a:pt x="263328" y="26943"/>
                  </a:lnTo>
                  <a:lnTo>
                    <a:pt x="262656" y="24141"/>
                  </a:lnTo>
                  <a:lnTo>
                    <a:pt x="251775" y="17945"/>
                  </a:lnTo>
                  <a:lnTo>
                    <a:pt x="239646" y="12376"/>
                  </a:lnTo>
                  <a:lnTo>
                    <a:pt x="221529" y="6515"/>
                  </a:lnTo>
                  <a:lnTo>
                    <a:pt x="199599" y="1882"/>
                  </a:lnTo>
                  <a:lnTo>
                    <a:pt x="176033" y="0"/>
                  </a:lnTo>
                  <a:close/>
                </a:path>
              </a:pathLst>
            </a:custGeom>
            <a:solidFill>
              <a:srgbClr val="0251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" name="object 28">
              <a:extLst>
                <a:ext uri="{FF2B5EF4-FFF2-40B4-BE49-F238E27FC236}">
                  <a16:creationId xmlns:a16="http://schemas.microsoft.com/office/drawing/2014/main" id="{20F00116-D957-4E4C-9DF1-72FC6302A7F0}"/>
                </a:ext>
              </a:extLst>
            </p:cNvPr>
            <p:cNvSpPr/>
            <p:nvPr/>
          </p:nvSpPr>
          <p:spPr>
            <a:xfrm>
              <a:off x="7865770" y="6106747"/>
              <a:ext cx="261620" cy="229235"/>
            </a:xfrm>
            <a:custGeom>
              <a:avLst/>
              <a:gdLst/>
              <a:ahLst/>
              <a:cxnLst/>
              <a:rect l="l" t="t" r="r" b="b"/>
              <a:pathLst>
                <a:path w="261620" h="229234">
                  <a:moveTo>
                    <a:pt x="176015" y="0"/>
                  </a:moveTo>
                  <a:lnTo>
                    <a:pt x="136316" y="3667"/>
                  </a:lnTo>
                  <a:lnTo>
                    <a:pt x="73886" y="30437"/>
                  </a:lnTo>
                  <a:lnTo>
                    <a:pt x="36850" y="66681"/>
                  </a:lnTo>
                  <a:lnTo>
                    <a:pt x="8680" y="120789"/>
                  </a:lnTo>
                  <a:lnTo>
                    <a:pt x="0" y="166171"/>
                  </a:lnTo>
                  <a:lnTo>
                    <a:pt x="182" y="186756"/>
                  </a:lnTo>
                  <a:lnTo>
                    <a:pt x="1987" y="203352"/>
                  </a:lnTo>
                  <a:lnTo>
                    <a:pt x="5561" y="220472"/>
                  </a:lnTo>
                  <a:lnTo>
                    <a:pt x="9307" y="228844"/>
                  </a:lnTo>
                  <a:lnTo>
                    <a:pt x="12251" y="229134"/>
                  </a:lnTo>
                  <a:lnTo>
                    <a:pt x="13417" y="222008"/>
                  </a:lnTo>
                  <a:lnTo>
                    <a:pt x="13115" y="213659"/>
                  </a:lnTo>
                  <a:lnTo>
                    <a:pt x="12144" y="202760"/>
                  </a:lnTo>
                  <a:lnTo>
                    <a:pt x="11492" y="185934"/>
                  </a:lnTo>
                  <a:lnTo>
                    <a:pt x="16889" y="131214"/>
                  </a:lnTo>
                  <a:lnTo>
                    <a:pt x="44783" y="75482"/>
                  </a:lnTo>
                  <a:lnTo>
                    <a:pt x="92988" y="33921"/>
                  </a:lnTo>
                  <a:lnTo>
                    <a:pt x="158112" y="13751"/>
                  </a:lnTo>
                  <a:lnTo>
                    <a:pt x="198139" y="13017"/>
                  </a:lnTo>
                  <a:lnTo>
                    <a:pt x="214190" y="15523"/>
                  </a:lnTo>
                  <a:lnTo>
                    <a:pt x="228069" y="19134"/>
                  </a:lnTo>
                  <a:lnTo>
                    <a:pt x="239401" y="22613"/>
                  </a:lnTo>
                  <a:lnTo>
                    <a:pt x="247808" y="24726"/>
                  </a:lnTo>
                  <a:lnTo>
                    <a:pt x="255805" y="25711"/>
                  </a:lnTo>
                  <a:lnTo>
                    <a:pt x="261532" y="25485"/>
                  </a:lnTo>
                  <a:lnTo>
                    <a:pt x="260965" y="22940"/>
                  </a:lnTo>
                  <a:lnTo>
                    <a:pt x="250082" y="16967"/>
                  </a:lnTo>
                  <a:lnTo>
                    <a:pt x="238241" y="11760"/>
                  </a:lnTo>
                  <a:lnTo>
                    <a:pt x="220344" y="6211"/>
                  </a:lnTo>
                  <a:lnTo>
                    <a:pt x="198800" y="1799"/>
                  </a:lnTo>
                  <a:lnTo>
                    <a:pt x="176015" y="0"/>
                  </a:lnTo>
                  <a:close/>
                </a:path>
              </a:pathLst>
            </a:custGeom>
            <a:solidFill>
              <a:srgbClr val="024F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" name="object 29">
              <a:extLst>
                <a:ext uri="{FF2B5EF4-FFF2-40B4-BE49-F238E27FC236}">
                  <a16:creationId xmlns:a16="http://schemas.microsoft.com/office/drawing/2014/main" id="{D838CB89-7824-42D2-BBE5-9E272003FC00}"/>
                </a:ext>
              </a:extLst>
            </p:cNvPr>
            <p:cNvSpPr/>
            <p:nvPr/>
          </p:nvSpPr>
          <p:spPr>
            <a:xfrm>
              <a:off x="7865784" y="6106747"/>
              <a:ext cx="260350" cy="227965"/>
            </a:xfrm>
            <a:custGeom>
              <a:avLst/>
              <a:gdLst/>
              <a:ahLst/>
              <a:cxnLst/>
              <a:rect l="l" t="t" r="r" b="b"/>
              <a:pathLst>
                <a:path w="260350" h="227965">
                  <a:moveTo>
                    <a:pt x="176001" y="0"/>
                  </a:moveTo>
                  <a:lnTo>
                    <a:pt x="136302" y="3667"/>
                  </a:lnTo>
                  <a:lnTo>
                    <a:pt x="73872" y="30437"/>
                  </a:lnTo>
                  <a:lnTo>
                    <a:pt x="36835" y="66681"/>
                  </a:lnTo>
                  <a:lnTo>
                    <a:pt x="8666" y="120789"/>
                  </a:lnTo>
                  <a:lnTo>
                    <a:pt x="0" y="165539"/>
                  </a:lnTo>
                  <a:lnTo>
                    <a:pt x="74" y="185803"/>
                  </a:lnTo>
                  <a:lnTo>
                    <a:pt x="1744" y="202031"/>
                  </a:lnTo>
                  <a:lnTo>
                    <a:pt x="5175" y="219175"/>
                  </a:lnTo>
                  <a:lnTo>
                    <a:pt x="8705" y="227569"/>
                  </a:lnTo>
                  <a:lnTo>
                    <a:pt x="11390" y="227865"/>
                  </a:lnTo>
                  <a:lnTo>
                    <a:pt x="12285" y="220713"/>
                  </a:lnTo>
                  <a:lnTo>
                    <a:pt x="11858" y="212572"/>
                  </a:lnTo>
                  <a:lnTo>
                    <a:pt x="10926" y="202007"/>
                  </a:lnTo>
                  <a:lnTo>
                    <a:pt x="10385" y="185492"/>
                  </a:lnTo>
                  <a:lnTo>
                    <a:pt x="15910" y="130993"/>
                  </a:lnTo>
                  <a:lnTo>
                    <a:pt x="43869" y="75004"/>
                  </a:lnTo>
                  <a:lnTo>
                    <a:pt x="91961" y="33310"/>
                  </a:lnTo>
                  <a:lnTo>
                    <a:pt x="157062" y="12876"/>
                  </a:lnTo>
                  <a:lnTo>
                    <a:pt x="197794" y="12039"/>
                  </a:lnTo>
                  <a:lnTo>
                    <a:pt x="213531" y="14351"/>
                  </a:lnTo>
                  <a:lnTo>
                    <a:pt x="227045" y="17694"/>
                  </a:lnTo>
                  <a:lnTo>
                    <a:pt x="238003" y="20937"/>
                  </a:lnTo>
                  <a:lnTo>
                    <a:pt x="246067" y="22948"/>
                  </a:lnTo>
                  <a:lnTo>
                    <a:pt x="253940" y="24033"/>
                  </a:lnTo>
                  <a:lnTo>
                    <a:pt x="259730" y="24022"/>
                  </a:lnTo>
                  <a:lnTo>
                    <a:pt x="259270" y="21734"/>
                  </a:lnTo>
                  <a:lnTo>
                    <a:pt x="248391" y="15989"/>
                  </a:lnTo>
                  <a:lnTo>
                    <a:pt x="236832" y="11138"/>
                  </a:lnTo>
                  <a:lnTo>
                    <a:pt x="219154" y="5903"/>
                  </a:lnTo>
                  <a:lnTo>
                    <a:pt x="197997" y="1714"/>
                  </a:lnTo>
                  <a:lnTo>
                    <a:pt x="176001" y="0"/>
                  </a:lnTo>
                  <a:close/>
                </a:path>
              </a:pathLst>
            </a:custGeom>
            <a:solidFill>
              <a:srgbClr val="014E2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" name="object 30">
              <a:extLst>
                <a:ext uri="{FF2B5EF4-FFF2-40B4-BE49-F238E27FC236}">
                  <a16:creationId xmlns:a16="http://schemas.microsoft.com/office/drawing/2014/main" id="{AAB0F6A0-74D1-433C-9C1D-D8ADD00EE757}"/>
                </a:ext>
              </a:extLst>
            </p:cNvPr>
            <p:cNvSpPr/>
            <p:nvPr/>
          </p:nvSpPr>
          <p:spPr>
            <a:xfrm>
              <a:off x="7865760" y="6106747"/>
              <a:ext cx="258445" cy="226695"/>
            </a:xfrm>
            <a:custGeom>
              <a:avLst/>
              <a:gdLst/>
              <a:ahLst/>
              <a:cxnLst/>
              <a:rect l="l" t="t" r="r" b="b"/>
              <a:pathLst>
                <a:path w="258445" h="226695">
                  <a:moveTo>
                    <a:pt x="176025" y="0"/>
                  </a:moveTo>
                  <a:lnTo>
                    <a:pt x="136326" y="3667"/>
                  </a:lnTo>
                  <a:lnTo>
                    <a:pt x="73896" y="30437"/>
                  </a:lnTo>
                  <a:lnTo>
                    <a:pt x="36859" y="66681"/>
                  </a:lnTo>
                  <a:lnTo>
                    <a:pt x="8690" y="120789"/>
                  </a:lnTo>
                  <a:lnTo>
                    <a:pt x="41" y="164904"/>
                  </a:lnTo>
                  <a:lnTo>
                    <a:pt x="0" y="184849"/>
                  </a:lnTo>
                  <a:lnTo>
                    <a:pt x="1527" y="200723"/>
                  </a:lnTo>
                  <a:lnTo>
                    <a:pt x="4818" y="217884"/>
                  </a:lnTo>
                  <a:lnTo>
                    <a:pt x="8136" y="226299"/>
                  </a:lnTo>
                  <a:lnTo>
                    <a:pt x="10566" y="226607"/>
                  </a:lnTo>
                  <a:lnTo>
                    <a:pt x="11192" y="219443"/>
                  </a:lnTo>
                  <a:lnTo>
                    <a:pt x="9753" y="201258"/>
                  </a:lnTo>
                  <a:lnTo>
                    <a:pt x="9327" y="185051"/>
                  </a:lnTo>
                  <a:lnTo>
                    <a:pt x="14981" y="130770"/>
                  </a:lnTo>
                  <a:lnTo>
                    <a:pt x="42990" y="74521"/>
                  </a:lnTo>
                  <a:lnTo>
                    <a:pt x="90967" y="32698"/>
                  </a:lnTo>
                  <a:lnTo>
                    <a:pt x="156045" y="12001"/>
                  </a:lnTo>
                  <a:lnTo>
                    <a:pt x="197475" y="11061"/>
                  </a:lnTo>
                  <a:lnTo>
                    <a:pt x="212906" y="13173"/>
                  </a:lnTo>
                  <a:lnTo>
                    <a:pt x="226063" y="16249"/>
                  </a:lnTo>
                  <a:lnTo>
                    <a:pt x="236648" y="19259"/>
                  </a:lnTo>
                  <a:lnTo>
                    <a:pt x="244364" y="21170"/>
                  </a:lnTo>
                  <a:lnTo>
                    <a:pt x="252120" y="22356"/>
                  </a:lnTo>
                  <a:lnTo>
                    <a:pt x="257978" y="22563"/>
                  </a:lnTo>
                  <a:lnTo>
                    <a:pt x="257626" y="20533"/>
                  </a:lnTo>
                  <a:lnTo>
                    <a:pt x="246751" y="15011"/>
                  </a:lnTo>
                  <a:lnTo>
                    <a:pt x="235472" y="10517"/>
                  </a:lnTo>
                  <a:lnTo>
                    <a:pt x="218008" y="5595"/>
                  </a:lnTo>
                  <a:lnTo>
                    <a:pt x="197234" y="1629"/>
                  </a:lnTo>
                  <a:lnTo>
                    <a:pt x="176025" y="0"/>
                  </a:lnTo>
                  <a:close/>
                </a:path>
              </a:pathLst>
            </a:custGeom>
            <a:solidFill>
              <a:srgbClr val="004C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" name="object 31">
              <a:extLst>
                <a:ext uri="{FF2B5EF4-FFF2-40B4-BE49-F238E27FC236}">
                  <a16:creationId xmlns:a16="http://schemas.microsoft.com/office/drawing/2014/main" id="{B8663018-7506-43DA-A8FA-841E9DD7E559}"/>
                </a:ext>
              </a:extLst>
            </p:cNvPr>
            <p:cNvSpPr/>
            <p:nvPr/>
          </p:nvSpPr>
          <p:spPr>
            <a:xfrm>
              <a:off x="7865667" y="6106747"/>
              <a:ext cx="256540" cy="225425"/>
            </a:xfrm>
            <a:custGeom>
              <a:avLst/>
              <a:gdLst/>
              <a:ahLst/>
              <a:cxnLst/>
              <a:rect l="l" t="t" r="r" b="b"/>
              <a:pathLst>
                <a:path w="256540" h="225425">
                  <a:moveTo>
                    <a:pt x="176118" y="0"/>
                  </a:moveTo>
                  <a:lnTo>
                    <a:pt x="136419" y="3667"/>
                  </a:lnTo>
                  <a:lnTo>
                    <a:pt x="73989" y="30437"/>
                  </a:lnTo>
                  <a:lnTo>
                    <a:pt x="36952" y="66681"/>
                  </a:lnTo>
                  <a:lnTo>
                    <a:pt x="8783" y="120789"/>
                  </a:lnTo>
                  <a:lnTo>
                    <a:pt x="153" y="164272"/>
                  </a:lnTo>
                  <a:lnTo>
                    <a:pt x="0" y="183895"/>
                  </a:lnTo>
                  <a:lnTo>
                    <a:pt x="1391" y="199402"/>
                  </a:lnTo>
                  <a:lnTo>
                    <a:pt x="4540" y="216586"/>
                  </a:lnTo>
                  <a:lnTo>
                    <a:pt x="7641" y="225024"/>
                  </a:lnTo>
                  <a:lnTo>
                    <a:pt x="9812" y="225338"/>
                  </a:lnTo>
                  <a:lnTo>
                    <a:pt x="10167" y="218147"/>
                  </a:lnTo>
                  <a:lnTo>
                    <a:pt x="8643" y="200506"/>
                  </a:lnTo>
                  <a:lnTo>
                    <a:pt x="8328" y="184609"/>
                  </a:lnTo>
                  <a:lnTo>
                    <a:pt x="14108" y="130545"/>
                  </a:lnTo>
                  <a:lnTo>
                    <a:pt x="42178" y="74046"/>
                  </a:lnTo>
                  <a:lnTo>
                    <a:pt x="90053" y="32086"/>
                  </a:lnTo>
                  <a:lnTo>
                    <a:pt x="155104" y="11121"/>
                  </a:lnTo>
                  <a:lnTo>
                    <a:pt x="197238" y="10071"/>
                  </a:lnTo>
                  <a:lnTo>
                    <a:pt x="212354" y="11995"/>
                  </a:lnTo>
                  <a:lnTo>
                    <a:pt x="225148" y="14809"/>
                  </a:lnTo>
                  <a:lnTo>
                    <a:pt x="242742" y="19405"/>
                  </a:lnTo>
                  <a:lnTo>
                    <a:pt x="250368" y="20680"/>
                  </a:lnTo>
                  <a:lnTo>
                    <a:pt x="256290" y="21101"/>
                  </a:lnTo>
                  <a:lnTo>
                    <a:pt x="256044" y="19330"/>
                  </a:lnTo>
                  <a:lnTo>
                    <a:pt x="245168" y="14033"/>
                  </a:lnTo>
                  <a:lnTo>
                    <a:pt x="234172" y="9901"/>
                  </a:lnTo>
                  <a:lnTo>
                    <a:pt x="216929" y="5292"/>
                  </a:lnTo>
                  <a:lnTo>
                    <a:pt x="196544" y="1546"/>
                  </a:lnTo>
                  <a:lnTo>
                    <a:pt x="176118" y="0"/>
                  </a:lnTo>
                  <a:close/>
                </a:path>
              </a:pathLst>
            </a:custGeom>
            <a:solidFill>
              <a:srgbClr val="004B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" name="object 32">
              <a:extLst>
                <a:ext uri="{FF2B5EF4-FFF2-40B4-BE49-F238E27FC236}">
                  <a16:creationId xmlns:a16="http://schemas.microsoft.com/office/drawing/2014/main" id="{E8FC12CE-3E5C-46D3-B3A1-08C5471859DE}"/>
                </a:ext>
              </a:extLst>
            </p:cNvPr>
            <p:cNvSpPr/>
            <p:nvPr/>
          </p:nvSpPr>
          <p:spPr>
            <a:xfrm>
              <a:off x="7865572" y="6106747"/>
              <a:ext cx="254635" cy="224154"/>
            </a:xfrm>
            <a:custGeom>
              <a:avLst/>
              <a:gdLst/>
              <a:ahLst/>
              <a:cxnLst/>
              <a:rect l="l" t="t" r="r" b="b"/>
              <a:pathLst>
                <a:path w="254634" h="224154">
                  <a:moveTo>
                    <a:pt x="176213" y="0"/>
                  </a:moveTo>
                  <a:lnTo>
                    <a:pt x="136513" y="3667"/>
                  </a:lnTo>
                  <a:lnTo>
                    <a:pt x="74084" y="30437"/>
                  </a:lnTo>
                  <a:lnTo>
                    <a:pt x="37047" y="66681"/>
                  </a:lnTo>
                  <a:lnTo>
                    <a:pt x="8877" y="120789"/>
                  </a:lnTo>
                  <a:lnTo>
                    <a:pt x="265" y="163641"/>
                  </a:lnTo>
                  <a:lnTo>
                    <a:pt x="0" y="182938"/>
                  </a:lnTo>
                  <a:lnTo>
                    <a:pt x="1245" y="198081"/>
                  </a:lnTo>
                  <a:lnTo>
                    <a:pt x="4256" y="215290"/>
                  </a:lnTo>
                  <a:lnTo>
                    <a:pt x="7142" y="223751"/>
                  </a:lnTo>
                  <a:lnTo>
                    <a:pt x="9055" y="224074"/>
                  </a:lnTo>
                  <a:lnTo>
                    <a:pt x="9144" y="216865"/>
                  </a:lnTo>
                  <a:lnTo>
                    <a:pt x="7536" y="199759"/>
                  </a:lnTo>
                  <a:lnTo>
                    <a:pt x="7335" y="184170"/>
                  </a:lnTo>
                  <a:lnTo>
                    <a:pt x="13247" y="130324"/>
                  </a:lnTo>
                  <a:lnTo>
                    <a:pt x="41364" y="73568"/>
                  </a:lnTo>
                  <a:lnTo>
                    <a:pt x="89133" y="31479"/>
                  </a:lnTo>
                  <a:lnTo>
                    <a:pt x="154154" y="10248"/>
                  </a:lnTo>
                  <a:lnTo>
                    <a:pt x="196990" y="9093"/>
                  </a:lnTo>
                  <a:lnTo>
                    <a:pt x="211806" y="10819"/>
                  </a:lnTo>
                  <a:lnTo>
                    <a:pt x="224241" y="13369"/>
                  </a:lnTo>
                  <a:lnTo>
                    <a:pt x="241110" y="17627"/>
                  </a:lnTo>
                  <a:lnTo>
                    <a:pt x="248614" y="19002"/>
                  </a:lnTo>
                  <a:lnTo>
                    <a:pt x="254603" y="19635"/>
                  </a:lnTo>
                  <a:lnTo>
                    <a:pt x="254468" y="18118"/>
                  </a:lnTo>
                  <a:lnTo>
                    <a:pt x="243599" y="13042"/>
                  </a:lnTo>
                  <a:lnTo>
                    <a:pt x="232882" y="9274"/>
                  </a:lnTo>
                  <a:lnTo>
                    <a:pt x="215854" y="4983"/>
                  </a:lnTo>
                  <a:lnTo>
                    <a:pt x="195852" y="1461"/>
                  </a:lnTo>
                  <a:lnTo>
                    <a:pt x="176213" y="0"/>
                  </a:lnTo>
                  <a:close/>
                </a:path>
              </a:pathLst>
            </a:custGeom>
            <a:solidFill>
              <a:srgbClr val="0149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40" name="object 33">
              <a:extLst>
                <a:ext uri="{FF2B5EF4-FFF2-40B4-BE49-F238E27FC236}">
                  <a16:creationId xmlns:a16="http://schemas.microsoft.com/office/drawing/2014/main" id="{C4FF1281-0D29-45BC-AE46-D9C06C8C5F57}"/>
                </a:ext>
              </a:extLst>
            </p:cNvPr>
            <p:cNvPicPr/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65281" y="6106747"/>
              <a:ext cx="253116" cy="222810"/>
            </a:xfrm>
            <a:prstGeom prst="rect">
              <a:avLst/>
            </a:prstGeom>
          </p:spPr>
        </p:pic>
        <p:sp>
          <p:nvSpPr>
            <p:cNvPr id="41" name="object 34">
              <a:extLst>
                <a:ext uri="{FF2B5EF4-FFF2-40B4-BE49-F238E27FC236}">
                  <a16:creationId xmlns:a16="http://schemas.microsoft.com/office/drawing/2014/main" id="{F6706D4D-0786-4F49-BC1A-BE35136D3EAF}"/>
                </a:ext>
              </a:extLst>
            </p:cNvPr>
            <p:cNvSpPr/>
            <p:nvPr/>
          </p:nvSpPr>
          <p:spPr>
            <a:xfrm>
              <a:off x="7945560" y="6173565"/>
              <a:ext cx="258445" cy="276225"/>
            </a:xfrm>
            <a:custGeom>
              <a:avLst/>
              <a:gdLst/>
              <a:ahLst/>
              <a:cxnLst/>
              <a:rect l="l" t="t" r="r" b="b"/>
              <a:pathLst>
                <a:path w="258445" h="276225">
                  <a:moveTo>
                    <a:pt x="186807" y="0"/>
                  </a:moveTo>
                  <a:lnTo>
                    <a:pt x="180014" y="2698"/>
                  </a:lnTo>
                  <a:lnTo>
                    <a:pt x="188458" y="15322"/>
                  </a:lnTo>
                  <a:lnTo>
                    <a:pt x="204849" y="35419"/>
                  </a:lnTo>
                  <a:lnTo>
                    <a:pt x="217776" y="58853"/>
                  </a:lnTo>
                  <a:lnTo>
                    <a:pt x="226256" y="83690"/>
                  </a:lnTo>
                  <a:lnTo>
                    <a:pt x="229302" y="107994"/>
                  </a:lnTo>
                  <a:lnTo>
                    <a:pt x="228135" y="131370"/>
                  </a:lnTo>
                  <a:lnTo>
                    <a:pt x="211144" y="179442"/>
                  </a:lnTo>
                  <a:lnTo>
                    <a:pt x="163646" y="225980"/>
                  </a:lnTo>
                  <a:lnTo>
                    <a:pt x="114310" y="242972"/>
                  </a:lnTo>
                  <a:lnTo>
                    <a:pt x="94910" y="244138"/>
                  </a:lnTo>
                  <a:lnTo>
                    <a:pt x="76070" y="242534"/>
                  </a:lnTo>
                  <a:lnTo>
                    <a:pt x="55581" y="237947"/>
                  </a:lnTo>
                  <a:lnTo>
                    <a:pt x="35631" y="230711"/>
                  </a:lnTo>
                  <a:lnTo>
                    <a:pt x="18405" y="221164"/>
                  </a:lnTo>
                  <a:lnTo>
                    <a:pt x="7365" y="216682"/>
                  </a:lnTo>
                  <a:lnTo>
                    <a:pt x="298" y="219484"/>
                  </a:lnTo>
                  <a:lnTo>
                    <a:pt x="0" y="228540"/>
                  </a:lnTo>
                  <a:lnTo>
                    <a:pt x="9261" y="242817"/>
                  </a:lnTo>
                  <a:lnTo>
                    <a:pt x="29217" y="257273"/>
                  </a:lnTo>
                  <a:lnTo>
                    <a:pt x="60538" y="269832"/>
                  </a:lnTo>
                  <a:lnTo>
                    <a:pt x="97955" y="275802"/>
                  </a:lnTo>
                  <a:lnTo>
                    <a:pt x="136198" y="270490"/>
                  </a:lnTo>
                  <a:lnTo>
                    <a:pt x="172388" y="253980"/>
                  </a:lnTo>
                  <a:lnTo>
                    <a:pt x="205365" y="230304"/>
                  </a:lnTo>
                  <a:lnTo>
                    <a:pt x="232413" y="200700"/>
                  </a:lnTo>
                  <a:lnTo>
                    <a:pt x="250815" y="166401"/>
                  </a:lnTo>
                  <a:lnTo>
                    <a:pt x="258451" y="127087"/>
                  </a:lnTo>
                  <a:lnTo>
                    <a:pt x="255872" y="85755"/>
                  </a:lnTo>
                  <a:lnTo>
                    <a:pt x="244398" y="48620"/>
                  </a:lnTo>
                  <a:lnTo>
                    <a:pt x="225352" y="21901"/>
                  </a:lnTo>
                  <a:lnTo>
                    <a:pt x="203650" y="6607"/>
                  </a:lnTo>
                  <a:lnTo>
                    <a:pt x="186807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" name="object 35">
              <a:extLst>
                <a:ext uri="{FF2B5EF4-FFF2-40B4-BE49-F238E27FC236}">
                  <a16:creationId xmlns:a16="http://schemas.microsoft.com/office/drawing/2014/main" id="{A39E3F3F-EDBC-4085-AC93-E2DD83E1870C}"/>
                </a:ext>
              </a:extLst>
            </p:cNvPr>
            <p:cNvSpPr/>
            <p:nvPr/>
          </p:nvSpPr>
          <p:spPr>
            <a:xfrm>
              <a:off x="7948596" y="6175211"/>
              <a:ext cx="254635" cy="273050"/>
            </a:xfrm>
            <a:custGeom>
              <a:avLst/>
              <a:gdLst/>
              <a:ahLst/>
              <a:cxnLst/>
              <a:rect l="l" t="t" r="r" b="b"/>
              <a:pathLst>
                <a:path w="254634" h="273050">
                  <a:moveTo>
                    <a:pt x="184659" y="0"/>
                  </a:moveTo>
                  <a:lnTo>
                    <a:pt x="178113" y="2448"/>
                  </a:lnTo>
                  <a:lnTo>
                    <a:pt x="186161" y="14508"/>
                  </a:lnTo>
                  <a:lnTo>
                    <a:pt x="202190" y="34373"/>
                  </a:lnTo>
                  <a:lnTo>
                    <a:pt x="214892" y="57534"/>
                  </a:lnTo>
                  <a:lnTo>
                    <a:pt x="223255" y="82139"/>
                  </a:lnTo>
                  <a:lnTo>
                    <a:pt x="226268" y="106341"/>
                  </a:lnTo>
                  <a:lnTo>
                    <a:pt x="225102" y="129725"/>
                  </a:lnTo>
                  <a:lnTo>
                    <a:pt x="208110" y="177797"/>
                  </a:lnTo>
                  <a:lnTo>
                    <a:pt x="160610" y="224328"/>
                  </a:lnTo>
                  <a:lnTo>
                    <a:pt x="111271" y="241319"/>
                  </a:lnTo>
                  <a:lnTo>
                    <a:pt x="91876" y="242485"/>
                  </a:lnTo>
                  <a:lnTo>
                    <a:pt x="73509" y="240958"/>
                  </a:lnTo>
                  <a:lnTo>
                    <a:pt x="53643" y="236593"/>
                  </a:lnTo>
                  <a:lnTo>
                    <a:pt x="34359" y="229712"/>
                  </a:lnTo>
                  <a:lnTo>
                    <a:pt x="17734" y="220641"/>
                  </a:lnTo>
                  <a:lnTo>
                    <a:pt x="7068" y="216377"/>
                  </a:lnTo>
                  <a:lnTo>
                    <a:pt x="271" y="219032"/>
                  </a:lnTo>
                  <a:lnTo>
                    <a:pt x="0" y="227635"/>
                  </a:lnTo>
                  <a:lnTo>
                    <a:pt x="8907" y="241215"/>
                  </a:lnTo>
                  <a:lnTo>
                    <a:pt x="28488" y="255093"/>
                  </a:lnTo>
                  <a:lnTo>
                    <a:pt x="59037" y="267077"/>
                  </a:lnTo>
                  <a:lnTo>
                    <a:pt x="95582" y="272668"/>
                  </a:lnTo>
                  <a:lnTo>
                    <a:pt x="133151" y="267365"/>
                  </a:lnTo>
                  <a:lnTo>
                    <a:pt x="169112" y="251014"/>
                  </a:lnTo>
                  <a:lnTo>
                    <a:pt x="201697" y="227517"/>
                  </a:lnTo>
                  <a:lnTo>
                    <a:pt x="228342" y="198140"/>
                  </a:lnTo>
                  <a:lnTo>
                    <a:pt x="246486" y="164152"/>
                  </a:lnTo>
                  <a:lnTo>
                    <a:pt x="254078" y="125143"/>
                  </a:lnTo>
                  <a:lnTo>
                    <a:pt x="251546" y="84313"/>
                  </a:lnTo>
                  <a:lnTo>
                    <a:pt x="240305" y="47741"/>
                  </a:lnTo>
                  <a:lnTo>
                    <a:pt x="221772" y="21505"/>
                  </a:lnTo>
                  <a:lnTo>
                    <a:pt x="200860" y="6555"/>
                  </a:lnTo>
                  <a:lnTo>
                    <a:pt x="184659" y="0"/>
                  </a:lnTo>
                  <a:close/>
                </a:path>
              </a:pathLst>
            </a:custGeom>
            <a:solidFill>
              <a:srgbClr val="0068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" name="object 36">
              <a:extLst>
                <a:ext uri="{FF2B5EF4-FFF2-40B4-BE49-F238E27FC236}">
                  <a16:creationId xmlns:a16="http://schemas.microsoft.com/office/drawing/2014/main" id="{ACCC80E6-587F-479B-A367-D4D90F4E3D77}"/>
                </a:ext>
              </a:extLst>
            </p:cNvPr>
            <p:cNvSpPr/>
            <p:nvPr/>
          </p:nvSpPr>
          <p:spPr>
            <a:xfrm>
              <a:off x="7951630" y="6176861"/>
              <a:ext cx="250190" cy="269875"/>
            </a:xfrm>
            <a:custGeom>
              <a:avLst/>
              <a:gdLst/>
              <a:ahLst/>
              <a:cxnLst/>
              <a:rect l="l" t="t" r="r" b="b"/>
              <a:pathLst>
                <a:path w="250190" h="269875">
                  <a:moveTo>
                    <a:pt x="182509" y="0"/>
                  </a:moveTo>
                  <a:lnTo>
                    <a:pt x="176207" y="2194"/>
                  </a:lnTo>
                  <a:lnTo>
                    <a:pt x="183859" y="13689"/>
                  </a:lnTo>
                  <a:lnTo>
                    <a:pt x="199526" y="33322"/>
                  </a:lnTo>
                  <a:lnTo>
                    <a:pt x="212002" y="56207"/>
                  </a:lnTo>
                  <a:lnTo>
                    <a:pt x="220249" y="80584"/>
                  </a:lnTo>
                  <a:lnTo>
                    <a:pt x="223229" y="104697"/>
                  </a:lnTo>
                  <a:lnTo>
                    <a:pt x="222063" y="128073"/>
                  </a:lnTo>
                  <a:lnTo>
                    <a:pt x="205071" y="176145"/>
                  </a:lnTo>
                  <a:lnTo>
                    <a:pt x="157578" y="222683"/>
                  </a:lnTo>
                  <a:lnTo>
                    <a:pt x="108239" y="239674"/>
                  </a:lnTo>
                  <a:lnTo>
                    <a:pt x="88837" y="240841"/>
                  </a:lnTo>
                  <a:lnTo>
                    <a:pt x="70941" y="239388"/>
                  </a:lnTo>
                  <a:lnTo>
                    <a:pt x="51695" y="235240"/>
                  </a:lnTo>
                  <a:lnTo>
                    <a:pt x="33075" y="228711"/>
                  </a:lnTo>
                  <a:lnTo>
                    <a:pt x="17057" y="220114"/>
                  </a:lnTo>
                  <a:lnTo>
                    <a:pt x="6766" y="216070"/>
                  </a:lnTo>
                  <a:lnTo>
                    <a:pt x="241" y="218574"/>
                  </a:lnTo>
                  <a:lnTo>
                    <a:pt x="0" y="226722"/>
                  </a:lnTo>
                  <a:lnTo>
                    <a:pt x="8561" y="239609"/>
                  </a:lnTo>
                  <a:lnTo>
                    <a:pt x="27762" y="252913"/>
                  </a:lnTo>
                  <a:lnTo>
                    <a:pt x="57541" y="264328"/>
                  </a:lnTo>
                  <a:lnTo>
                    <a:pt x="93221" y="269539"/>
                  </a:lnTo>
                  <a:lnTo>
                    <a:pt x="130125" y="264234"/>
                  </a:lnTo>
                  <a:lnTo>
                    <a:pt x="165850" y="248042"/>
                  </a:lnTo>
                  <a:lnTo>
                    <a:pt x="198037" y="224720"/>
                  </a:lnTo>
                  <a:lnTo>
                    <a:pt x="224278" y="195570"/>
                  </a:lnTo>
                  <a:lnTo>
                    <a:pt x="242164" y="161898"/>
                  </a:lnTo>
                  <a:lnTo>
                    <a:pt x="249706" y="123195"/>
                  </a:lnTo>
                  <a:lnTo>
                    <a:pt x="247219" y="82867"/>
                  </a:lnTo>
                  <a:lnTo>
                    <a:pt x="236217" y="46856"/>
                  </a:lnTo>
                  <a:lnTo>
                    <a:pt x="218212" y="21105"/>
                  </a:lnTo>
                  <a:lnTo>
                    <a:pt x="198075" y="6504"/>
                  </a:lnTo>
                  <a:lnTo>
                    <a:pt x="182509" y="0"/>
                  </a:lnTo>
                  <a:close/>
                </a:path>
              </a:pathLst>
            </a:custGeom>
            <a:solidFill>
              <a:srgbClr val="0067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" name="object 37">
              <a:extLst>
                <a:ext uri="{FF2B5EF4-FFF2-40B4-BE49-F238E27FC236}">
                  <a16:creationId xmlns:a16="http://schemas.microsoft.com/office/drawing/2014/main" id="{8FEAAF72-B8DF-481A-BD26-78A1010EDD41}"/>
                </a:ext>
              </a:extLst>
            </p:cNvPr>
            <p:cNvSpPr/>
            <p:nvPr/>
          </p:nvSpPr>
          <p:spPr>
            <a:xfrm>
              <a:off x="7954660" y="6178510"/>
              <a:ext cx="245745" cy="266700"/>
            </a:xfrm>
            <a:custGeom>
              <a:avLst/>
              <a:gdLst/>
              <a:ahLst/>
              <a:cxnLst/>
              <a:rect l="l" t="t" r="r" b="b"/>
              <a:pathLst>
                <a:path w="245745" h="266700">
                  <a:moveTo>
                    <a:pt x="180365" y="0"/>
                  </a:moveTo>
                  <a:lnTo>
                    <a:pt x="174312" y="1945"/>
                  </a:lnTo>
                  <a:lnTo>
                    <a:pt x="181580" y="12876"/>
                  </a:lnTo>
                  <a:lnTo>
                    <a:pt x="196883" y="32273"/>
                  </a:lnTo>
                  <a:lnTo>
                    <a:pt x="209129" y="54884"/>
                  </a:lnTo>
                  <a:lnTo>
                    <a:pt x="217256" y="79034"/>
                  </a:lnTo>
                  <a:lnTo>
                    <a:pt x="220200" y="103046"/>
                  </a:lnTo>
                  <a:lnTo>
                    <a:pt x="219034" y="126424"/>
                  </a:lnTo>
                  <a:lnTo>
                    <a:pt x="202043" y="174499"/>
                  </a:lnTo>
                  <a:lnTo>
                    <a:pt x="154550" y="221032"/>
                  </a:lnTo>
                  <a:lnTo>
                    <a:pt x="105211" y="238023"/>
                  </a:lnTo>
                  <a:lnTo>
                    <a:pt x="85809" y="239190"/>
                  </a:lnTo>
                  <a:lnTo>
                    <a:pt x="68383" y="237812"/>
                  </a:lnTo>
                  <a:lnTo>
                    <a:pt x="49757" y="233881"/>
                  </a:lnTo>
                  <a:lnTo>
                    <a:pt x="31802" y="227703"/>
                  </a:lnTo>
                  <a:lnTo>
                    <a:pt x="16391" y="219581"/>
                  </a:lnTo>
                  <a:lnTo>
                    <a:pt x="6473" y="215761"/>
                  </a:lnTo>
                  <a:lnTo>
                    <a:pt x="214" y="218122"/>
                  </a:lnTo>
                  <a:lnTo>
                    <a:pt x="0" y="225819"/>
                  </a:lnTo>
                  <a:lnTo>
                    <a:pt x="8212" y="238009"/>
                  </a:lnTo>
                  <a:lnTo>
                    <a:pt x="27045" y="250730"/>
                  </a:lnTo>
                  <a:lnTo>
                    <a:pt x="56051" y="261569"/>
                  </a:lnTo>
                  <a:lnTo>
                    <a:pt x="90856" y="266400"/>
                  </a:lnTo>
                  <a:lnTo>
                    <a:pt x="127084" y="261097"/>
                  </a:lnTo>
                  <a:lnTo>
                    <a:pt x="162580" y="245066"/>
                  </a:lnTo>
                  <a:lnTo>
                    <a:pt x="194373" y="221922"/>
                  </a:lnTo>
                  <a:lnTo>
                    <a:pt x="220212" y="193005"/>
                  </a:lnTo>
                  <a:lnTo>
                    <a:pt x="245333" y="121253"/>
                  </a:lnTo>
                  <a:lnTo>
                    <a:pt x="242895" y="81426"/>
                  </a:lnTo>
                  <a:lnTo>
                    <a:pt x="232133" y="45973"/>
                  </a:lnTo>
                  <a:lnTo>
                    <a:pt x="214651" y="20699"/>
                  </a:lnTo>
                  <a:lnTo>
                    <a:pt x="195294" y="6448"/>
                  </a:lnTo>
                  <a:lnTo>
                    <a:pt x="180365" y="0"/>
                  </a:lnTo>
                  <a:close/>
                </a:path>
              </a:pathLst>
            </a:custGeom>
            <a:solidFill>
              <a:srgbClr val="0165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" name="object 38">
              <a:extLst>
                <a:ext uri="{FF2B5EF4-FFF2-40B4-BE49-F238E27FC236}">
                  <a16:creationId xmlns:a16="http://schemas.microsoft.com/office/drawing/2014/main" id="{A7AE23E0-6835-41EB-B97C-BA7BADE85B5F}"/>
                </a:ext>
              </a:extLst>
            </p:cNvPr>
            <p:cNvSpPr/>
            <p:nvPr/>
          </p:nvSpPr>
          <p:spPr>
            <a:xfrm>
              <a:off x="7957696" y="6180153"/>
              <a:ext cx="241300" cy="263525"/>
            </a:xfrm>
            <a:custGeom>
              <a:avLst/>
              <a:gdLst/>
              <a:ahLst/>
              <a:cxnLst/>
              <a:rect l="l" t="t" r="r" b="b"/>
              <a:pathLst>
                <a:path w="241300" h="263525">
                  <a:moveTo>
                    <a:pt x="178218" y="0"/>
                  </a:moveTo>
                  <a:lnTo>
                    <a:pt x="172406" y="1690"/>
                  </a:lnTo>
                  <a:lnTo>
                    <a:pt x="179275" y="12055"/>
                  </a:lnTo>
                  <a:lnTo>
                    <a:pt x="194223" y="31226"/>
                  </a:lnTo>
                  <a:lnTo>
                    <a:pt x="206242" y="53565"/>
                  </a:lnTo>
                  <a:lnTo>
                    <a:pt x="214249" y="77485"/>
                  </a:lnTo>
                  <a:lnTo>
                    <a:pt x="217160" y="101399"/>
                  </a:lnTo>
                  <a:lnTo>
                    <a:pt x="215994" y="124783"/>
                  </a:lnTo>
                  <a:lnTo>
                    <a:pt x="199007" y="172855"/>
                  </a:lnTo>
                  <a:lnTo>
                    <a:pt x="151514" y="219386"/>
                  </a:lnTo>
                  <a:lnTo>
                    <a:pt x="102170" y="236377"/>
                  </a:lnTo>
                  <a:lnTo>
                    <a:pt x="82768" y="237543"/>
                  </a:lnTo>
                  <a:lnTo>
                    <a:pt x="65813" y="236242"/>
                  </a:lnTo>
                  <a:lnTo>
                    <a:pt x="47807" y="232533"/>
                  </a:lnTo>
                  <a:lnTo>
                    <a:pt x="30517" y="226710"/>
                  </a:lnTo>
                  <a:lnTo>
                    <a:pt x="15712" y="219065"/>
                  </a:lnTo>
                  <a:lnTo>
                    <a:pt x="6176" y="215462"/>
                  </a:lnTo>
                  <a:lnTo>
                    <a:pt x="190" y="217676"/>
                  </a:lnTo>
                  <a:lnTo>
                    <a:pt x="0" y="224921"/>
                  </a:lnTo>
                  <a:lnTo>
                    <a:pt x="7851" y="236413"/>
                  </a:lnTo>
                  <a:lnTo>
                    <a:pt x="26310" y="248557"/>
                  </a:lnTo>
                  <a:lnTo>
                    <a:pt x="54547" y="258821"/>
                  </a:lnTo>
                  <a:lnTo>
                    <a:pt x="88488" y="263272"/>
                  </a:lnTo>
                  <a:lnTo>
                    <a:pt x="124056" y="257978"/>
                  </a:lnTo>
                  <a:lnTo>
                    <a:pt x="159313" y="242105"/>
                  </a:lnTo>
                  <a:lnTo>
                    <a:pt x="190705" y="219136"/>
                  </a:lnTo>
                  <a:lnTo>
                    <a:pt x="216135" y="190446"/>
                  </a:lnTo>
                  <a:lnTo>
                    <a:pt x="240959" y="119310"/>
                  </a:lnTo>
                  <a:lnTo>
                    <a:pt x="238570" y="79986"/>
                  </a:lnTo>
                  <a:lnTo>
                    <a:pt x="228045" y="45098"/>
                  </a:lnTo>
                  <a:lnTo>
                    <a:pt x="211089" y="20310"/>
                  </a:lnTo>
                  <a:lnTo>
                    <a:pt x="192513" y="6401"/>
                  </a:lnTo>
                  <a:lnTo>
                    <a:pt x="178218" y="0"/>
                  </a:lnTo>
                  <a:close/>
                </a:path>
              </a:pathLst>
            </a:custGeom>
            <a:solidFill>
              <a:srgbClr val="00633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" name="object 39">
              <a:extLst>
                <a:ext uri="{FF2B5EF4-FFF2-40B4-BE49-F238E27FC236}">
                  <a16:creationId xmlns:a16="http://schemas.microsoft.com/office/drawing/2014/main" id="{2982961C-661A-4E0D-84D6-5F2344539FA6}"/>
                </a:ext>
              </a:extLst>
            </p:cNvPr>
            <p:cNvSpPr/>
            <p:nvPr/>
          </p:nvSpPr>
          <p:spPr>
            <a:xfrm>
              <a:off x="7960727" y="6181803"/>
              <a:ext cx="236854" cy="260350"/>
            </a:xfrm>
            <a:custGeom>
              <a:avLst/>
              <a:gdLst/>
              <a:ahLst/>
              <a:cxnLst/>
              <a:rect l="l" t="t" r="r" b="b"/>
              <a:pathLst>
                <a:path w="236854" h="260350">
                  <a:moveTo>
                    <a:pt x="176074" y="0"/>
                  </a:moveTo>
                  <a:lnTo>
                    <a:pt x="170507" y="1439"/>
                  </a:lnTo>
                  <a:lnTo>
                    <a:pt x="176986" y="11241"/>
                  </a:lnTo>
                  <a:lnTo>
                    <a:pt x="191571" y="30174"/>
                  </a:lnTo>
                  <a:lnTo>
                    <a:pt x="203365" y="52236"/>
                  </a:lnTo>
                  <a:lnTo>
                    <a:pt x="211256" y="75927"/>
                  </a:lnTo>
                  <a:lnTo>
                    <a:pt x="214133" y="99747"/>
                  </a:lnTo>
                  <a:lnTo>
                    <a:pt x="212967" y="123131"/>
                  </a:lnTo>
                  <a:lnTo>
                    <a:pt x="195975" y="171208"/>
                  </a:lnTo>
                  <a:lnTo>
                    <a:pt x="148482" y="217746"/>
                  </a:lnTo>
                  <a:lnTo>
                    <a:pt x="99144" y="234737"/>
                  </a:lnTo>
                  <a:lnTo>
                    <a:pt x="79742" y="235904"/>
                  </a:lnTo>
                  <a:lnTo>
                    <a:pt x="63252" y="234675"/>
                  </a:lnTo>
                  <a:lnTo>
                    <a:pt x="45866" y="231181"/>
                  </a:lnTo>
                  <a:lnTo>
                    <a:pt x="29244" y="225708"/>
                  </a:lnTo>
                  <a:lnTo>
                    <a:pt x="15048" y="218543"/>
                  </a:lnTo>
                  <a:lnTo>
                    <a:pt x="5879" y="215157"/>
                  </a:lnTo>
                  <a:lnTo>
                    <a:pt x="160" y="217223"/>
                  </a:lnTo>
                  <a:lnTo>
                    <a:pt x="0" y="224017"/>
                  </a:lnTo>
                  <a:lnTo>
                    <a:pt x="7504" y="234811"/>
                  </a:lnTo>
                  <a:lnTo>
                    <a:pt x="25589" y="246380"/>
                  </a:lnTo>
                  <a:lnTo>
                    <a:pt x="53056" y="256071"/>
                  </a:lnTo>
                  <a:lnTo>
                    <a:pt x="86128" y="260143"/>
                  </a:lnTo>
                  <a:lnTo>
                    <a:pt x="121029" y="254852"/>
                  </a:lnTo>
                  <a:lnTo>
                    <a:pt x="156056" y="239137"/>
                  </a:lnTo>
                  <a:lnTo>
                    <a:pt x="187050" y="216344"/>
                  </a:lnTo>
                  <a:lnTo>
                    <a:pt x="229183" y="155157"/>
                  </a:lnTo>
                  <a:lnTo>
                    <a:pt x="236592" y="117364"/>
                  </a:lnTo>
                  <a:lnTo>
                    <a:pt x="234248" y="78539"/>
                  </a:lnTo>
                  <a:lnTo>
                    <a:pt x="223959" y="44213"/>
                  </a:lnTo>
                  <a:lnTo>
                    <a:pt x="207529" y="19915"/>
                  </a:lnTo>
                  <a:lnTo>
                    <a:pt x="189734" y="6349"/>
                  </a:lnTo>
                  <a:lnTo>
                    <a:pt x="176074" y="0"/>
                  </a:lnTo>
                  <a:close/>
                </a:path>
              </a:pathLst>
            </a:custGeom>
            <a:solidFill>
              <a:srgbClr val="00603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" name="object 40">
              <a:extLst>
                <a:ext uri="{FF2B5EF4-FFF2-40B4-BE49-F238E27FC236}">
                  <a16:creationId xmlns:a16="http://schemas.microsoft.com/office/drawing/2014/main" id="{6B5B0923-3AFC-4B60-8D6E-96FE065B5A85}"/>
                </a:ext>
              </a:extLst>
            </p:cNvPr>
            <p:cNvSpPr/>
            <p:nvPr/>
          </p:nvSpPr>
          <p:spPr>
            <a:xfrm>
              <a:off x="7963761" y="6183450"/>
              <a:ext cx="232410" cy="257175"/>
            </a:xfrm>
            <a:custGeom>
              <a:avLst/>
              <a:gdLst/>
              <a:ahLst/>
              <a:cxnLst/>
              <a:rect l="l" t="t" r="r" b="b"/>
              <a:pathLst>
                <a:path w="232409" h="257175">
                  <a:moveTo>
                    <a:pt x="173928" y="0"/>
                  </a:moveTo>
                  <a:lnTo>
                    <a:pt x="168609" y="1190"/>
                  </a:lnTo>
                  <a:lnTo>
                    <a:pt x="174699" y="10428"/>
                  </a:lnTo>
                  <a:lnTo>
                    <a:pt x="188922" y="29129"/>
                  </a:lnTo>
                  <a:lnTo>
                    <a:pt x="200485" y="50915"/>
                  </a:lnTo>
                  <a:lnTo>
                    <a:pt x="208255" y="74379"/>
                  </a:lnTo>
                  <a:lnTo>
                    <a:pt x="211098" y="98109"/>
                  </a:lnTo>
                  <a:lnTo>
                    <a:pt x="209931" y="121485"/>
                  </a:lnTo>
                  <a:lnTo>
                    <a:pt x="192940" y="169557"/>
                  </a:lnTo>
                  <a:lnTo>
                    <a:pt x="145447" y="216095"/>
                  </a:lnTo>
                  <a:lnTo>
                    <a:pt x="96108" y="233086"/>
                  </a:lnTo>
                  <a:lnTo>
                    <a:pt x="76706" y="234253"/>
                  </a:lnTo>
                  <a:lnTo>
                    <a:pt x="60687" y="233101"/>
                  </a:lnTo>
                  <a:lnTo>
                    <a:pt x="43921" y="229828"/>
                  </a:lnTo>
                  <a:lnTo>
                    <a:pt x="27964" y="224710"/>
                  </a:lnTo>
                  <a:lnTo>
                    <a:pt x="14375" y="218022"/>
                  </a:lnTo>
                  <a:lnTo>
                    <a:pt x="5586" y="214852"/>
                  </a:lnTo>
                  <a:lnTo>
                    <a:pt x="136" y="216768"/>
                  </a:lnTo>
                  <a:lnTo>
                    <a:pt x="0" y="223108"/>
                  </a:lnTo>
                  <a:lnTo>
                    <a:pt x="7148" y="233211"/>
                  </a:lnTo>
                  <a:lnTo>
                    <a:pt x="24859" y="244202"/>
                  </a:lnTo>
                  <a:lnTo>
                    <a:pt x="51555" y="253318"/>
                  </a:lnTo>
                  <a:lnTo>
                    <a:pt x="83760" y="257011"/>
                  </a:lnTo>
                  <a:lnTo>
                    <a:pt x="117994" y="251728"/>
                  </a:lnTo>
                  <a:lnTo>
                    <a:pt x="152785" y="236168"/>
                  </a:lnTo>
                  <a:lnTo>
                    <a:pt x="208005" y="185321"/>
                  </a:lnTo>
                  <a:lnTo>
                    <a:pt x="232217" y="115422"/>
                  </a:lnTo>
                  <a:lnTo>
                    <a:pt x="229922" y="77098"/>
                  </a:lnTo>
                  <a:lnTo>
                    <a:pt x="219869" y="43329"/>
                  </a:lnTo>
                  <a:lnTo>
                    <a:pt x="203960" y="19508"/>
                  </a:lnTo>
                  <a:lnTo>
                    <a:pt x="186947" y="6293"/>
                  </a:lnTo>
                  <a:lnTo>
                    <a:pt x="173928" y="0"/>
                  </a:lnTo>
                  <a:close/>
                </a:path>
              </a:pathLst>
            </a:custGeom>
            <a:solidFill>
              <a:srgbClr val="005F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48" name="object 41">
              <a:extLst>
                <a:ext uri="{FF2B5EF4-FFF2-40B4-BE49-F238E27FC236}">
                  <a16:creationId xmlns:a16="http://schemas.microsoft.com/office/drawing/2014/main" id="{63A1D5D8-3084-450A-8F8D-B585D14A7EB5}"/>
                </a:ext>
              </a:extLst>
            </p:cNvPr>
            <p:cNvPicPr/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66797" y="6185101"/>
              <a:ext cx="227845" cy="253882"/>
            </a:xfrm>
            <a:prstGeom prst="rect">
              <a:avLst/>
            </a:prstGeom>
          </p:spPr>
        </p:pic>
        <p:sp>
          <p:nvSpPr>
            <p:cNvPr id="49" name="object 42">
              <a:extLst>
                <a:ext uri="{FF2B5EF4-FFF2-40B4-BE49-F238E27FC236}">
                  <a16:creationId xmlns:a16="http://schemas.microsoft.com/office/drawing/2014/main" id="{FD164766-AAC4-4A7C-ACA8-8635FE0AF4D2}"/>
                </a:ext>
              </a:extLst>
            </p:cNvPr>
            <p:cNvSpPr/>
            <p:nvPr/>
          </p:nvSpPr>
          <p:spPr>
            <a:xfrm>
              <a:off x="7881542" y="6272504"/>
              <a:ext cx="8890" cy="8890"/>
            </a:xfrm>
            <a:custGeom>
              <a:avLst/>
              <a:gdLst/>
              <a:ahLst/>
              <a:cxnLst/>
              <a:rect l="l" t="t" r="r" b="b"/>
              <a:pathLst>
                <a:path w="8890" h="8890">
                  <a:moveTo>
                    <a:pt x="6515" y="0"/>
                  </a:moveTo>
                  <a:lnTo>
                    <a:pt x="1917" y="0"/>
                  </a:lnTo>
                  <a:lnTo>
                    <a:pt x="0" y="1917"/>
                  </a:lnTo>
                  <a:lnTo>
                    <a:pt x="0" y="6515"/>
                  </a:lnTo>
                  <a:lnTo>
                    <a:pt x="1917" y="8432"/>
                  </a:lnTo>
                  <a:lnTo>
                    <a:pt x="4216" y="8432"/>
                  </a:lnTo>
                  <a:lnTo>
                    <a:pt x="6515" y="8432"/>
                  </a:lnTo>
                  <a:lnTo>
                    <a:pt x="8432" y="6515"/>
                  </a:lnTo>
                  <a:lnTo>
                    <a:pt x="8432" y="1917"/>
                  </a:lnTo>
                  <a:lnTo>
                    <a:pt x="6515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" name="object 43">
              <a:extLst>
                <a:ext uri="{FF2B5EF4-FFF2-40B4-BE49-F238E27FC236}">
                  <a16:creationId xmlns:a16="http://schemas.microsoft.com/office/drawing/2014/main" id="{95AFC1F6-4602-49C5-A785-5F29DB0F9095}"/>
                </a:ext>
              </a:extLst>
            </p:cNvPr>
            <p:cNvSpPr/>
            <p:nvPr/>
          </p:nvSpPr>
          <p:spPr>
            <a:xfrm>
              <a:off x="7881628" y="6272634"/>
              <a:ext cx="8255" cy="8255"/>
            </a:xfrm>
            <a:custGeom>
              <a:avLst/>
              <a:gdLst/>
              <a:ahLst/>
              <a:cxnLst/>
              <a:rect l="l" t="t" r="r" b="b"/>
              <a:pathLst>
                <a:path w="8254" h="8254">
                  <a:moveTo>
                    <a:pt x="6324" y="0"/>
                  </a:moveTo>
                  <a:lnTo>
                    <a:pt x="1854" y="0"/>
                  </a:lnTo>
                  <a:lnTo>
                    <a:pt x="0" y="1841"/>
                  </a:lnTo>
                  <a:lnTo>
                    <a:pt x="0" y="6324"/>
                  </a:lnTo>
                  <a:lnTo>
                    <a:pt x="1854" y="8178"/>
                  </a:lnTo>
                  <a:lnTo>
                    <a:pt x="4089" y="8178"/>
                  </a:lnTo>
                  <a:lnTo>
                    <a:pt x="6324" y="8178"/>
                  </a:lnTo>
                  <a:lnTo>
                    <a:pt x="8178" y="6324"/>
                  </a:lnTo>
                  <a:lnTo>
                    <a:pt x="8178" y="1841"/>
                  </a:lnTo>
                  <a:lnTo>
                    <a:pt x="6324" y="0"/>
                  </a:lnTo>
                  <a:close/>
                </a:path>
              </a:pathLst>
            </a:custGeom>
            <a:solidFill>
              <a:srgbClr val="7365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" name="object 44">
              <a:extLst>
                <a:ext uri="{FF2B5EF4-FFF2-40B4-BE49-F238E27FC236}">
                  <a16:creationId xmlns:a16="http://schemas.microsoft.com/office/drawing/2014/main" id="{98B853DC-480C-43D3-8AC6-6F4101E9A6F8}"/>
                </a:ext>
              </a:extLst>
            </p:cNvPr>
            <p:cNvSpPr/>
            <p:nvPr/>
          </p:nvSpPr>
          <p:spPr>
            <a:xfrm>
              <a:off x="7881697" y="6272756"/>
              <a:ext cx="8255" cy="8255"/>
            </a:xfrm>
            <a:custGeom>
              <a:avLst/>
              <a:gdLst/>
              <a:ahLst/>
              <a:cxnLst/>
              <a:rect l="l" t="t" r="r" b="b"/>
              <a:pathLst>
                <a:path w="8254" h="8254">
                  <a:moveTo>
                    <a:pt x="6146" y="0"/>
                  </a:moveTo>
                  <a:lnTo>
                    <a:pt x="1803" y="0"/>
                  </a:lnTo>
                  <a:lnTo>
                    <a:pt x="0" y="1790"/>
                  </a:lnTo>
                  <a:lnTo>
                    <a:pt x="0" y="6134"/>
                  </a:lnTo>
                  <a:lnTo>
                    <a:pt x="1803" y="7924"/>
                  </a:lnTo>
                  <a:lnTo>
                    <a:pt x="3975" y="7924"/>
                  </a:lnTo>
                  <a:lnTo>
                    <a:pt x="6146" y="7924"/>
                  </a:lnTo>
                  <a:lnTo>
                    <a:pt x="7950" y="6134"/>
                  </a:lnTo>
                  <a:lnTo>
                    <a:pt x="7950" y="1790"/>
                  </a:lnTo>
                  <a:lnTo>
                    <a:pt x="6146" y="0"/>
                  </a:lnTo>
                  <a:close/>
                </a:path>
              </a:pathLst>
            </a:custGeom>
            <a:solidFill>
              <a:srgbClr val="7F70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" name="object 45">
              <a:extLst>
                <a:ext uri="{FF2B5EF4-FFF2-40B4-BE49-F238E27FC236}">
                  <a16:creationId xmlns:a16="http://schemas.microsoft.com/office/drawing/2014/main" id="{CD9FD18A-0B1D-4E3C-A9AD-7D84F3B8DA61}"/>
                </a:ext>
              </a:extLst>
            </p:cNvPr>
            <p:cNvSpPr/>
            <p:nvPr/>
          </p:nvSpPr>
          <p:spPr>
            <a:xfrm>
              <a:off x="7881780" y="6272866"/>
              <a:ext cx="8255" cy="8255"/>
            </a:xfrm>
            <a:custGeom>
              <a:avLst/>
              <a:gdLst/>
              <a:ahLst/>
              <a:cxnLst/>
              <a:rect l="l" t="t" r="r" b="b"/>
              <a:pathLst>
                <a:path w="8254" h="8254">
                  <a:moveTo>
                    <a:pt x="5956" y="0"/>
                  </a:moveTo>
                  <a:lnTo>
                    <a:pt x="1739" y="0"/>
                  </a:lnTo>
                  <a:lnTo>
                    <a:pt x="0" y="1752"/>
                  </a:lnTo>
                  <a:lnTo>
                    <a:pt x="0" y="5956"/>
                  </a:lnTo>
                  <a:lnTo>
                    <a:pt x="1739" y="7696"/>
                  </a:lnTo>
                  <a:lnTo>
                    <a:pt x="3848" y="7696"/>
                  </a:lnTo>
                  <a:lnTo>
                    <a:pt x="5956" y="7696"/>
                  </a:lnTo>
                  <a:lnTo>
                    <a:pt x="7696" y="5956"/>
                  </a:lnTo>
                  <a:lnTo>
                    <a:pt x="7696" y="1752"/>
                  </a:lnTo>
                  <a:lnTo>
                    <a:pt x="5956" y="0"/>
                  </a:lnTo>
                  <a:close/>
                </a:path>
              </a:pathLst>
            </a:custGeom>
            <a:solidFill>
              <a:srgbClr val="8B78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" name="object 46">
              <a:extLst>
                <a:ext uri="{FF2B5EF4-FFF2-40B4-BE49-F238E27FC236}">
                  <a16:creationId xmlns:a16="http://schemas.microsoft.com/office/drawing/2014/main" id="{DED669F6-8C76-4594-B839-CA2E5AB5BCB1}"/>
                </a:ext>
              </a:extLst>
            </p:cNvPr>
            <p:cNvSpPr/>
            <p:nvPr/>
          </p:nvSpPr>
          <p:spPr>
            <a:xfrm>
              <a:off x="7881853" y="6272980"/>
              <a:ext cx="7620" cy="7620"/>
            </a:xfrm>
            <a:custGeom>
              <a:avLst/>
              <a:gdLst/>
              <a:ahLst/>
              <a:cxnLst/>
              <a:rect l="l" t="t" r="r" b="b"/>
              <a:pathLst>
                <a:path w="7620" h="7620">
                  <a:moveTo>
                    <a:pt x="5765" y="0"/>
                  </a:moveTo>
                  <a:lnTo>
                    <a:pt x="1701" y="0"/>
                  </a:lnTo>
                  <a:lnTo>
                    <a:pt x="0" y="1701"/>
                  </a:lnTo>
                  <a:lnTo>
                    <a:pt x="0" y="5765"/>
                  </a:lnTo>
                  <a:lnTo>
                    <a:pt x="1701" y="7454"/>
                  </a:lnTo>
                  <a:lnTo>
                    <a:pt x="3733" y="7454"/>
                  </a:lnTo>
                  <a:lnTo>
                    <a:pt x="5765" y="7454"/>
                  </a:lnTo>
                  <a:lnTo>
                    <a:pt x="7454" y="5765"/>
                  </a:lnTo>
                  <a:lnTo>
                    <a:pt x="7454" y="1701"/>
                  </a:lnTo>
                  <a:lnTo>
                    <a:pt x="5765" y="0"/>
                  </a:lnTo>
                  <a:close/>
                </a:path>
              </a:pathLst>
            </a:custGeom>
            <a:solidFill>
              <a:srgbClr val="9883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object 47">
              <a:extLst>
                <a:ext uri="{FF2B5EF4-FFF2-40B4-BE49-F238E27FC236}">
                  <a16:creationId xmlns:a16="http://schemas.microsoft.com/office/drawing/2014/main" id="{175011BE-520D-4C21-A35D-3C71CC333747}"/>
                </a:ext>
              </a:extLst>
            </p:cNvPr>
            <p:cNvSpPr/>
            <p:nvPr/>
          </p:nvSpPr>
          <p:spPr>
            <a:xfrm>
              <a:off x="7881945" y="6273111"/>
              <a:ext cx="7620" cy="7620"/>
            </a:xfrm>
            <a:custGeom>
              <a:avLst/>
              <a:gdLst/>
              <a:ahLst/>
              <a:cxnLst/>
              <a:rect l="l" t="t" r="r" b="b"/>
              <a:pathLst>
                <a:path w="7620" h="7620">
                  <a:moveTo>
                    <a:pt x="5562" y="0"/>
                  </a:moveTo>
                  <a:lnTo>
                    <a:pt x="1625" y="0"/>
                  </a:lnTo>
                  <a:lnTo>
                    <a:pt x="0" y="1625"/>
                  </a:lnTo>
                  <a:lnTo>
                    <a:pt x="0" y="5562"/>
                  </a:lnTo>
                  <a:lnTo>
                    <a:pt x="1625" y="7200"/>
                  </a:lnTo>
                  <a:lnTo>
                    <a:pt x="3594" y="7200"/>
                  </a:lnTo>
                  <a:lnTo>
                    <a:pt x="5562" y="7200"/>
                  </a:lnTo>
                  <a:lnTo>
                    <a:pt x="7200" y="5562"/>
                  </a:lnTo>
                  <a:lnTo>
                    <a:pt x="7200" y="1625"/>
                  </a:lnTo>
                  <a:lnTo>
                    <a:pt x="5562" y="0"/>
                  </a:lnTo>
                  <a:close/>
                </a:path>
              </a:pathLst>
            </a:custGeom>
            <a:solidFill>
              <a:srgbClr val="A48C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object 48">
              <a:extLst>
                <a:ext uri="{FF2B5EF4-FFF2-40B4-BE49-F238E27FC236}">
                  <a16:creationId xmlns:a16="http://schemas.microsoft.com/office/drawing/2014/main" id="{2641922A-FD49-4716-8E02-8AB5ECDE5E9F}"/>
                </a:ext>
              </a:extLst>
            </p:cNvPr>
            <p:cNvSpPr/>
            <p:nvPr/>
          </p:nvSpPr>
          <p:spPr>
            <a:xfrm>
              <a:off x="7882018" y="6273227"/>
              <a:ext cx="6985" cy="6985"/>
            </a:xfrm>
            <a:custGeom>
              <a:avLst/>
              <a:gdLst/>
              <a:ahLst/>
              <a:cxnLst/>
              <a:rect l="l" t="t" r="r" b="b"/>
              <a:pathLst>
                <a:path w="6984" h="6984">
                  <a:moveTo>
                    <a:pt x="5384" y="0"/>
                  </a:moveTo>
                  <a:lnTo>
                    <a:pt x="1574" y="0"/>
                  </a:lnTo>
                  <a:lnTo>
                    <a:pt x="0" y="1574"/>
                  </a:lnTo>
                  <a:lnTo>
                    <a:pt x="0" y="5384"/>
                  </a:lnTo>
                  <a:lnTo>
                    <a:pt x="1574" y="6959"/>
                  </a:lnTo>
                  <a:lnTo>
                    <a:pt x="3479" y="6959"/>
                  </a:lnTo>
                  <a:lnTo>
                    <a:pt x="5384" y="6959"/>
                  </a:lnTo>
                  <a:lnTo>
                    <a:pt x="6959" y="5384"/>
                  </a:lnTo>
                  <a:lnTo>
                    <a:pt x="6959" y="1574"/>
                  </a:lnTo>
                  <a:lnTo>
                    <a:pt x="5384" y="0"/>
                  </a:lnTo>
                  <a:close/>
                </a:path>
              </a:pathLst>
            </a:custGeom>
            <a:solidFill>
              <a:srgbClr val="B396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object 49">
              <a:extLst>
                <a:ext uri="{FF2B5EF4-FFF2-40B4-BE49-F238E27FC236}">
                  <a16:creationId xmlns:a16="http://schemas.microsoft.com/office/drawing/2014/main" id="{1AA91E86-1964-47A2-80D1-E366DA38283F}"/>
                </a:ext>
              </a:extLst>
            </p:cNvPr>
            <p:cNvSpPr/>
            <p:nvPr/>
          </p:nvSpPr>
          <p:spPr>
            <a:xfrm>
              <a:off x="7882097" y="6273345"/>
              <a:ext cx="6985" cy="6985"/>
            </a:xfrm>
            <a:custGeom>
              <a:avLst/>
              <a:gdLst/>
              <a:ahLst/>
              <a:cxnLst/>
              <a:rect l="l" t="t" r="r" b="b"/>
              <a:pathLst>
                <a:path w="6984" h="6984">
                  <a:moveTo>
                    <a:pt x="5194" y="0"/>
                  </a:moveTo>
                  <a:lnTo>
                    <a:pt x="1524" y="0"/>
                  </a:lnTo>
                  <a:lnTo>
                    <a:pt x="0" y="1524"/>
                  </a:lnTo>
                  <a:lnTo>
                    <a:pt x="0" y="5194"/>
                  </a:lnTo>
                  <a:lnTo>
                    <a:pt x="1524" y="6718"/>
                  </a:lnTo>
                  <a:lnTo>
                    <a:pt x="3352" y="6718"/>
                  </a:lnTo>
                  <a:lnTo>
                    <a:pt x="5194" y="6718"/>
                  </a:lnTo>
                  <a:lnTo>
                    <a:pt x="6718" y="5194"/>
                  </a:lnTo>
                  <a:lnTo>
                    <a:pt x="6718" y="1524"/>
                  </a:lnTo>
                  <a:lnTo>
                    <a:pt x="5194" y="0"/>
                  </a:lnTo>
                  <a:close/>
                </a:path>
              </a:pathLst>
            </a:custGeom>
            <a:solidFill>
              <a:srgbClr val="BFA0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" name="object 50">
              <a:extLst>
                <a:ext uri="{FF2B5EF4-FFF2-40B4-BE49-F238E27FC236}">
                  <a16:creationId xmlns:a16="http://schemas.microsoft.com/office/drawing/2014/main" id="{E4536B7B-772A-4D6F-A991-6AD36E3F3EFE}"/>
                </a:ext>
              </a:extLst>
            </p:cNvPr>
            <p:cNvSpPr/>
            <p:nvPr/>
          </p:nvSpPr>
          <p:spPr>
            <a:xfrm>
              <a:off x="7882170" y="6273459"/>
              <a:ext cx="6985" cy="6985"/>
            </a:xfrm>
            <a:custGeom>
              <a:avLst/>
              <a:gdLst/>
              <a:ahLst/>
              <a:cxnLst/>
              <a:rect l="l" t="t" r="r" b="b"/>
              <a:pathLst>
                <a:path w="6984" h="6984">
                  <a:moveTo>
                    <a:pt x="5003" y="0"/>
                  </a:moveTo>
                  <a:lnTo>
                    <a:pt x="1473" y="0"/>
                  </a:lnTo>
                  <a:lnTo>
                    <a:pt x="0" y="1473"/>
                  </a:lnTo>
                  <a:lnTo>
                    <a:pt x="0" y="5003"/>
                  </a:lnTo>
                  <a:lnTo>
                    <a:pt x="1473" y="6476"/>
                  </a:lnTo>
                  <a:lnTo>
                    <a:pt x="3238" y="6476"/>
                  </a:lnTo>
                  <a:lnTo>
                    <a:pt x="5003" y="6476"/>
                  </a:lnTo>
                  <a:lnTo>
                    <a:pt x="6476" y="5003"/>
                  </a:lnTo>
                  <a:lnTo>
                    <a:pt x="6476" y="1473"/>
                  </a:lnTo>
                  <a:lnTo>
                    <a:pt x="5003" y="0"/>
                  </a:lnTo>
                  <a:close/>
                </a:path>
              </a:pathLst>
            </a:custGeom>
            <a:solidFill>
              <a:srgbClr val="D0AA2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object 51">
              <a:extLst>
                <a:ext uri="{FF2B5EF4-FFF2-40B4-BE49-F238E27FC236}">
                  <a16:creationId xmlns:a16="http://schemas.microsoft.com/office/drawing/2014/main" id="{8CAC47B1-D274-4B10-9970-6607A69386C1}"/>
                </a:ext>
              </a:extLst>
            </p:cNvPr>
            <p:cNvSpPr/>
            <p:nvPr/>
          </p:nvSpPr>
          <p:spPr>
            <a:xfrm>
              <a:off x="7882249" y="6273576"/>
              <a:ext cx="6350" cy="6350"/>
            </a:xfrm>
            <a:custGeom>
              <a:avLst/>
              <a:gdLst/>
              <a:ahLst/>
              <a:cxnLst/>
              <a:rect l="l" t="t" r="r" b="b"/>
              <a:pathLst>
                <a:path w="6350" h="6350">
                  <a:moveTo>
                    <a:pt x="4813" y="0"/>
                  </a:moveTo>
                  <a:lnTo>
                    <a:pt x="1409" y="0"/>
                  </a:lnTo>
                  <a:lnTo>
                    <a:pt x="0" y="1409"/>
                  </a:lnTo>
                  <a:lnTo>
                    <a:pt x="0" y="4826"/>
                  </a:lnTo>
                  <a:lnTo>
                    <a:pt x="1409" y="6235"/>
                  </a:lnTo>
                  <a:lnTo>
                    <a:pt x="3111" y="6235"/>
                  </a:lnTo>
                  <a:lnTo>
                    <a:pt x="4813" y="6235"/>
                  </a:lnTo>
                  <a:lnTo>
                    <a:pt x="6223" y="4826"/>
                  </a:lnTo>
                  <a:lnTo>
                    <a:pt x="6223" y="1409"/>
                  </a:lnTo>
                  <a:lnTo>
                    <a:pt x="4813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" name="object 52">
              <a:extLst>
                <a:ext uri="{FF2B5EF4-FFF2-40B4-BE49-F238E27FC236}">
                  <a16:creationId xmlns:a16="http://schemas.microsoft.com/office/drawing/2014/main" id="{14D49C24-28EC-4A73-A0AC-14944022EB69}"/>
                </a:ext>
              </a:extLst>
            </p:cNvPr>
            <p:cNvSpPr/>
            <p:nvPr/>
          </p:nvSpPr>
          <p:spPr>
            <a:xfrm>
              <a:off x="7882944" y="6274501"/>
              <a:ext cx="2540" cy="3175"/>
            </a:xfrm>
            <a:custGeom>
              <a:avLst/>
              <a:gdLst/>
              <a:ahLst/>
              <a:cxnLst/>
              <a:rect l="l" t="t" r="r" b="b"/>
              <a:pathLst>
                <a:path w="2540" h="3175">
                  <a:moveTo>
                    <a:pt x="1117" y="0"/>
                  </a:moveTo>
                  <a:lnTo>
                    <a:pt x="825" y="609"/>
                  </a:lnTo>
                  <a:lnTo>
                    <a:pt x="419" y="1104"/>
                  </a:lnTo>
                  <a:lnTo>
                    <a:pt x="0" y="1638"/>
                  </a:lnTo>
                  <a:lnTo>
                    <a:pt x="76" y="2412"/>
                  </a:lnTo>
                  <a:lnTo>
                    <a:pt x="457" y="2997"/>
                  </a:lnTo>
                  <a:lnTo>
                    <a:pt x="381" y="2438"/>
                  </a:lnTo>
                  <a:lnTo>
                    <a:pt x="1231" y="1828"/>
                  </a:lnTo>
                  <a:lnTo>
                    <a:pt x="1498" y="1358"/>
                  </a:lnTo>
                  <a:lnTo>
                    <a:pt x="1778" y="825"/>
                  </a:lnTo>
                  <a:lnTo>
                    <a:pt x="2006" y="800"/>
                  </a:lnTo>
                  <a:lnTo>
                    <a:pt x="1930" y="50"/>
                  </a:lnTo>
                  <a:lnTo>
                    <a:pt x="1117" y="0"/>
                  </a:lnTo>
                  <a:close/>
                </a:path>
              </a:pathLst>
            </a:custGeom>
            <a:solidFill>
              <a:srgbClr val="FEE66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" name="object 53">
              <a:extLst>
                <a:ext uri="{FF2B5EF4-FFF2-40B4-BE49-F238E27FC236}">
                  <a16:creationId xmlns:a16="http://schemas.microsoft.com/office/drawing/2014/main" id="{F67B78F4-EA74-44A8-A035-5E3AE884B477}"/>
                </a:ext>
              </a:extLst>
            </p:cNvPr>
            <p:cNvSpPr/>
            <p:nvPr/>
          </p:nvSpPr>
          <p:spPr>
            <a:xfrm>
              <a:off x="7885078" y="6276560"/>
              <a:ext cx="3810" cy="3175"/>
            </a:xfrm>
            <a:custGeom>
              <a:avLst/>
              <a:gdLst/>
              <a:ahLst/>
              <a:cxnLst/>
              <a:rect l="l" t="t" r="r" b="b"/>
              <a:pathLst>
                <a:path w="3809" h="3175">
                  <a:moveTo>
                    <a:pt x="3200" y="0"/>
                  </a:moveTo>
                  <a:lnTo>
                    <a:pt x="2209" y="177"/>
                  </a:lnTo>
                  <a:lnTo>
                    <a:pt x="2273" y="469"/>
                  </a:lnTo>
                  <a:lnTo>
                    <a:pt x="1701" y="1016"/>
                  </a:lnTo>
                  <a:lnTo>
                    <a:pt x="1193" y="1511"/>
                  </a:lnTo>
                  <a:lnTo>
                    <a:pt x="736" y="2806"/>
                  </a:lnTo>
                  <a:lnTo>
                    <a:pt x="0" y="2921"/>
                  </a:lnTo>
                  <a:lnTo>
                    <a:pt x="876" y="3175"/>
                  </a:lnTo>
                  <a:lnTo>
                    <a:pt x="1892" y="2997"/>
                  </a:lnTo>
                  <a:lnTo>
                    <a:pt x="2882" y="1600"/>
                  </a:lnTo>
                  <a:lnTo>
                    <a:pt x="3555" y="1016"/>
                  </a:lnTo>
                  <a:lnTo>
                    <a:pt x="3200" y="0"/>
                  </a:lnTo>
                  <a:close/>
                </a:path>
              </a:pathLst>
            </a:custGeom>
            <a:solidFill>
              <a:srgbClr val="A48C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" name="object 54">
              <a:extLst>
                <a:ext uri="{FF2B5EF4-FFF2-40B4-BE49-F238E27FC236}">
                  <a16:creationId xmlns:a16="http://schemas.microsoft.com/office/drawing/2014/main" id="{78E01EBE-D31A-47A8-B2D2-D6DE0F6A1D86}"/>
                </a:ext>
              </a:extLst>
            </p:cNvPr>
            <p:cNvSpPr/>
            <p:nvPr/>
          </p:nvSpPr>
          <p:spPr>
            <a:xfrm>
              <a:off x="7858690" y="6101537"/>
              <a:ext cx="366395" cy="366395"/>
            </a:xfrm>
            <a:custGeom>
              <a:avLst/>
              <a:gdLst/>
              <a:ahLst/>
              <a:cxnLst/>
              <a:rect l="l" t="t" r="r" b="b"/>
              <a:pathLst>
                <a:path w="366395" h="366395">
                  <a:moveTo>
                    <a:pt x="183095" y="0"/>
                  </a:moveTo>
                  <a:lnTo>
                    <a:pt x="231768" y="6540"/>
                  </a:lnTo>
                  <a:lnTo>
                    <a:pt x="275506" y="24998"/>
                  </a:lnTo>
                  <a:lnTo>
                    <a:pt x="312562" y="53628"/>
                  </a:lnTo>
                  <a:lnTo>
                    <a:pt x="341193" y="90685"/>
                  </a:lnTo>
                  <a:lnTo>
                    <a:pt x="359651" y="134423"/>
                  </a:lnTo>
                  <a:lnTo>
                    <a:pt x="366191" y="183095"/>
                  </a:lnTo>
                  <a:lnTo>
                    <a:pt x="359651" y="231768"/>
                  </a:lnTo>
                  <a:lnTo>
                    <a:pt x="341193" y="275506"/>
                  </a:lnTo>
                  <a:lnTo>
                    <a:pt x="312562" y="312562"/>
                  </a:lnTo>
                  <a:lnTo>
                    <a:pt x="275506" y="341193"/>
                  </a:lnTo>
                  <a:lnTo>
                    <a:pt x="231768" y="359651"/>
                  </a:lnTo>
                  <a:lnTo>
                    <a:pt x="183095" y="366191"/>
                  </a:lnTo>
                  <a:lnTo>
                    <a:pt x="134423" y="359651"/>
                  </a:lnTo>
                  <a:lnTo>
                    <a:pt x="90685" y="341193"/>
                  </a:lnTo>
                  <a:lnTo>
                    <a:pt x="53628" y="312562"/>
                  </a:lnTo>
                  <a:lnTo>
                    <a:pt x="24998" y="275506"/>
                  </a:lnTo>
                  <a:lnTo>
                    <a:pt x="6540" y="231768"/>
                  </a:lnTo>
                  <a:lnTo>
                    <a:pt x="0" y="183095"/>
                  </a:lnTo>
                  <a:lnTo>
                    <a:pt x="6540" y="134423"/>
                  </a:lnTo>
                  <a:lnTo>
                    <a:pt x="24998" y="90685"/>
                  </a:lnTo>
                  <a:lnTo>
                    <a:pt x="53628" y="53628"/>
                  </a:lnTo>
                  <a:lnTo>
                    <a:pt x="90685" y="24998"/>
                  </a:lnTo>
                  <a:lnTo>
                    <a:pt x="134423" y="6540"/>
                  </a:lnTo>
                  <a:lnTo>
                    <a:pt x="183095" y="0"/>
                  </a:lnTo>
                  <a:close/>
                </a:path>
              </a:pathLst>
            </a:custGeom>
            <a:ln w="6972">
              <a:solidFill>
                <a:srgbClr val="91803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" name="object 55">
              <a:extLst>
                <a:ext uri="{FF2B5EF4-FFF2-40B4-BE49-F238E27FC236}">
                  <a16:creationId xmlns:a16="http://schemas.microsoft.com/office/drawing/2014/main" id="{A6CC6F4E-DAB6-40BA-808D-69387B41C1B8}"/>
                </a:ext>
              </a:extLst>
            </p:cNvPr>
            <p:cNvSpPr/>
            <p:nvPr/>
          </p:nvSpPr>
          <p:spPr>
            <a:xfrm>
              <a:off x="7908308" y="6151150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91290" y="6805"/>
                  </a:lnTo>
                  <a:lnTo>
                    <a:pt x="54650" y="25755"/>
                  </a:lnTo>
                  <a:lnTo>
                    <a:pt x="25755" y="54650"/>
                  </a:lnTo>
                  <a:lnTo>
                    <a:pt x="6805" y="91290"/>
                  </a:lnTo>
                  <a:lnTo>
                    <a:pt x="0" y="133476"/>
                  </a:lnTo>
                  <a:lnTo>
                    <a:pt x="6805" y="175668"/>
                  </a:lnTo>
                  <a:lnTo>
                    <a:pt x="25755" y="212309"/>
                  </a:lnTo>
                  <a:lnTo>
                    <a:pt x="54650" y="241202"/>
                  </a:lnTo>
                  <a:lnTo>
                    <a:pt x="91290" y="260149"/>
                  </a:lnTo>
                  <a:lnTo>
                    <a:pt x="133476" y="266953"/>
                  </a:lnTo>
                  <a:lnTo>
                    <a:pt x="175663" y="260149"/>
                  </a:lnTo>
                  <a:lnTo>
                    <a:pt x="212303" y="241202"/>
                  </a:lnTo>
                  <a:lnTo>
                    <a:pt x="241198" y="212309"/>
                  </a:lnTo>
                  <a:lnTo>
                    <a:pt x="260148" y="175668"/>
                  </a:lnTo>
                  <a:lnTo>
                    <a:pt x="266953" y="133476"/>
                  </a:lnTo>
                  <a:lnTo>
                    <a:pt x="260148" y="91290"/>
                  </a:lnTo>
                  <a:lnTo>
                    <a:pt x="241198" y="54650"/>
                  </a:lnTo>
                  <a:lnTo>
                    <a:pt x="212303" y="25755"/>
                  </a:lnTo>
                  <a:lnTo>
                    <a:pt x="175663" y="6805"/>
                  </a:lnTo>
                  <a:lnTo>
                    <a:pt x="133476" y="0"/>
                  </a:lnTo>
                  <a:close/>
                </a:path>
              </a:pathLst>
            </a:custGeom>
            <a:solidFill>
              <a:srgbClr val="1620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" name="object 56">
              <a:extLst>
                <a:ext uri="{FF2B5EF4-FFF2-40B4-BE49-F238E27FC236}">
                  <a16:creationId xmlns:a16="http://schemas.microsoft.com/office/drawing/2014/main" id="{127456B1-67BB-40FC-A183-008C7B3838B9}"/>
                </a:ext>
              </a:extLst>
            </p:cNvPr>
            <p:cNvSpPr/>
            <p:nvPr/>
          </p:nvSpPr>
          <p:spPr>
            <a:xfrm>
              <a:off x="7908308" y="6151150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3" y="6805"/>
                  </a:lnTo>
                  <a:lnTo>
                    <a:pt x="212303" y="25755"/>
                  </a:lnTo>
                  <a:lnTo>
                    <a:pt x="241198" y="54650"/>
                  </a:lnTo>
                  <a:lnTo>
                    <a:pt x="260148" y="91290"/>
                  </a:lnTo>
                  <a:lnTo>
                    <a:pt x="266953" y="133476"/>
                  </a:lnTo>
                  <a:lnTo>
                    <a:pt x="260148" y="175668"/>
                  </a:lnTo>
                  <a:lnTo>
                    <a:pt x="241198" y="212309"/>
                  </a:lnTo>
                  <a:lnTo>
                    <a:pt x="212303" y="241202"/>
                  </a:lnTo>
                  <a:lnTo>
                    <a:pt x="175663" y="260149"/>
                  </a:lnTo>
                  <a:lnTo>
                    <a:pt x="133476" y="266953"/>
                  </a:lnTo>
                  <a:lnTo>
                    <a:pt x="91290" y="260149"/>
                  </a:lnTo>
                  <a:lnTo>
                    <a:pt x="54650" y="241202"/>
                  </a:lnTo>
                  <a:lnTo>
                    <a:pt x="25755" y="212309"/>
                  </a:lnTo>
                  <a:lnTo>
                    <a:pt x="6805" y="175668"/>
                  </a:lnTo>
                  <a:lnTo>
                    <a:pt x="0" y="133476"/>
                  </a:lnTo>
                  <a:lnTo>
                    <a:pt x="6805" y="91290"/>
                  </a:lnTo>
                  <a:lnTo>
                    <a:pt x="25755" y="54650"/>
                  </a:lnTo>
                  <a:lnTo>
                    <a:pt x="54650" y="25755"/>
                  </a:lnTo>
                  <a:lnTo>
                    <a:pt x="91290" y="6805"/>
                  </a:lnTo>
                  <a:lnTo>
                    <a:pt x="133476" y="0"/>
                  </a:lnTo>
                  <a:close/>
                </a:path>
              </a:pathLst>
            </a:custGeom>
            <a:ln w="3175">
              <a:solidFill>
                <a:srgbClr val="16204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" name="object 57">
              <a:extLst>
                <a:ext uri="{FF2B5EF4-FFF2-40B4-BE49-F238E27FC236}">
                  <a16:creationId xmlns:a16="http://schemas.microsoft.com/office/drawing/2014/main" id="{F566E83F-752F-45A6-B3A8-1C0155691454}"/>
                </a:ext>
              </a:extLst>
            </p:cNvPr>
            <p:cNvSpPr/>
            <p:nvPr/>
          </p:nvSpPr>
          <p:spPr>
            <a:xfrm>
              <a:off x="7909621" y="6152487"/>
              <a:ext cx="264795" cy="264795"/>
            </a:xfrm>
            <a:custGeom>
              <a:avLst/>
              <a:gdLst/>
              <a:ahLst/>
              <a:cxnLst/>
              <a:rect l="l" t="t" r="r" b="b"/>
              <a:pathLst>
                <a:path w="264795" h="264795">
                  <a:moveTo>
                    <a:pt x="132257" y="0"/>
                  </a:moveTo>
                  <a:lnTo>
                    <a:pt x="90456" y="6743"/>
                  </a:lnTo>
                  <a:lnTo>
                    <a:pt x="54150" y="25520"/>
                  </a:lnTo>
                  <a:lnTo>
                    <a:pt x="25519" y="54153"/>
                  </a:lnTo>
                  <a:lnTo>
                    <a:pt x="6743" y="90463"/>
                  </a:lnTo>
                  <a:lnTo>
                    <a:pt x="0" y="132270"/>
                  </a:lnTo>
                  <a:lnTo>
                    <a:pt x="6743" y="174071"/>
                  </a:lnTo>
                  <a:lnTo>
                    <a:pt x="25519" y="210377"/>
                  </a:lnTo>
                  <a:lnTo>
                    <a:pt x="54150" y="239008"/>
                  </a:lnTo>
                  <a:lnTo>
                    <a:pt x="90456" y="257785"/>
                  </a:lnTo>
                  <a:lnTo>
                    <a:pt x="132257" y="264528"/>
                  </a:lnTo>
                  <a:lnTo>
                    <a:pt x="174065" y="257785"/>
                  </a:lnTo>
                  <a:lnTo>
                    <a:pt x="210374" y="239008"/>
                  </a:lnTo>
                  <a:lnTo>
                    <a:pt x="239007" y="210377"/>
                  </a:lnTo>
                  <a:lnTo>
                    <a:pt x="257785" y="174071"/>
                  </a:lnTo>
                  <a:lnTo>
                    <a:pt x="264528" y="132270"/>
                  </a:lnTo>
                  <a:lnTo>
                    <a:pt x="257785" y="90463"/>
                  </a:lnTo>
                  <a:lnTo>
                    <a:pt x="239007" y="54153"/>
                  </a:lnTo>
                  <a:lnTo>
                    <a:pt x="210374" y="25520"/>
                  </a:lnTo>
                  <a:lnTo>
                    <a:pt x="174065" y="6743"/>
                  </a:lnTo>
                  <a:lnTo>
                    <a:pt x="132257" y="0"/>
                  </a:lnTo>
                  <a:close/>
                </a:path>
              </a:pathLst>
            </a:custGeom>
            <a:solidFill>
              <a:srgbClr val="1926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" name="object 58">
              <a:extLst>
                <a:ext uri="{FF2B5EF4-FFF2-40B4-BE49-F238E27FC236}">
                  <a16:creationId xmlns:a16="http://schemas.microsoft.com/office/drawing/2014/main" id="{01761364-99C3-42AE-ABDA-039ECFC4D3A7}"/>
                </a:ext>
              </a:extLst>
            </p:cNvPr>
            <p:cNvSpPr/>
            <p:nvPr/>
          </p:nvSpPr>
          <p:spPr>
            <a:xfrm>
              <a:off x="7910924" y="6153824"/>
              <a:ext cx="262255" cy="262255"/>
            </a:xfrm>
            <a:custGeom>
              <a:avLst/>
              <a:gdLst/>
              <a:ahLst/>
              <a:cxnLst/>
              <a:rect l="l" t="t" r="r" b="b"/>
              <a:pathLst>
                <a:path w="262254" h="262254">
                  <a:moveTo>
                    <a:pt x="131051" y="0"/>
                  </a:moveTo>
                  <a:lnTo>
                    <a:pt x="80040" y="10298"/>
                  </a:lnTo>
                  <a:lnTo>
                    <a:pt x="38384" y="38384"/>
                  </a:lnTo>
                  <a:lnTo>
                    <a:pt x="10298" y="80040"/>
                  </a:lnTo>
                  <a:lnTo>
                    <a:pt x="0" y="131051"/>
                  </a:lnTo>
                  <a:lnTo>
                    <a:pt x="10298" y="182062"/>
                  </a:lnTo>
                  <a:lnTo>
                    <a:pt x="38384" y="223718"/>
                  </a:lnTo>
                  <a:lnTo>
                    <a:pt x="80040" y="251803"/>
                  </a:lnTo>
                  <a:lnTo>
                    <a:pt x="131051" y="262102"/>
                  </a:lnTo>
                  <a:lnTo>
                    <a:pt x="182062" y="251803"/>
                  </a:lnTo>
                  <a:lnTo>
                    <a:pt x="223718" y="223718"/>
                  </a:lnTo>
                  <a:lnTo>
                    <a:pt x="251803" y="182062"/>
                  </a:lnTo>
                  <a:lnTo>
                    <a:pt x="262102" y="131051"/>
                  </a:lnTo>
                  <a:lnTo>
                    <a:pt x="251803" y="80040"/>
                  </a:lnTo>
                  <a:lnTo>
                    <a:pt x="223718" y="38384"/>
                  </a:lnTo>
                  <a:lnTo>
                    <a:pt x="182062" y="10298"/>
                  </a:lnTo>
                  <a:lnTo>
                    <a:pt x="131051" y="0"/>
                  </a:lnTo>
                  <a:close/>
                </a:path>
              </a:pathLst>
            </a:custGeom>
            <a:solidFill>
              <a:srgbClr val="1B2B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" name="object 59">
              <a:extLst>
                <a:ext uri="{FF2B5EF4-FFF2-40B4-BE49-F238E27FC236}">
                  <a16:creationId xmlns:a16="http://schemas.microsoft.com/office/drawing/2014/main" id="{ABA35435-C615-4703-AA9A-416FA3877970}"/>
                </a:ext>
              </a:extLst>
            </p:cNvPr>
            <p:cNvSpPr/>
            <p:nvPr/>
          </p:nvSpPr>
          <p:spPr>
            <a:xfrm>
              <a:off x="7912241" y="6155161"/>
              <a:ext cx="259715" cy="259715"/>
            </a:xfrm>
            <a:custGeom>
              <a:avLst/>
              <a:gdLst/>
              <a:ahLst/>
              <a:cxnLst/>
              <a:rect l="l" t="t" r="r" b="b"/>
              <a:pathLst>
                <a:path w="259715" h="259715">
                  <a:moveTo>
                    <a:pt x="129832" y="0"/>
                  </a:moveTo>
                  <a:lnTo>
                    <a:pt x="79295" y="10202"/>
                  </a:lnTo>
                  <a:lnTo>
                    <a:pt x="38026" y="38026"/>
                  </a:lnTo>
                  <a:lnTo>
                    <a:pt x="10202" y="79295"/>
                  </a:lnTo>
                  <a:lnTo>
                    <a:pt x="0" y="129832"/>
                  </a:lnTo>
                  <a:lnTo>
                    <a:pt x="10202" y="180370"/>
                  </a:lnTo>
                  <a:lnTo>
                    <a:pt x="38026" y="221643"/>
                  </a:lnTo>
                  <a:lnTo>
                    <a:pt x="79295" y="249472"/>
                  </a:lnTo>
                  <a:lnTo>
                    <a:pt x="129832" y="259676"/>
                  </a:lnTo>
                  <a:lnTo>
                    <a:pt x="180368" y="249472"/>
                  </a:lnTo>
                  <a:lnTo>
                    <a:pt x="221637" y="221643"/>
                  </a:lnTo>
                  <a:lnTo>
                    <a:pt x="249461" y="180370"/>
                  </a:lnTo>
                  <a:lnTo>
                    <a:pt x="259664" y="129832"/>
                  </a:lnTo>
                  <a:lnTo>
                    <a:pt x="249461" y="79295"/>
                  </a:lnTo>
                  <a:lnTo>
                    <a:pt x="221637" y="38026"/>
                  </a:lnTo>
                  <a:lnTo>
                    <a:pt x="180368" y="10202"/>
                  </a:lnTo>
                  <a:lnTo>
                    <a:pt x="129832" y="0"/>
                  </a:lnTo>
                  <a:close/>
                </a:path>
              </a:pathLst>
            </a:custGeom>
            <a:solidFill>
              <a:srgbClr val="1D2F5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" name="object 60">
              <a:extLst>
                <a:ext uri="{FF2B5EF4-FFF2-40B4-BE49-F238E27FC236}">
                  <a16:creationId xmlns:a16="http://schemas.microsoft.com/office/drawing/2014/main" id="{8438D4EB-2B7B-4194-9998-1C1FD009B5A8}"/>
                </a:ext>
              </a:extLst>
            </p:cNvPr>
            <p:cNvSpPr/>
            <p:nvPr/>
          </p:nvSpPr>
          <p:spPr>
            <a:xfrm>
              <a:off x="7913542" y="6156497"/>
              <a:ext cx="257810" cy="257810"/>
            </a:xfrm>
            <a:custGeom>
              <a:avLst/>
              <a:gdLst/>
              <a:ahLst/>
              <a:cxnLst/>
              <a:rect l="l" t="t" r="r" b="b"/>
              <a:pathLst>
                <a:path w="257809" h="257809">
                  <a:moveTo>
                    <a:pt x="128625" y="0"/>
                  </a:moveTo>
                  <a:lnTo>
                    <a:pt x="78561" y="10107"/>
                  </a:lnTo>
                  <a:lnTo>
                    <a:pt x="37676" y="37671"/>
                  </a:lnTo>
                  <a:lnTo>
                    <a:pt x="10109" y="78556"/>
                  </a:lnTo>
                  <a:lnTo>
                    <a:pt x="0" y="128625"/>
                  </a:lnTo>
                  <a:lnTo>
                    <a:pt x="10109" y="178687"/>
                  </a:lnTo>
                  <a:lnTo>
                    <a:pt x="37676" y="219568"/>
                  </a:lnTo>
                  <a:lnTo>
                    <a:pt x="78561" y="247131"/>
                  </a:lnTo>
                  <a:lnTo>
                    <a:pt x="128625" y="257238"/>
                  </a:lnTo>
                  <a:lnTo>
                    <a:pt x="178689" y="247131"/>
                  </a:lnTo>
                  <a:lnTo>
                    <a:pt x="219575" y="219568"/>
                  </a:lnTo>
                  <a:lnTo>
                    <a:pt x="247142" y="178687"/>
                  </a:lnTo>
                  <a:lnTo>
                    <a:pt x="257251" y="128625"/>
                  </a:lnTo>
                  <a:lnTo>
                    <a:pt x="247142" y="78556"/>
                  </a:lnTo>
                  <a:lnTo>
                    <a:pt x="219575" y="37671"/>
                  </a:lnTo>
                  <a:lnTo>
                    <a:pt x="178689" y="10107"/>
                  </a:lnTo>
                  <a:lnTo>
                    <a:pt x="128625" y="0"/>
                  </a:lnTo>
                  <a:close/>
                </a:path>
              </a:pathLst>
            </a:custGeom>
            <a:solidFill>
              <a:srgbClr val="1E33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" name="object 61">
              <a:extLst>
                <a:ext uri="{FF2B5EF4-FFF2-40B4-BE49-F238E27FC236}">
                  <a16:creationId xmlns:a16="http://schemas.microsoft.com/office/drawing/2014/main" id="{E535E9D8-E3F4-45AD-8EA1-8C7C2ED7DF18}"/>
                </a:ext>
              </a:extLst>
            </p:cNvPr>
            <p:cNvSpPr/>
            <p:nvPr/>
          </p:nvSpPr>
          <p:spPr>
            <a:xfrm>
              <a:off x="7914854" y="6157835"/>
              <a:ext cx="255270" cy="255270"/>
            </a:xfrm>
            <a:custGeom>
              <a:avLst/>
              <a:gdLst/>
              <a:ahLst/>
              <a:cxnLst/>
              <a:rect l="l" t="t" r="r" b="b"/>
              <a:pathLst>
                <a:path w="255270" h="255270">
                  <a:moveTo>
                    <a:pt x="127406" y="0"/>
                  </a:moveTo>
                  <a:lnTo>
                    <a:pt x="77811" y="10013"/>
                  </a:lnTo>
                  <a:lnTo>
                    <a:pt x="37314" y="37318"/>
                  </a:lnTo>
                  <a:lnTo>
                    <a:pt x="10011" y="77816"/>
                  </a:lnTo>
                  <a:lnTo>
                    <a:pt x="0" y="127406"/>
                  </a:lnTo>
                  <a:lnTo>
                    <a:pt x="10011" y="177003"/>
                  </a:lnTo>
                  <a:lnTo>
                    <a:pt x="37314" y="217504"/>
                  </a:lnTo>
                  <a:lnTo>
                    <a:pt x="77811" y="244812"/>
                  </a:lnTo>
                  <a:lnTo>
                    <a:pt x="127406" y="254825"/>
                  </a:lnTo>
                  <a:lnTo>
                    <a:pt x="177001" y="244812"/>
                  </a:lnTo>
                  <a:lnTo>
                    <a:pt x="217498" y="217504"/>
                  </a:lnTo>
                  <a:lnTo>
                    <a:pt x="244801" y="177003"/>
                  </a:lnTo>
                  <a:lnTo>
                    <a:pt x="254812" y="127406"/>
                  </a:lnTo>
                  <a:lnTo>
                    <a:pt x="244801" y="77816"/>
                  </a:lnTo>
                  <a:lnTo>
                    <a:pt x="217498" y="37318"/>
                  </a:lnTo>
                  <a:lnTo>
                    <a:pt x="177001" y="10013"/>
                  </a:lnTo>
                  <a:lnTo>
                    <a:pt x="127406" y="0"/>
                  </a:lnTo>
                  <a:close/>
                </a:path>
              </a:pathLst>
            </a:custGeom>
            <a:solidFill>
              <a:srgbClr val="1E366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70" name="object 62">
              <a:extLst>
                <a:ext uri="{FF2B5EF4-FFF2-40B4-BE49-F238E27FC236}">
                  <a16:creationId xmlns:a16="http://schemas.microsoft.com/office/drawing/2014/main" id="{266054AA-24EA-4496-A671-8F5929700FC5}"/>
                </a:ext>
              </a:extLst>
            </p:cNvPr>
            <p:cNvPicPr/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916154" y="6159168"/>
              <a:ext cx="252399" cy="252387"/>
            </a:xfrm>
            <a:prstGeom prst="rect">
              <a:avLst/>
            </a:prstGeom>
          </p:spPr>
        </p:pic>
        <p:sp>
          <p:nvSpPr>
            <p:cNvPr id="71" name="object 63">
              <a:extLst>
                <a:ext uri="{FF2B5EF4-FFF2-40B4-BE49-F238E27FC236}">
                  <a16:creationId xmlns:a16="http://schemas.microsoft.com/office/drawing/2014/main" id="{07F0EC40-6AA4-474D-AD51-8EC8942D6D42}"/>
                </a:ext>
              </a:extLst>
            </p:cNvPr>
            <p:cNvSpPr/>
            <p:nvPr/>
          </p:nvSpPr>
          <p:spPr>
            <a:xfrm>
              <a:off x="7907694" y="6151150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3" y="6805"/>
                  </a:lnTo>
                  <a:lnTo>
                    <a:pt x="212303" y="25755"/>
                  </a:lnTo>
                  <a:lnTo>
                    <a:pt x="241198" y="54650"/>
                  </a:lnTo>
                  <a:lnTo>
                    <a:pt x="260148" y="91290"/>
                  </a:lnTo>
                  <a:lnTo>
                    <a:pt x="266953" y="133476"/>
                  </a:lnTo>
                  <a:lnTo>
                    <a:pt x="260148" y="175668"/>
                  </a:lnTo>
                  <a:lnTo>
                    <a:pt x="241198" y="212309"/>
                  </a:lnTo>
                  <a:lnTo>
                    <a:pt x="212303" y="241202"/>
                  </a:lnTo>
                  <a:lnTo>
                    <a:pt x="175663" y="260149"/>
                  </a:lnTo>
                  <a:lnTo>
                    <a:pt x="133476" y="266953"/>
                  </a:lnTo>
                  <a:lnTo>
                    <a:pt x="91290" y="260149"/>
                  </a:lnTo>
                  <a:lnTo>
                    <a:pt x="54650" y="241202"/>
                  </a:lnTo>
                  <a:lnTo>
                    <a:pt x="25755" y="212309"/>
                  </a:lnTo>
                  <a:lnTo>
                    <a:pt x="6805" y="175668"/>
                  </a:lnTo>
                  <a:lnTo>
                    <a:pt x="0" y="133476"/>
                  </a:lnTo>
                  <a:lnTo>
                    <a:pt x="6805" y="91290"/>
                  </a:lnTo>
                  <a:lnTo>
                    <a:pt x="25755" y="54650"/>
                  </a:lnTo>
                  <a:lnTo>
                    <a:pt x="54650" y="25755"/>
                  </a:lnTo>
                  <a:lnTo>
                    <a:pt x="91290" y="6805"/>
                  </a:lnTo>
                  <a:lnTo>
                    <a:pt x="133476" y="0"/>
                  </a:lnTo>
                  <a:close/>
                </a:path>
              </a:pathLst>
            </a:custGeom>
            <a:ln w="9296">
              <a:solidFill>
                <a:srgbClr val="DCB32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" name="object 64">
              <a:extLst>
                <a:ext uri="{FF2B5EF4-FFF2-40B4-BE49-F238E27FC236}">
                  <a16:creationId xmlns:a16="http://schemas.microsoft.com/office/drawing/2014/main" id="{9BABB817-CBB4-4C57-A45D-C4E9D20307E4}"/>
                </a:ext>
              </a:extLst>
            </p:cNvPr>
            <p:cNvSpPr/>
            <p:nvPr/>
          </p:nvSpPr>
          <p:spPr>
            <a:xfrm>
              <a:off x="7907588" y="6151048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8" y="6805"/>
                  </a:lnTo>
                  <a:lnTo>
                    <a:pt x="212309" y="25755"/>
                  </a:lnTo>
                  <a:lnTo>
                    <a:pt x="241202" y="54650"/>
                  </a:lnTo>
                  <a:lnTo>
                    <a:pt x="260149" y="91290"/>
                  </a:lnTo>
                  <a:lnTo>
                    <a:pt x="266953" y="133476"/>
                  </a:lnTo>
                  <a:lnTo>
                    <a:pt x="260149" y="175668"/>
                  </a:lnTo>
                  <a:lnTo>
                    <a:pt x="241202" y="212309"/>
                  </a:lnTo>
                  <a:lnTo>
                    <a:pt x="212309" y="241202"/>
                  </a:lnTo>
                  <a:lnTo>
                    <a:pt x="175668" y="260149"/>
                  </a:lnTo>
                  <a:lnTo>
                    <a:pt x="133476" y="266953"/>
                  </a:lnTo>
                  <a:lnTo>
                    <a:pt x="91290" y="260149"/>
                  </a:lnTo>
                  <a:lnTo>
                    <a:pt x="54650" y="241202"/>
                  </a:lnTo>
                  <a:lnTo>
                    <a:pt x="25755" y="212309"/>
                  </a:lnTo>
                  <a:lnTo>
                    <a:pt x="6805" y="175668"/>
                  </a:lnTo>
                  <a:lnTo>
                    <a:pt x="0" y="133476"/>
                  </a:lnTo>
                  <a:lnTo>
                    <a:pt x="6805" y="91290"/>
                  </a:lnTo>
                  <a:lnTo>
                    <a:pt x="25755" y="54650"/>
                  </a:lnTo>
                  <a:lnTo>
                    <a:pt x="54650" y="25755"/>
                  </a:lnTo>
                  <a:lnTo>
                    <a:pt x="91290" y="6805"/>
                  </a:lnTo>
                  <a:lnTo>
                    <a:pt x="133476" y="0"/>
                  </a:lnTo>
                  <a:close/>
                </a:path>
              </a:pathLst>
            </a:custGeom>
            <a:ln w="8128">
              <a:solidFill>
                <a:srgbClr val="E1B92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" name="object 65">
              <a:extLst>
                <a:ext uri="{FF2B5EF4-FFF2-40B4-BE49-F238E27FC236}">
                  <a16:creationId xmlns:a16="http://schemas.microsoft.com/office/drawing/2014/main" id="{9588682E-57B8-4E2C-9D0E-12974517366D}"/>
                </a:ext>
              </a:extLst>
            </p:cNvPr>
            <p:cNvSpPr/>
            <p:nvPr/>
          </p:nvSpPr>
          <p:spPr>
            <a:xfrm>
              <a:off x="7907492" y="6150942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3" y="6805"/>
                  </a:lnTo>
                  <a:lnTo>
                    <a:pt x="212303" y="25755"/>
                  </a:lnTo>
                  <a:lnTo>
                    <a:pt x="241198" y="54650"/>
                  </a:lnTo>
                  <a:lnTo>
                    <a:pt x="260148" y="91290"/>
                  </a:lnTo>
                  <a:lnTo>
                    <a:pt x="266953" y="133477"/>
                  </a:lnTo>
                  <a:lnTo>
                    <a:pt x="260148" y="175668"/>
                  </a:lnTo>
                  <a:lnTo>
                    <a:pt x="241198" y="212309"/>
                  </a:lnTo>
                  <a:lnTo>
                    <a:pt x="212303" y="241202"/>
                  </a:lnTo>
                  <a:lnTo>
                    <a:pt x="175663" y="260149"/>
                  </a:lnTo>
                  <a:lnTo>
                    <a:pt x="133476" y="266954"/>
                  </a:lnTo>
                  <a:lnTo>
                    <a:pt x="91285" y="260149"/>
                  </a:lnTo>
                  <a:lnTo>
                    <a:pt x="54644" y="241202"/>
                  </a:lnTo>
                  <a:lnTo>
                    <a:pt x="25751" y="212309"/>
                  </a:lnTo>
                  <a:lnTo>
                    <a:pt x="6804" y="175668"/>
                  </a:lnTo>
                  <a:lnTo>
                    <a:pt x="0" y="133477"/>
                  </a:lnTo>
                  <a:lnTo>
                    <a:pt x="6804" y="91290"/>
                  </a:lnTo>
                  <a:lnTo>
                    <a:pt x="25751" y="54650"/>
                  </a:lnTo>
                  <a:lnTo>
                    <a:pt x="54644" y="25755"/>
                  </a:lnTo>
                  <a:lnTo>
                    <a:pt x="91285" y="6805"/>
                  </a:lnTo>
                  <a:lnTo>
                    <a:pt x="133476" y="0"/>
                  </a:lnTo>
                  <a:close/>
                </a:path>
              </a:pathLst>
            </a:custGeom>
            <a:ln w="6972">
              <a:solidFill>
                <a:srgbClr val="E8C12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" name="object 66">
              <a:extLst>
                <a:ext uri="{FF2B5EF4-FFF2-40B4-BE49-F238E27FC236}">
                  <a16:creationId xmlns:a16="http://schemas.microsoft.com/office/drawing/2014/main" id="{60F46C2C-3669-4BC5-9D0B-43AFCB7F7747}"/>
                </a:ext>
              </a:extLst>
            </p:cNvPr>
            <p:cNvSpPr/>
            <p:nvPr/>
          </p:nvSpPr>
          <p:spPr>
            <a:xfrm>
              <a:off x="7907385" y="6150846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8" y="6804"/>
                  </a:lnTo>
                  <a:lnTo>
                    <a:pt x="212309" y="25751"/>
                  </a:lnTo>
                  <a:lnTo>
                    <a:pt x="241202" y="54644"/>
                  </a:lnTo>
                  <a:lnTo>
                    <a:pt x="260149" y="91285"/>
                  </a:lnTo>
                  <a:lnTo>
                    <a:pt x="266953" y="133476"/>
                  </a:lnTo>
                  <a:lnTo>
                    <a:pt x="260149" y="175663"/>
                  </a:lnTo>
                  <a:lnTo>
                    <a:pt x="241202" y="212303"/>
                  </a:lnTo>
                  <a:lnTo>
                    <a:pt x="212309" y="241198"/>
                  </a:lnTo>
                  <a:lnTo>
                    <a:pt x="175668" y="260148"/>
                  </a:lnTo>
                  <a:lnTo>
                    <a:pt x="133476" y="266953"/>
                  </a:lnTo>
                  <a:lnTo>
                    <a:pt x="91290" y="260148"/>
                  </a:lnTo>
                  <a:lnTo>
                    <a:pt x="54650" y="241198"/>
                  </a:lnTo>
                  <a:lnTo>
                    <a:pt x="25755" y="212303"/>
                  </a:lnTo>
                  <a:lnTo>
                    <a:pt x="6805" y="175663"/>
                  </a:lnTo>
                  <a:lnTo>
                    <a:pt x="0" y="133476"/>
                  </a:lnTo>
                  <a:lnTo>
                    <a:pt x="6805" y="91285"/>
                  </a:lnTo>
                  <a:lnTo>
                    <a:pt x="25755" y="54644"/>
                  </a:lnTo>
                  <a:lnTo>
                    <a:pt x="54650" y="25751"/>
                  </a:lnTo>
                  <a:lnTo>
                    <a:pt x="91290" y="6804"/>
                  </a:lnTo>
                  <a:lnTo>
                    <a:pt x="133476" y="0"/>
                  </a:lnTo>
                  <a:close/>
                </a:path>
              </a:pathLst>
            </a:custGeom>
            <a:ln w="5803">
              <a:solidFill>
                <a:srgbClr val="EEC82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" name="object 67">
              <a:extLst>
                <a:ext uri="{FF2B5EF4-FFF2-40B4-BE49-F238E27FC236}">
                  <a16:creationId xmlns:a16="http://schemas.microsoft.com/office/drawing/2014/main" id="{867E0307-C0AA-401A-9A59-22334EC3DE3E}"/>
                </a:ext>
              </a:extLst>
            </p:cNvPr>
            <p:cNvSpPr/>
            <p:nvPr/>
          </p:nvSpPr>
          <p:spPr>
            <a:xfrm>
              <a:off x="7907285" y="6150739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3" y="6805"/>
                  </a:lnTo>
                  <a:lnTo>
                    <a:pt x="212303" y="25755"/>
                  </a:lnTo>
                  <a:lnTo>
                    <a:pt x="241198" y="54650"/>
                  </a:lnTo>
                  <a:lnTo>
                    <a:pt x="260148" y="91290"/>
                  </a:lnTo>
                  <a:lnTo>
                    <a:pt x="266953" y="133477"/>
                  </a:lnTo>
                  <a:lnTo>
                    <a:pt x="260148" y="175668"/>
                  </a:lnTo>
                  <a:lnTo>
                    <a:pt x="241198" y="212309"/>
                  </a:lnTo>
                  <a:lnTo>
                    <a:pt x="212303" y="241202"/>
                  </a:lnTo>
                  <a:lnTo>
                    <a:pt x="175663" y="260149"/>
                  </a:lnTo>
                  <a:lnTo>
                    <a:pt x="133476" y="266954"/>
                  </a:lnTo>
                  <a:lnTo>
                    <a:pt x="91285" y="260149"/>
                  </a:lnTo>
                  <a:lnTo>
                    <a:pt x="54644" y="241202"/>
                  </a:lnTo>
                  <a:lnTo>
                    <a:pt x="25751" y="212309"/>
                  </a:lnTo>
                  <a:lnTo>
                    <a:pt x="6804" y="175668"/>
                  </a:lnTo>
                  <a:lnTo>
                    <a:pt x="0" y="133477"/>
                  </a:lnTo>
                  <a:lnTo>
                    <a:pt x="6804" y="91290"/>
                  </a:lnTo>
                  <a:lnTo>
                    <a:pt x="25751" y="54650"/>
                  </a:lnTo>
                  <a:lnTo>
                    <a:pt x="54644" y="25755"/>
                  </a:lnTo>
                  <a:lnTo>
                    <a:pt x="91285" y="6805"/>
                  </a:lnTo>
                  <a:lnTo>
                    <a:pt x="133476" y="0"/>
                  </a:lnTo>
                  <a:close/>
                </a:path>
              </a:pathLst>
            </a:custGeom>
            <a:ln w="4648">
              <a:solidFill>
                <a:srgbClr val="F5CF3A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" name="object 68">
              <a:extLst>
                <a:ext uri="{FF2B5EF4-FFF2-40B4-BE49-F238E27FC236}">
                  <a16:creationId xmlns:a16="http://schemas.microsoft.com/office/drawing/2014/main" id="{37180ADA-9380-480E-9B4B-4003AFCA1902}"/>
                </a:ext>
              </a:extLst>
            </p:cNvPr>
            <p:cNvSpPr/>
            <p:nvPr/>
          </p:nvSpPr>
          <p:spPr>
            <a:xfrm>
              <a:off x="7907180" y="6150640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3" y="6805"/>
                  </a:lnTo>
                  <a:lnTo>
                    <a:pt x="212303" y="25755"/>
                  </a:lnTo>
                  <a:lnTo>
                    <a:pt x="241198" y="54650"/>
                  </a:lnTo>
                  <a:lnTo>
                    <a:pt x="260148" y="91290"/>
                  </a:lnTo>
                  <a:lnTo>
                    <a:pt x="266953" y="133476"/>
                  </a:lnTo>
                  <a:lnTo>
                    <a:pt x="260148" y="175663"/>
                  </a:lnTo>
                  <a:lnTo>
                    <a:pt x="241198" y="212303"/>
                  </a:lnTo>
                  <a:lnTo>
                    <a:pt x="212303" y="241198"/>
                  </a:lnTo>
                  <a:lnTo>
                    <a:pt x="175663" y="260148"/>
                  </a:lnTo>
                  <a:lnTo>
                    <a:pt x="133476" y="266953"/>
                  </a:lnTo>
                  <a:lnTo>
                    <a:pt x="91290" y="260148"/>
                  </a:lnTo>
                  <a:lnTo>
                    <a:pt x="54650" y="241198"/>
                  </a:lnTo>
                  <a:lnTo>
                    <a:pt x="25755" y="212303"/>
                  </a:lnTo>
                  <a:lnTo>
                    <a:pt x="6805" y="175663"/>
                  </a:lnTo>
                  <a:lnTo>
                    <a:pt x="0" y="133476"/>
                  </a:lnTo>
                  <a:lnTo>
                    <a:pt x="6805" y="91290"/>
                  </a:lnTo>
                  <a:lnTo>
                    <a:pt x="25755" y="54650"/>
                  </a:lnTo>
                  <a:lnTo>
                    <a:pt x="54650" y="25755"/>
                  </a:lnTo>
                  <a:lnTo>
                    <a:pt x="91290" y="6805"/>
                  </a:lnTo>
                  <a:lnTo>
                    <a:pt x="133476" y="0"/>
                  </a:lnTo>
                  <a:close/>
                </a:path>
              </a:pathLst>
            </a:custGeom>
            <a:ln w="3479">
              <a:solidFill>
                <a:srgbClr val="FAD745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" name="object 69">
              <a:extLst>
                <a:ext uri="{FF2B5EF4-FFF2-40B4-BE49-F238E27FC236}">
                  <a16:creationId xmlns:a16="http://schemas.microsoft.com/office/drawing/2014/main" id="{4ADEA58E-9685-465E-9BC0-461D52FE56A7}"/>
                </a:ext>
              </a:extLst>
            </p:cNvPr>
            <p:cNvSpPr/>
            <p:nvPr/>
          </p:nvSpPr>
          <p:spPr>
            <a:xfrm>
              <a:off x="7907077" y="6150535"/>
              <a:ext cx="267335" cy="267335"/>
            </a:xfrm>
            <a:custGeom>
              <a:avLst/>
              <a:gdLst/>
              <a:ahLst/>
              <a:cxnLst/>
              <a:rect l="l" t="t" r="r" b="b"/>
              <a:pathLst>
                <a:path w="267334" h="267334">
                  <a:moveTo>
                    <a:pt x="133476" y="0"/>
                  </a:moveTo>
                  <a:lnTo>
                    <a:pt x="175663" y="6805"/>
                  </a:lnTo>
                  <a:lnTo>
                    <a:pt x="212303" y="25755"/>
                  </a:lnTo>
                  <a:lnTo>
                    <a:pt x="241198" y="54650"/>
                  </a:lnTo>
                  <a:lnTo>
                    <a:pt x="260148" y="91290"/>
                  </a:lnTo>
                  <a:lnTo>
                    <a:pt x="266953" y="133477"/>
                  </a:lnTo>
                  <a:lnTo>
                    <a:pt x="260148" y="175663"/>
                  </a:lnTo>
                  <a:lnTo>
                    <a:pt x="241198" y="212303"/>
                  </a:lnTo>
                  <a:lnTo>
                    <a:pt x="212303" y="241198"/>
                  </a:lnTo>
                  <a:lnTo>
                    <a:pt x="175663" y="260148"/>
                  </a:lnTo>
                  <a:lnTo>
                    <a:pt x="133476" y="266954"/>
                  </a:lnTo>
                  <a:lnTo>
                    <a:pt x="91290" y="260148"/>
                  </a:lnTo>
                  <a:lnTo>
                    <a:pt x="54650" y="241198"/>
                  </a:lnTo>
                  <a:lnTo>
                    <a:pt x="25755" y="212303"/>
                  </a:lnTo>
                  <a:lnTo>
                    <a:pt x="6805" y="175663"/>
                  </a:lnTo>
                  <a:lnTo>
                    <a:pt x="0" y="133477"/>
                  </a:lnTo>
                  <a:lnTo>
                    <a:pt x="6805" y="91290"/>
                  </a:lnTo>
                  <a:lnTo>
                    <a:pt x="25755" y="54650"/>
                  </a:lnTo>
                  <a:lnTo>
                    <a:pt x="54650" y="25755"/>
                  </a:lnTo>
                  <a:lnTo>
                    <a:pt x="91290" y="6805"/>
                  </a:lnTo>
                  <a:lnTo>
                    <a:pt x="133476" y="0"/>
                  </a:lnTo>
                  <a:close/>
                </a:path>
              </a:pathLst>
            </a:custGeom>
            <a:ln w="3175">
              <a:solidFill>
                <a:srgbClr val="FEE15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" name="object 70">
              <a:extLst>
                <a:ext uri="{FF2B5EF4-FFF2-40B4-BE49-F238E27FC236}">
                  <a16:creationId xmlns:a16="http://schemas.microsoft.com/office/drawing/2014/main" id="{BFA74239-638A-4771-AFA0-CD15447BF671}"/>
                </a:ext>
              </a:extLst>
            </p:cNvPr>
            <p:cNvSpPr/>
            <p:nvPr/>
          </p:nvSpPr>
          <p:spPr>
            <a:xfrm>
              <a:off x="8193695" y="6272587"/>
              <a:ext cx="8890" cy="8890"/>
            </a:xfrm>
            <a:custGeom>
              <a:avLst/>
              <a:gdLst/>
              <a:ahLst/>
              <a:cxnLst/>
              <a:rect l="l" t="t" r="r" b="b"/>
              <a:pathLst>
                <a:path w="8890" h="8890">
                  <a:moveTo>
                    <a:pt x="6515" y="0"/>
                  </a:moveTo>
                  <a:lnTo>
                    <a:pt x="1917" y="0"/>
                  </a:lnTo>
                  <a:lnTo>
                    <a:pt x="0" y="1905"/>
                  </a:lnTo>
                  <a:lnTo>
                    <a:pt x="0" y="6515"/>
                  </a:lnTo>
                  <a:lnTo>
                    <a:pt x="1917" y="8420"/>
                  </a:lnTo>
                  <a:lnTo>
                    <a:pt x="4216" y="8420"/>
                  </a:lnTo>
                  <a:lnTo>
                    <a:pt x="6515" y="8420"/>
                  </a:lnTo>
                  <a:lnTo>
                    <a:pt x="8432" y="6515"/>
                  </a:lnTo>
                  <a:lnTo>
                    <a:pt x="8432" y="1905"/>
                  </a:lnTo>
                  <a:lnTo>
                    <a:pt x="6515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" name="object 71">
              <a:extLst>
                <a:ext uri="{FF2B5EF4-FFF2-40B4-BE49-F238E27FC236}">
                  <a16:creationId xmlns:a16="http://schemas.microsoft.com/office/drawing/2014/main" id="{BB7A42D7-63F6-4275-A6CD-439787BFC946}"/>
                </a:ext>
              </a:extLst>
            </p:cNvPr>
            <p:cNvSpPr/>
            <p:nvPr/>
          </p:nvSpPr>
          <p:spPr>
            <a:xfrm>
              <a:off x="8193768" y="6272700"/>
              <a:ext cx="8255" cy="8255"/>
            </a:xfrm>
            <a:custGeom>
              <a:avLst/>
              <a:gdLst/>
              <a:ahLst/>
              <a:cxnLst/>
              <a:rect l="l" t="t" r="r" b="b"/>
              <a:pathLst>
                <a:path w="8254" h="8254">
                  <a:moveTo>
                    <a:pt x="6337" y="0"/>
                  </a:moveTo>
                  <a:lnTo>
                    <a:pt x="1866" y="0"/>
                  </a:lnTo>
                  <a:lnTo>
                    <a:pt x="0" y="1854"/>
                  </a:lnTo>
                  <a:lnTo>
                    <a:pt x="0" y="6324"/>
                  </a:lnTo>
                  <a:lnTo>
                    <a:pt x="1866" y="8178"/>
                  </a:lnTo>
                  <a:lnTo>
                    <a:pt x="4102" y="8178"/>
                  </a:lnTo>
                  <a:lnTo>
                    <a:pt x="6337" y="8178"/>
                  </a:lnTo>
                  <a:lnTo>
                    <a:pt x="8191" y="6324"/>
                  </a:lnTo>
                  <a:lnTo>
                    <a:pt x="8191" y="1854"/>
                  </a:lnTo>
                  <a:lnTo>
                    <a:pt x="6337" y="0"/>
                  </a:lnTo>
                  <a:close/>
                </a:path>
              </a:pathLst>
            </a:custGeom>
            <a:solidFill>
              <a:srgbClr val="7365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" name="object 72">
              <a:extLst>
                <a:ext uri="{FF2B5EF4-FFF2-40B4-BE49-F238E27FC236}">
                  <a16:creationId xmlns:a16="http://schemas.microsoft.com/office/drawing/2014/main" id="{D4D411E8-53F4-4472-BD37-58E4CCCA88CA}"/>
                </a:ext>
              </a:extLst>
            </p:cNvPr>
            <p:cNvSpPr/>
            <p:nvPr/>
          </p:nvSpPr>
          <p:spPr>
            <a:xfrm>
              <a:off x="8193849" y="6272822"/>
              <a:ext cx="8255" cy="8255"/>
            </a:xfrm>
            <a:custGeom>
              <a:avLst/>
              <a:gdLst/>
              <a:ahLst/>
              <a:cxnLst/>
              <a:rect l="l" t="t" r="r" b="b"/>
              <a:pathLst>
                <a:path w="8254" h="8254">
                  <a:moveTo>
                    <a:pt x="6146" y="0"/>
                  </a:moveTo>
                  <a:lnTo>
                    <a:pt x="1803" y="0"/>
                  </a:lnTo>
                  <a:lnTo>
                    <a:pt x="0" y="1790"/>
                  </a:lnTo>
                  <a:lnTo>
                    <a:pt x="0" y="6134"/>
                  </a:lnTo>
                  <a:lnTo>
                    <a:pt x="1803" y="7937"/>
                  </a:lnTo>
                  <a:lnTo>
                    <a:pt x="3975" y="7937"/>
                  </a:lnTo>
                  <a:lnTo>
                    <a:pt x="6146" y="7937"/>
                  </a:lnTo>
                  <a:lnTo>
                    <a:pt x="7937" y="6134"/>
                  </a:lnTo>
                  <a:lnTo>
                    <a:pt x="7937" y="1790"/>
                  </a:lnTo>
                  <a:lnTo>
                    <a:pt x="6146" y="0"/>
                  </a:lnTo>
                  <a:close/>
                </a:path>
              </a:pathLst>
            </a:custGeom>
            <a:solidFill>
              <a:srgbClr val="7F70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" name="object 73">
              <a:extLst>
                <a:ext uri="{FF2B5EF4-FFF2-40B4-BE49-F238E27FC236}">
                  <a16:creationId xmlns:a16="http://schemas.microsoft.com/office/drawing/2014/main" id="{6BF47424-AF6B-445C-82B8-83F6B25AAFB9}"/>
                </a:ext>
              </a:extLst>
            </p:cNvPr>
            <p:cNvSpPr/>
            <p:nvPr/>
          </p:nvSpPr>
          <p:spPr>
            <a:xfrm>
              <a:off x="8193929" y="6272938"/>
              <a:ext cx="8255" cy="8255"/>
            </a:xfrm>
            <a:custGeom>
              <a:avLst/>
              <a:gdLst/>
              <a:ahLst/>
              <a:cxnLst/>
              <a:rect l="l" t="t" r="r" b="b"/>
              <a:pathLst>
                <a:path w="8254" h="8254">
                  <a:moveTo>
                    <a:pt x="5956" y="0"/>
                  </a:moveTo>
                  <a:lnTo>
                    <a:pt x="1739" y="0"/>
                  </a:lnTo>
                  <a:lnTo>
                    <a:pt x="0" y="1739"/>
                  </a:lnTo>
                  <a:lnTo>
                    <a:pt x="0" y="5943"/>
                  </a:lnTo>
                  <a:lnTo>
                    <a:pt x="1739" y="7696"/>
                  </a:lnTo>
                  <a:lnTo>
                    <a:pt x="3848" y="7696"/>
                  </a:lnTo>
                  <a:lnTo>
                    <a:pt x="5956" y="7696"/>
                  </a:lnTo>
                  <a:lnTo>
                    <a:pt x="7696" y="5943"/>
                  </a:lnTo>
                  <a:lnTo>
                    <a:pt x="7696" y="1739"/>
                  </a:lnTo>
                  <a:lnTo>
                    <a:pt x="5956" y="0"/>
                  </a:lnTo>
                  <a:close/>
                </a:path>
              </a:pathLst>
            </a:custGeom>
            <a:solidFill>
              <a:srgbClr val="8B78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" name="object 74">
              <a:extLst>
                <a:ext uri="{FF2B5EF4-FFF2-40B4-BE49-F238E27FC236}">
                  <a16:creationId xmlns:a16="http://schemas.microsoft.com/office/drawing/2014/main" id="{48485D4E-60C7-42D7-9947-CAF7807867D9}"/>
                </a:ext>
              </a:extLst>
            </p:cNvPr>
            <p:cNvSpPr/>
            <p:nvPr/>
          </p:nvSpPr>
          <p:spPr>
            <a:xfrm>
              <a:off x="8194012" y="6273060"/>
              <a:ext cx="7620" cy="7620"/>
            </a:xfrm>
            <a:custGeom>
              <a:avLst/>
              <a:gdLst/>
              <a:ahLst/>
              <a:cxnLst/>
              <a:rect l="l" t="t" r="r" b="b"/>
              <a:pathLst>
                <a:path w="7620" h="7620">
                  <a:moveTo>
                    <a:pt x="5753" y="0"/>
                  </a:moveTo>
                  <a:lnTo>
                    <a:pt x="1689" y="0"/>
                  </a:lnTo>
                  <a:lnTo>
                    <a:pt x="0" y="1689"/>
                  </a:lnTo>
                  <a:lnTo>
                    <a:pt x="0" y="5753"/>
                  </a:lnTo>
                  <a:lnTo>
                    <a:pt x="1689" y="7442"/>
                  </a:lnTo>
                  <a:lnTo>
                    <a:pt x="3721" y="7442"/>
                  </a:lnTo>
                  <a:lnTo>
                    <a:pt x="5753" y="7442"/>
                  </a:lnTo>
                  <a:lnTo>
                    <a:pt x="7442" y="5753"/>
                  </a:lnTo>
                  <a:lnTo>
                    <a:pt x="7442" y="1689"/>
                  </a:lnTo>
                  <a:lnTo>
                    <a:pt x="5753" y="0"/>
                  </a:lnTo>
                  <a:close/>
                </a:path>
              </a:pathLst>
            </a:custGeom>
            <a:solidFill>
              <a:srgbClr val="9883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" name="object 75">
              <a:extLst>
                <a:ext uri="{FF2B5EF4-FFF2-40B4-BE49-F238E27FC236}">
                  <a16:creationId xmlns:a16="http://schemas.microsoft.com/office/drawing/2014/main" id="{CD517180-D90F-4A7E-8F08-16050A30FB65}"/>
                </a:ext>
              </a:extLst>
            </p:cNvPr>
            <p:cNvSpPr/>
            <p:nvPr/>
          </p:nvSpPr>
          <p:spPr>
            <a:xfrm>
              <a:off x="8194082" y="6273170"/>
              <a:ext cx="7620" cy="7620"/>
            </a:xfrm>
            <a:custGeom>
              <a:avLst/>
              <a:gdLst/>
              <a:ahLst/>
              <a:cxnLst/>
              <a:rect l="l" t="t" r="r" b="b"/>
              <a:pathLst>
                <a:path w="7620" h="7620">
                  <a:moveTo>
                    <a:pt x="5575" y="0"/>
                  </a:moveTo>
                  <a:lnTo>
                    <a:pt x="1638" y="0"/>
                  </a:lnTo>
                  <a:lnTo>
                    <a:pt x="0" y="1638"/>
                  </a:lnTo>
                  <a:lnTo>
                    <a:pt x="0" y="5575"/>
                  </a:lnTo>
                  <a:lnTo>
                    <a:pt x="1638" y="7213"/>
                  </a:lnTo>
                  <a:lnTo>
                    <a:pt x="3606" y="7213"/>
                  </a:lnTo>
                  <a:lnTo>
                    <a:pt x="5575" y="7213"/>
                  </a:lnTo>
                  <a:lnTo>
                    <a:pt x="7213" y="5575"/>
                  </a:lnTo>
                  <a:lnTo>
                    <a:pt x="7213" y="1638"/>
                  </a:lnTo>
                  <a:lnTo>
                    <a:pt x="5575" y="0"/>
                  </a:lnTo>
                  <a:close/>
                </a:path>
              </a:pathLst>
            </a:custGeom>
            <a:solidFill>
              <a:srgbClr val="A48C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" name="object 76">
              <a:extLst>
                <a:ext uri="{FF2B5EF4-FFF2-40B4-BE49-F238E27FC236}">
                  <a16:creationId xmlns:a16="http://schemas.microsoft.com/office/drawing/2014/main" id="{B74D7D2C-5E67-4474-BB0E-845938C8FF57}"/>
                </a:ext>
              </a:extLst>
            </p:cNvPr>
            <p:cNvSpPr/>
            <p:nvPr/>
          </p:nvSpPr>
          <p:spPr>
            <a:xfrm>
              <a:off x="8194167" y="6273298"/>
              <a:ext cx="6985" cy="6985"/>
            </a:xfrm>
            <a:custGeom>
              <a:avLst/>
              <a:gdLst/>
              <a:ahLst/>
              <a:cxnLst/>
              <a:rect l="l" t="t" r="r" b="b"/>
              <a:pathLst>
                <a:path w="6984" h="6984">
                  <a:moveTo>
                    <a:pt x="5384" y="0"/>
                  </a:moveTo>
                  <a:lnTo>
                    <a:pt x="1574" y="0"/>
                  </a:lnTo>
                  <a:lnTo>
                    <a:pt x="0" y="1574"/>
                  </a:lnTo>
                  <a:lnTo>
                    <a:pt x="0" y="5384"/>
                  </a:lnTo>
                  <a:lnTo>
                    <a:pt x="1574" y="6959"/>
                  </a:lnTo>
                  <a:lnTo>
                    <a:pt x="3479" y="6959"/>
                  </a:lnTo>
                  <a:lnTo>
                    <a:pt x="5384" y="6959"/>
                  </a:lnTo>
                  <a:lnTo>
                    <a:pt x="6959" y="5384"/>
                  </a:lnTo>
                  <a:lnTo>
                    <a:pt x="6959" y="1574"/>
                  </a:lnTo>
                  <a:lnTo>
                    <a:pt x="5384" y="0"/>
                  </a:lnTo>
                  <a:close/>
                </a:path>
              </a:pathLst>
            </a:custGeom>
            <a:solidFill>
              <a:srgbClr val="B396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" name="object 77">
              <a:extLst>
                <a:ext uri="{FF2B5EF4-FFF2-40B4-BE49-F238E27FC236}">
                  <a16:creationId xmlns:a16="http://schemas.microsoft.com/office/drawing/2014/main" id="{B4AC9746-2FD4-4EDE-8C8B-96BD6624DB5F}"/>
                </a:ext>
              </a:extLst>
            </p:cNvPr>
            <p:cNvSpPr/>
            <p:nvPr/>
          </p:nvSpPr>
          <p:spPr>
            <a:xfrm>
              <a:off x="8194233" y="6273416"/>
              <a:ext cx="6985" cy="6985"/>
            </a:xfrm>
            <a:custGeom>
              <a:avLst/>
              <a:gdLst/>
              <a:ahLst/>
              <a:cxnLst/>
              <a:rect l="l" t="t" r="r" b="b"/>
              <a:pathLst>
                <a:path w="6984" h="6984">
                  <a:moveTo>
                    <a:pt x="5206" y="0"/>
                  </a:moveTo>
                  <a:lnTo>
                    <a:pt x="1536" y="0"/>
                  </a:lnTo>
                  <a:lnTo>
                    <a:pt x="0" y="1524"/>
                  </a:lnTo>
                  <a:lnTo>
                    <a:pt x="0" y="5194"/>
                  </a:lnTo>
                  <a:lnTo>
                    <a:pt x="1536" y="6718"/>
                  </a:lnTo>
                  <a:lnTo>
                    <a:pt x="3365" y="6718"/>
                  </a:lnTo>
                  <a:lnTo>
                    <a:pt x="5206" y="6718"/>
                  </a:lnTo>
                  <a:lnTo>
                    <a:pt x="6730" y="5194"/>
                  </a:lnTo>
                  <a:lnTo>
                    <a:pt x="6730" y="1524"/>
                  </a:lnTo>
                  <a:lnTo>
                    <a:pt x="5206" y="0"/>
                  </a:lnTo>
                  <a:close/>
                </a:path>
              </a:pathLst>
            </a:custGeom>
            <a:solidFill>
              <a:srgbClr val="BFA0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" name="object 78">
              <a:extLst>
                <a:ext uri="{FF2B5EF4-FFF2-40B4-BE49-F238E27FC236}">
                  <a16:creationId xmlns:a16="http://schemas.microsoft.com/office/drawing/2014/main" id="{C7954ED1-CFBF-46AC-B737-79B8970DE426}"/>
                </a:ext>
              </a:extLst>
            </p:cNvPr>
            <p:cNvSpPr/>
            <p:nvPr/>
          </p:nvSpPr>
          <p:spPr>
            <a:xfrm>
              <a:off x="8194318" y="6273532"/>
              <a:ext cx="6985" cy="6985"/>
            </a:xfrm>
            <a:custGeom>
              <a:avLst/>
              <a:gdLst/>
              <a:ahLst/>
              <a:cxnLst/>
              <a:rect l="l" t="t" r="r" b="b"/>
              <a:pathLst>
                <a:path w="6984" h="6984">
                  <a:moveTo>
                    <a:pt x="5003" y="0"/>
                  </a:moveTo>
                  <a:lnTo>
                    <a:pt x="1473" y="0"/>
                  </a:lnTo>
                  <a:lnTo>
                    <a:pt x="0" y="1473"/>
                  </a:lnTo>
                  <a:lnTo>
                    <a:pt x="0" y="5003"/>
                  </a:lnTo>
                  <a:lnTo>
                    <a:pt x="1473" y="6477"/>
                  </a:lnTo>
                  <a:lnTo>
                    <a:pt x="3238" y="6477"/>
                  </a:lnTo>
                  <a:lnTo>
                    <a:pt x="5003" y="6477"/>
                  </a:lnTo>
                  <a:lnTo>
                    <a:pt x="6476" y="5003"/>
                  </a:lnTo>
                  <a:lnTo>
                    <a:pt x="6476" y="1473"/>
                  </a:lnTo>
                  <a:lnTo>
                    <a:pt x="5003" y="0"/>
                  </a:lnTo>
                  <a:close/>
                </a:path>
              </a:pathLst>
            </a:custGeom>
            <a:solidFill>
              <a:srgbClr val="D0AA2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" name="object 79">
              <a:extLst>
                <a:ext uri="{FF2B5EF4-FFF2-40B4-BE49-F238E27FC236}">
                  <a16:creationId xmlns:a16="http://schemas.microsoft.com/office/drawing/2014/main" id="{80E19E97-DE9C-421B-ABC7-57CE03EB89A3}"/>
                </a:ext>
              </a:extLst>
            </p:cNvPr>
            <p:cNvSpPr/>
            <p:nvPr/>
          </p:nvSpPr>
          <p:spPr>
            <a:xfrm>
              <a:off x="8194399" y="6273650"/>
              <a:ext cx="6350" cy="6350"/>
            </a:xfrm>
            <a:custGeom>
              <a:avLst/>
              <a:gdLst/>
              <a:ahLst/>
              <a:cxnLst/>
              <a:rect l="l" t="t" r="r" b="b"/>
              <a:pathLst>
                <a:path w="6350" h="6350">
                  <a:moveTo>
                    <a:pt x="4813" y="0"/>
                  </a:moveTo>
                  <a:lnTo>
                    <a:pt x="1409" y="0"/>
                  </a:lnTo>
                  <a:lnTo>
                    <a:pt x="0" y="1409"/>
                  </a:lnTo>
                  <a:lnTo>
                    <a:pt x="0" y="4825"/>
                  </a:lnTo>
                  <a:lnTo>
                    <a:pt x="1409" y="6235"/>
                  </a:lnTo>
                  <a:lnTo>
                    <a:pt x="3111" y="6235"/>
                  </a:lnTo>
                  <a:lnTo>
                    <a:pt x="4813" y="6235"/>
                  </a:lnTo>
                  <a:lnTo>
                    <a:pt x="6235" y="4825"/>
                  </a:lnTo>
                  <a:lnTo>
                    <a:pt x="6235" y="1409"/>
                  </a:lnTo>
                  <a:lnTo>
                    <a:pt x="4813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" name="object 80">
              <a:extLst>
                <a:ext uri="{FF2B5EF4-FFF2-40B4-BE49-F238E27FC236}">
                  <a16:creationId xmlns:a16="http://schemas.microsoft.com/office/drawing/2014/main" id="{FF6A3183-CCDC-429F-859D-8639F49830CA}"/>
                </a:ext>
              </a:extLst>
            </p:cNvPr>
            <p:cNvSpPr/>
            <p:nvPr/>
          </p:nvSpPr>
          <p:spPr>
            <a:xfrm>
              <a:off x="8195092" y="6274578"/>
              <a:ext cx="2540" cy="3175"/>
            </a:xfrm>
            <a:custGeom>
              <a:avLst/>
              <a:gdLst/>
              <a:ahLst/>
              <a:cxnLst/>
              <a:rect l="l" t="t" r="r" b="b"/>
              <a:pathLst>
                <a:path w="2540" h="3175">
                  <a:moveTo>
                    <a:pt x="1117" y="0"/>
                  </a:moveTo>
                  <a:lnTo>
                    <a:pt x="825" y="609"/>
                  </a:lnTo>
                  <a:lnTo>
                    <a:pt x="419" y="1104"/>
                  </a:lnTo>
                  <a:lnTo>
                    <a:pt x="0" y="1625"/>
                  </a:lnTo>
                  <a:lnTo>
                    <a:pt x="76" y="2413"/>
                  </a:lnTo>
                  <a:lnTo>
                    <a:pt x="457" y="2997"/>
                  </a:lnTo>
                  <a:lnTo>
                    <a:pt x="381" y="2425"/>
                  </a:lnTo>
                  <a:lnTo>
                    <a:pt x="1244" y="1828"/>
                  </a:lnTo>
                  <a:lnTo>
                    <a:pt x="1498" y="1346"/>
                  </a:lnTo>
                  <a:lnTo>
                    <a:pt x="1790" y="812"/>
                  </a:lnTo>
                  <a:lnTo>
                    <a:pt x="2006" y="800"/>
                  </a:lnTo>
                  <a:lnTo>
                    <a:pt x="1930" y="38"/>
                  </a:lnTo>
                  <a:lnTo>
                    <a:pt x="1117" y="0"/>
                  </a:lnTo>
                  <a:close/>
                </a:path>
              </a:pathLst>
            </a:custGeom>
            <a:solidFill>
              <a:srgbClr val="FEE66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" name="object 81">
              <a:extLst>
                <a:ext uri="{FF2B5EF4-FFF2-40B4-BE49-F238E27FC236}">
                  <a16:creationId xmlns:a16="http://schemas.microsoft.com/office/drawing/2014/main" id="{16D2C7E2-6559-4F0F-AF25-0870909744CB}"/>
                </a:ext>
              </a:extLst>
            </p:cNvPr>
            <p:cNvSpPr/>
            <p:nvPr/>
          </p:nvSpPr>
          <p:spPr>
            <a:xfrm>
              <a:off x="8197239" y="6276630"/>
              <a:ext cx="3810" cy="3175"/>
            </a:xfrm>
            <a:custGeom>
              <a:avLst/>
              <a:gdLst/>
              <a:ahLst/>
              <a:cxnLst/>
              <a:rect l="l" t="t" r="r" b="b"/>
              <a:pathLst>
                <a:path w="3809" h="3175">
                  <a:moveTo>
                    <a:pt x="3187" y="0"/>
                  </a:moveTo>
                  <a:lnTo>
                    <a:pt x="2197" y="177"/>
                  </a:lnTo>
                  <a:lnTo>
                    <a:pt x="2260" y="469"/>
                  </a:lnTo>
                  <a:lnTo>
                    <a:pt x="1701" y="1016"/>
                  </a:lnTo>
                  <a:lnTo>
                    <a:pt x="1181" y="1511"/>
                  </a:lnTo>
                  <a:lnTo>
                    <a:pt x="736" y="2806"/>
                  </a:lnTo>
                  <a:lnTo>
                    <a:pt x="0" y="2921"/>
                  </a:lnTo>
                  <a:lnTo>
                    <a:pt x="863" y="3175"/>
                  </a:lnTo>
                  <a:lnTo>
                    <a:pt x="1879" y="2997"/>
                  </a:lnTo>
                  <a:lnTo>
                    <a:pt x="2387" y="2273"/>
                  </a:lnTo>
                  <a:lnTo>
                    <a:pt x="2870" y="1600"/>
                  </a:lnTo>
                  <a:lnTo>
                    <a:pt x="3543" y="1016"/>
                  </a:lnTo>
                  <a:lnTo>
                    <a:pt x="3187" y="0"/>
                  </a:lnTo>
                  <a:close/>
                </a:path>
              </a:pathLst>
            </a:custGeom>
            <a:solidFill>
              <a:srgbClr val="A48C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" name="object 82">
              <a:extLst>
                <a:ext uri="{FF2B5EF4-FFF2-40B4-BE49-F238E27FC236}">
                  <a16:creationId xmlns:a16="http://schemas.microsoft.com/office/drawing/2014/main" id="{28053560-2CE8-44B8-99C3-E99C934D32D1}"/>
                </a:ext>
              </a:extLst>
            </p:cNvPr>
            <p:cNvSpPr/>
            <p:nvPr/>
          </p:nvSpPr>
          <p:spPr>
            <a:xfrm>
              <a:off x="7862652" y="6105498"/>
              <a:ext cx="358775" cy="358775"/>
            </a:xfrm>
            <a:custGeom>
              <a:avLst/>
              <a:gdLst/>
              <a:ahLst/>
              <a:cxnLst/>
              <a:rect l="l" t="t" r="r" b="b"/>
              <a:pathLst>
                <a:path w="358775" h="358775">
                  <a:moveTo>
                    <a:pt x="179133" y="0"/>
                  </a:moveTo>
                  <a:lnTo>
                    <a:pt x="226753" y="6398"/>
                  </a:lnTo>
                  <a:lnTo>
                    <a:pt x="269542" y="24456"/>
                  </a:lnTo>
                  <a:lnTo>
                    <a:pt x="305793" y="52466"/>
                  </a:lnTo>
                  <a:lnTo>
                    <a:pt x="333800" y="88721"/>
                  </a:lnTo>
                  <a:lnTo>
                    <a:pt x="351856" y="131512"/>
                  </a:lnTo>
                  <a:lnTo>
                    <a:pt x="358254" y="179133"/>
                  </a:lnTo>
                  <a:lnTo>
                    <a:pt x="351856" y="226749"/>
                  </a:lnTo>
                  <a:lnTo>
                    <a:pt x="333800" y="269536"/>
                  </a:lnTo>
                  <a:lnTo>
                    <a:pt x="305793" y="305789"/>
                  </a:lnTo>
                  <a:lnTo>
                    <a:pt x="269542" y="333797"/>
                  </a:lnTo>
                  <a:lnTo>
                    <a:pt x="226753" y="351855"/>
                  </a:lnTo>
                  <a:lnTo>
                    <a:pt x="179133" y="358254"/>
                  </a:lnTo>
                  <a:lnTo>
                    <a:pt x="131512" y="351855"/>
                  </a:lnTo>
                  <a:lnTo>
                    <a:pt x="88721" y="333797"/>
                  </a:lnTo>
                  <a:lnTo>
                    <a:pt x="52466" y="305789"/>
                  </a:lnTo>
                  <a:lnTo>
                    <a:pt x="24456" y="269536"/>
                  </a:lnTo>
                  <a:lnTo>
                    <a:pt x="6398" y="226749"/>
                  </a:lnTo>
                  <a:lnTo>
                    <a:pt x="0" y="179133"/>
                  </a:lnTo>
                  <a:lnTo>
                    <a:pt x="6398" y="131512"/>
                  </a:lnTo>
                  <a:lnTo>
                    <a:pt x="24456" y="88721"/>
                  </a:lnTo>
                  <a:lnTo>
                    <a:pt x="52466" y="52466"/>
                  </a:lnTo>
                  <a:lnTo>
                    <a:pt x="88721" y="24456"/>
                  </a:lnTo>
                  <a:lnTo>
                    <a:pt x="131512" y="6398"/>
                  </a:lnTo>
                  <a:lnTo>
                    <a:pt x="179133" y="0"/>
                  </a:lnTo>
                  <a:close/>
                </a:path>
              </a:pathLst>
            </a:custGeom>
            <a:ln w="9296">
              <a:solidFill>
                <a:srgbClr val="DCB327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" name="object 83">
              <a:extLst>
                <a:ext uri="{FF2B5EF4-FFF2-40B4-BE49-F238E27FC236}">
                  <a16:creationId xmlns:a16="http://schemas.microsoft.com/office/drawing/2014/main" id="{020AB2DE-E971-4153-9FEC-FEB9B629CC51}"/>
                </a:ext>
              </a:extLst>
            </p:cNvPr>
            <p:cNvSpPr/>
            <p:nvPr/>
          </p:nvSpPr>
          <p:spPr>
            <a:xfrm>
              <a:off x="7862037" y="6104886"/>
              <a:ext cx="358775" cy="358775"/>
            </a:xfrm>
            <a:custGeom>
              <a:avLst/>
              <a:gdLst/>
              <a:ahLst/>
              <a:cxnLst/>
              <a:rect l="l" t="t" r="r" b="b"/>
              <a:pathLst>
                <a:path w="358775" h="358775">
                  <a:moveTo>
                    <a:pt x="179133" y="0"/>
                  </a:moveTo>
                  <a:lnTo>
                    <a:pt x="226754" y="6398"/>
                  </a:lnTo>
                  <a:lnTo>
                    <a:pt x="269545" y="24456"/>
                  </a:lnTo>
                  <a:lnTo>
                    <a:pt x="305800" y="52465"/>
                  </a:lnTo>
                  <a:lnTo>
                    <a:pt x="333810" y="88717"/>
                  </a:lnTo>
                  <a:lnTo>
                    <a:pt x="351868" y="131505"/>
                  </a:lnTo>
                  <a:lnTo>
                    <a:pt x="358267" y="179120"/>
                  </a:lnTo>
                  <a:lnTo>
                    <a:pt x="351868" y="226741"/>
                  </a:lnTo>
                  <a:lnTo>
                    <a:pt x="333810" y="269533"/>
                  </a:lnTo>
                  <a:lnTo>
                    <a:pt x="305800" y="305787"/>
                  </a:lnTo>
                  <a:lnTo>
                    <a:pt x="269545" y="333797"/>
                  </a:lnTo>
                  <a:lnTo>
                    <a:pt x="226754" y="351855"/>
                  </a:lnTo>
                  <a:lnTo>
                    <a:pt x="179133" y="358254"/>
                  </a:lnTo>
                  <a:lnTo>
                    <a:pt x="131512" y="351855"/>
                  </a:lnTo>
                  <a:lnTo>
                    <a:pt x="88721" y="333797"/>
                  </a:lnTo>
                  <a:lnTo>
                    <a:pt x="52466" y="305787"/>
                  </a:lnTo>
                  <a:lnTo>
                    <a:pt x="24456" y="269533"/>
                  </a:lnTo>
                  <a:lnTo>
                    <a:pt x="6398" y="226741"/>
                  </a:lnTo>
                  <a:lnTo>
                    <a:pt x="0" y="179120"/>
                  </a:lnTo>
                  <a:lnTo>
                    <a:pt x="6398" y="131505"/>
                  </a:lnTo>
                  <a:lnTo>
                    <a:pt x="24456" y="88717"/>
                  </a:lnTo>
                  <a:lnTo>
                    <a:pt x="52466" y="52465"/>
                  </a:lnTo>
                  <a:lnTo>
                    <a:pt x="88721" y="24456"/>
                  </a:lnTo>
                  <a:lnTo>
                    <a:pt x="131512" y="6398"/>
                  </a:lnTo>
                  <a:lnTo>
                    <a:pt x="179133" y="0"/>
                  </a:lnTo>
                  <a:close/>
                </a:path>
              </a:pathLst>
            </a:custGeom>
            <a:ln w="3175">
              <a:solidFill>
                <a:srgbClr val="FEE15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" name="object 84">
              <a:extLst>
                <a:ext uri="{FF2B5EF4-FFF2-40B4-BE49-F238E27FC236}">
                  <a16:creationId xmlns:a16="http://schemas.microsoft.com/office/drawing/2014/main" id="{59CB4724-E282-462F-A6FF-935251538B88}"/>
                </a:ext>
              </a:extLst>
            </p:cNvPr>
            <p:cNvSpPr/>
            <p:nvPr/>
          </p:nvSpPr>
          <p:spPr>
            <a:xfrm>
              <a:off x="7858690" y="6101537"/>
              <a:ext cx="366395" cy="366395"/>
            </a:xfrm>
            <a:custGeom>
              <a:avLst/>
              <a:gdLst/>
              <a:ahLst/>
              <a:cxnLst/>
              <a:rect l="l" t="t" r="r" b="b"/>
              <a:pathLst>
                <a:path w="366395" h="366395">
                  <a:moveTo>
                    <a:pt x="183095" y="0"/>
                  </a:moveTo>
                  <a:lnTo>
                    <a:pt x="231768" y="6540"/>
                  </a:lnTo>
                  <a:lnTo>
                    <a:pt x="275506" y="24998"/>
                  </a:lnTo>
                  <a:lnTo>
                    <a:pt x="312562" y="53628"/>
                  </a:lnTo>
                  <a:lnTo>
                    <a:pt x="341193" y="90685"/>
                  </a:lnTo>
                  <a:lnTo>
                    <a:pt x="359651" y="134423"/>
                  </a:lnTo>
                  <a:lnTo>
                    <a:pt x="366191" y="183095"/>
                  </a:lnTo>
                  <a:lnTo>
                    <a:pt x="359651" y="231768"/>
                  </a:lnTo>
                  <a:lnTo>
                    <a:pt x="341193" y="275506"/>
                  </a:lnTo>
                  <a:lnTo>
                    <a:pt x="312562" y="312562"/>
                  </a:lnTo>
                  <a:lnTo>
                    <a:pt x="275506" y="341193"/>
                  </a:lnTo>
                  <a:lnTo>
                    <a:pt x="231768" y="359651"/>
                  </a:lnTo>
                  <a:lnTo>
                    <a:pt x="183095" y="366191"/>
                  </a:lnTo>
                  <a:lnTo>
                    <a:pt x="134423" y="359651"/>
                  </a:lnTo>
                  <a:lnTo>
                    <a:pt x="90685" y="341193"/>
                  </a:lnTo>
                  <a:lnTo>
                    <a:pt x="53628" y="312562"/>
                  </a:lnTo>
                  <a:lnTo>
                    <a:pt x="24998" y="275506"/>
                  </a:lnTo>
                  <a:lnTo>
                    <a:pt x="6540" y="231768"/>
                  </a:lnTo>
                  <a:lnTo>
                    <a:pt x="0" y="183095"/>
                  </a:lnTo>
                  <a:lnTo>
                    <a:pt x="6540" y="134423"/>
                  </a:lnTo>
                  <a:lnTo>
                    <a:pt x="24998" y="90685"/>
                  </a:lnTo>
                  <a:lnTo>
                    <a:pt x="53628" y="53628"/>
                  </a:lnTo>
                  <a:lnTo>
                    <a:pt x="90685" y="24998"/>
                  </a:lnTo>
                  <a:lnTo>
                    <a:pt x="134423" y="6540"/>
                  </a:lnTo>
                  <a:lnTo>
                    <a:pt x="183095" y="0"/>
                  </a:lnTo>
                  <a:close/>
                </a:path>
              </a:pathLst>
            </a:custGeom>
            <a:ln w="6972">
              <a:solidFill>
                <a:srgbClr val="91803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" name="object 85">
              <a:extLst>
                <a:ext uri="{FF2B5EF4-FFF2-40B4-BE49-F238E27FC236}">
                  <a16:creationId xmlns:a16="http://schemas.microsoft.com/office/drawing/2014/main" id="{75A2FAE4-1928-4F26-877F-2C701CD2B232}"/>
                </a:ext>
              </a:extLst>
            </p:cNvPr>
            <p:cNvSpPr/>
            <p:nvPr/>
          </p:nvSpPr>
          <p:spPr>
            <a:xfrm>
              <a:off x="7858063" y="6100907"/>
              <a:ext cx="366395" cy="366395"/>
            </a:xfrm>
            <a:custGeom>
              <a:avLst/>
              <a:gdLst/>
              <a:ahLst/>
              <a:cxnLst/>
              <a:rect l="l" t="t" r="r" b="b"/>
              <a:pathLst>
                <a:path w="366395" h="366395">
                  <a:moveTo>
                    <a:pt x="183095" y="0"/>
                  </a:moveTo>
                  <a:lnTo>
                    <a:pt x="231768" y="6540"/>
                  </a:lnTo>
                  <a:lnTo>
                    <a:pt x="275506" y="24998"/>
                  </a:lnTo>
                  <a:lnTo>
                    <a:pt x="312562" y="53628"/>
                  </a:lnTo>
                  <a:lnTo>
                    <a:pt x="341193" y="90685"/>
                  </a:lnTo>
                  <a:lnTo>
                    <a:pt x="359651" y="134423"/>
                  </a:lnTo>
                  <a:lnTo>
                    <a:pt x="366191" y="183095"/>
                  </a:lnTo>
                  <a:lnTo>
                    <a:pt x="359651" y="231767"/>
                  </a:lnTo>
                  <a:lnTo>
                    <a:pt x="341193" y="275502"/>
                  </a:lnTo>
                  <a:lnTo>
                    <a:pt x="312562" y="312556"/>
                  </a:lnTo>
                  <a:lnTo>
                    <a:pt x="275506" y="341183"/>
                  </a:lnTo>
                  <a:lnTo>
                    <a:pt x="231768" y="359639"/>
                  </a:lnTo>
                  <a:lnTo>
                    <a:pt x="183095" y="366179"/>
                  </a:lnTo>
                  <a:lnTo>
                    <a:pt x="134423" y="359639"/>
                  </a:lnTo>
                  <a:lnTo>
                    <a:pt x="90685" y="341183"/>
                  </a:lnTo>
                  <a:lnTo>
                    <a:pt x="53628" y="312556"/>
                  </a:lnTo>
                  <a:lnTo>
                    <a:pt x="24998" y="275502"/>
                  </a:lnTo>
                  <a:lnTo>
                    <a:pt x="6540" y="231767"/>
                  </a:lnTo>
                  <a:lnTo>
                    <a:pt x="0" y="183095"/>
                  </a:lnTo>
                  <a:lnTo>
                    <a:pt x="6540" y="134423"/>
                  </a:lnTo>
                  <a:lnTo>
                    <a:pt x="24998" y="90685"/>
                  </a:lnTo>
                  <a:lnTo>
                    <a:pt x="53628" y="53628"/>
                  </a:lnTo>
                  <a:lnTo>
                    <a:pt x="90685" y="24998"/>
                  </a:lnTo>
                  <a:lnTo>
                    <a:pt x="134423" y="6540"/>
                  </a:lnTo>
                  <a:lnTo>
                    <a:pt x="183095" y="0"/>
                  </a:lnTo>
                  <a:close/>
                </a:path>
              </a:pathLst>
            </a:custGeom>
            <a:ln w="3175">
              <a:solidFill>
                <a:srgbClr val="FEE153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" name="object 86">
              <a:extLst>
                <a:ext uri="{FF2B5EF4-FFF2-40B4-BE49-F238E27FC236}">
                  <a16:creationId xmlns:a16="http://schemas.microsoft.com/office/drawing/2014/main" id="{45A960AE-6FB9-475C-89DB-0BDBAFE5A021}"/>
                </a:ext>
              </a:extLst>
            </p:cNvPr>
            <p:cNvSpPr/>
            <p:nvPr/>
          </p:nvSpPr>
          <p:spPr>
            <a:xfrm>
              <a:off x="7874139" y="6285254"/>
              <a:ext cx="25400" cy="24765"/>
            </a:xfrm>
            <a:custGeom>
              <a:avLst/>
              <a:gdLst/>
              <a:ahLst/>
              <a:cxnLst/>
              <a:rect l="l" t="t" r="r" b="b"/>
              <a:pathLst>
                <a:path w="25400" h="24765">
                  <a:moveTo>
                    <a:pt x="23380" y="0"/>
                  </a:moveTo>
                  <a:lnTo>
                    <a:pt x="22339" y="88"/>
                  </a:lnTo>
                  <a:lnTo>
                    <a:pt x="22529" y="2387"/>
                  </a:lnTo>
                  <a:lnTo>
                    <a:pt x="21882" y="3238"/>
                  </a:lnTo>
                  <a:lnTo>
                    <a:pt x="2603" y="4813"/>
                  </a:lnTo>
                  <a:lnTo>
                    <a:pt x="0" y="8204"/>
                  </a:lnTo>
                  <a:lnTo>
                    <a:pt x="1015" y="20751"/>
                  </a:lnTo>
                  <a:lnTo>
                    <a:pt x="4152" y="22936"/>
                  </a:lnTo>
                  <a:lnTo>
                    <a:pt x="23367" y="21374"/>
                  </a:lnTo>
                  <a:lnTo>
                    <a:pt x="24129" y="22110"/>
                  </a:lnTo>
                  <a:lnTo>
                    <a:pt x="24320" y="24409"/>
                  </a:lnTo>
                  <a:lnTo>
                    <a:pt x="25374" y="24320"/>
                  </a:lnTo>
                  <a:lnTo>
                    <a:pt x="24726" y="16484"/>
                  </a:lnTo>
                  <a:lnTo>
                    <a:pt x="23685" y="16560"/>
                  </a:lnTo>
                  <a:lnTo>
                    <a:pt x="23863" y="18859"/>
                  </a:lnTo>
                  <a:lnTo>
                    <a:pt x="23228" y="19710"/>
                  </a:lnTo>
                  <a:lnTo>
                    <a:pt x="5156" y="21196"/>
                  </a:lnTo>
                  <a:lnTo>
                    <a:pt x="2209" y="19989"/>
                  </a:lnTo>
                  <a:lnTo>
                    <a:pt x="1549" y="11925"/>
                  </a:lnTo>
                  <a:lnTo>
                    <a:pt x="3086" y="9931"/>
                  </a:lnTo>
                  <a:lnTo>
                    <a:pt x="8864" y="9563"/>
                  </a:lnTo>
                  <a:lnTo>
                    <a:pt x="22313" y="8458"/>
                  </a:lnTo>
                  <a:lnTo>
                    <a:pt x="23075" y="9207"/>
                  </a:lnTo>
                  <a:lnTo>
                    <a:pt x="23266" y="11506"/>
                  </a:lnTo>
                  <a:lnTo>
                    <a:pt x="24320" y="11417"/>
                  </a:lnTo>
                  <a:lnTo>
                    <a:pt x="23380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" name="object 87">
              <a:extLst>
                <a:ext uri="{FF2B5EF4-FFF2-40B4-BE49-F238E27FC236}">
                  <a16:creationId xmlns:a16="http://schemas.microsoft.com/office/drawing/2014/main" id="{6290FBB2-2D33-4172-89BF-C89770F1A05F}"/>
                </a:ext>
              </a:extLst>
            </p:cNvPr>
            <p:cNvSpPr/>
            <p:nvPr/>
          </p:nvSpPr>
          <p:spPr>
            <a:xfrm>
              <a:off x="7874139" y="6285254"/>
              <a:ext cx="25400" cy="24765"/>
            </a:xfrm>
            <a:custGeom>
              <a:avLst/>
              <a:gdLst/>
              <a:ahLst/>
              <a:cxnLst/>
              <a:rect l="l" t="t" r="r" b="b"/>
              <a:pathLst>
                <a:path w="25400" h="24765">
                  <a:moveTo>
                    <a:pt x="8864" y="9563"/>
                  </a:moveTo>
                  <a:lnTo>
                    <a:pt x="3086" y="9931"/>
                  </a:lnTo>
                  <a:lnTo>
                    <a:pt x="1549" y="11925"/>
                  </a:lnTo>
                  <a:lnTo>
                    <a:pt x="1828" y="15367"/>
                  </a:lnTo>
                  <a:lnTo>
                    <a:pt x="2209" y="19989"/>
                  </a:lnTo>
                  <a:lnTo>
                    <a:pt x="5156" y="21196"/>
                  </a:lnTo>
                  <a:lnTo>
                    <a:pt x="9817" y="20802"/>
                  </a:lnTo>
                  <a:lnTo>
                    <a:pt x="21005" y="19900"/>
                  </a:lnTo>
                  <a:lnTo>
                    <a:pt x="23228" y="19710"/>
                  </a:lnTo>
                  <a:lnTo>
                    <a:pt x="23863" y="18859"/>
                  </a:lnTo>
                  <a:lnTo>
                    <a:pt x="23685" y="16560"/>
                  </a:lnTo>
                  <a:lnTo>
                    <a:pt x="24726" y="16484"/>
                  </a:lnTo>
                  <a:lnTo>
                    <a:pt x="25374" y="24320"/>
                  </a:lnTo>
                  <a:lnTo>
                    <a:pt x="24320" y="24409"/>
                  </a:lnTo>
                  <a:lnTo>
                    <a:pt x="24129" y="22110"/>
                  </a:lnTo>
                  <a:lnTo>
                    <a:pt x="23367" y="21374"/>
                  </a:lnTo>
                  <a:lnTo>
                    <a:pt x="21132" y="21551"/>
                  </a:lnTo>
                  <a:lnTo>
                    <a:pt x="9690" y="22491"/>
                  </a:lnTo>
                  <a:lnTo>
                    <a:pt x="4152" y="22936"/>
                  </a:lnTo>
                  <a:lnTo>
                    <a:pt x="1015" y="20751"/>
                  </a:lnTo>
                  <a:lnTo>
                    <a:pt x="507" y="14541"/>
                  </a:lnTo>
                  <a:lnTo>
                    <a:pt x="0" y="8204"/>
                  </a:lnTo>
                  <a:lnTo>
                    <a:pt x="2603" y="4813"/>
                  </a:lnTo>
                  <a:lnTo>
                    <a:pt x="7543" y="4406"/>
                  </a:lnTo>
                  <a:lnTo>
                    <a:pt x="19659" y="3416"/>
                  </a:lnTo>
                  <a:lnTo>
                    <a:pt x="21882" y="3238"/>
                  </a:lnTo>
                  <a:lnTo>
                    <a:pt x="22529" y="2387"/>
                  </a:lnTo>
                  <a:lnTo>
                    <a:pt x="22339" y="88"/>
                  </a:lnTo>
                  <a:lnTo>
                    <a:pt x="23380" y="0"/>
                  </a:lnTo>
                  <a:lnTo>
                    <a:pt x="24320" y="11417"/>
                  </a:lnTo>
                  <a:lnTo>
                    <a:pt x="23266" y="11506"/>
                  </a:lnTo>
                  <a:lnTo>
                    <a:pt x="23075" y="9207"/>
                  </a:lnTo>
                  <a:lnTo>
                    <a:pt x="22313" y="8458"/>
                  </a:lnTo>
                  <a:lnTo>
                    <a:pt x="20078" y="8648"/>
                  </a:lnTo>
                  <a:lnTo>
                    <a:pt x="8864" y="9563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" name="object 88">
              <a:extLst>
                <a:ext uri="{FF2B5EF4-FFF2-40B4-BE49-F238E27FC236}">
                  <a16:creationId xmlns:a16="http://schemas.microsoft.com/office/drawing/2014/main" id="{5D6B27FE-116B-47F6-9F30-C996EEF25DE7}"/>
                </a:ext>
              </a:extLst>
            </p:cNvPr>
            <p:cNvSpPr/>
            <p:nvPr/>
          </p:nvSpPr>
          <p:spPr>
            <a:xfrm>
              <a:off x="7877316" y="6311710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22567" y="0"/>
                  </a:moveTo>
                  <a:lnTo>
                    <a:pt x="21564" y="279"/>
                  </a:lnTo>
                  <a:lnTo>
                    <a:pt x="21653" y="1714"/>
                  </a:lnTo>
                  <a:lnTo>
                    <a:pt x="21234" y="3225"/>
                  </a:lnTo>
                  <a:lnTo>
                    <a:pt x="20396" y="4381"/>
                  </a:lnTo>
                  <a:lnTo>
                    <a:pt x="3365" y="9029"/>
                  </a:lnTo>
                  <a:lnTo>
                    <a:pt x="2285" y="8724"/>
                  </a:lnTo>
                  <a:lnTo>
                    <a:pt x="1015" y="5892"/>
                  </a:lnTo>
                  <a:lnTo>
                    <a:pt x="0" y="6172"/>
                  </a:lnTo>
                  <a:lnTo>
                    <a:pt x="2374" y="14897"/>
                  </a:lnTo>
                  <a:lnTo>
                    <a:pt x="3390" y="14617"/>
                  </a:lnTo>
                  <a:lnTo>
                    <a:pt x="3187" y="11201"/>
                  </a:lnTo>
                  <a:lnTo>
                    <a:pt x="3746" y="10655"/>
                  </a:lnTo>
                  <a:lnTo>
                    <a:pt x="18948" y="6502"/>
                  </a:lnTo>
                  <a:lnTo>
                    <a:pt x="4787" y="23685"/>
                  </a:lnTo>
                  <a:lnTo>
                    <a:pt x="5549" y="26492"/>
                  </a:lnTo>
                  <a:lnTo>
                    <a:pt x="25450" y="21069"/>
                  </a:lnTo>
                  <a:lnTo>
                    <a:pt x="26695" y="21018"/>
                  </a:lnTo>
                  <a:lnTo>
                    <a:pt x="27990" y="23812"/>
                  </a:lnTo>
                  <a:lnTo>
                    <a:pt x="29006" y="23533"/>
                  </a:lnTo>
                  <a:lnTo>
                    <a:pt x="26784" y="15430"/>
                  </a:lnTo>
                  <a:lnTo>
                    <a:pt x="25768" y="15697"/>
                  </a:lnTo>
                  <a:lnTo>
                    <a:pt x="26327" y="18834"/>
                  </a:lnTo>
                  <a:lnTo>
                    <a:pt x="24917" y="19481"/>
                  </a:lnTo>
                  <a:lnTo>
                    <a:pt x="11988" y="23012"/>
                  </a:lnTo>
                  <a:lnTo>
                    <a:pt x="24714" y="7835"/>
                  </a:lnTo>
                  <a:lnTo>
                    <a:pt x="22567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" name="object 89">
              <a:extLst>
                <a:ext uri="{FF2B5EF4-FFF2-40B4-BE49-F238E27FC236}">
                  <a16:creationId xmlns:a16="http://schemas.microsoft.com/office/drawing/2014/main" id="{BB42DE92-7231-4C98-A9EA-912DBB3574E9}"/>
                </a:ext>
              </a:extLst>
            </p:cNvPr>
            <p:cNvSpPr/>
            <p:nvPr/>
          </p:nvSpPr>
          <p:spPr>
            <a:xfrm>
              <a:off x="7877316" y="6311710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11988" y="23012"/>
                  </a:moveTo>
                  <a:lnTo>
                    <a:pt x="22288" y="20205"/>
                  </a:lnTo>
                  <a:lnTo>
                    <a:pt x="24917" y="19481"/>
                  </a:lnTo>
                  <a:lnTo>
                    <a:pt x="26327" y="18834"/>
                  </a:lnTo>
                  <a:lnTo>
                    <a:pt x="25768" y="15697"/>
                  </a:lnTo>
                  <a:lnTo>
                    <a:pt x="26784" y="15430"/>
                  </a:lnTo>
                  <a:lnTo>
                    <a:pt x="29006" y="23533"/>
                  </a:lnTo>
                  <a:lnTo>
                    <a:pt x="27990" y="23812"/>
                  </a:lnTo>
                  <a:lnTo>
                    <a:pt x="26695" y="21018"/>
                  </a:lnTo>
                  <a:lnTo>
                    <a:pt x="25450" y="21069"/>
                  </a:lnTo>
                  <a:lnTo>
                    <a:pt x="22732" y="21805"/>
                  </a:lnTo>
                  <a:lnTo>
                    <a:pt x="5549" y="26492"/>
                  </a:lnTo>
                  <a:lnTo>
                    <a:pt x="4787" y="23685"/>
                  </a:lnTo>
                  <a:lnTo>
                    <a:pt x="18948" y="6502"/>
                  </a:lnTo>
                  <a:lnTo>
                    <a:pt x="7099" y="9728"/>
                  </a:lnTo>
                  <a:lnTo>
                    <a:pt x="3746" y="10655"/>
                  </a:lnTo>
                  <a:lnTo>
                    <a:pt x="3187" y="11201"/>
                  </a:lnTo>
                  <a:lnTo>
                    <a:pt x="3390" y="14617"/>
                  </a:lnTo>
                  <a:lnTo>
                    <a:pt x="2374" y="14897"/>
                  </a:lnTo>
                  <a:lnTo>
                    <a:pt x="0" y="6172"/>
                  </a:lnTo>
                  <a:lnTo>
                    <a:pt x="1015" y="5892"/>
                  </a:lnTo>
                  <a:lnTo>
                    <a:pt x="2285" y="8724"/>
                  </a:lnTo>
                  <a:lnTo>
                    <a:pt x="3365" y="9029"/>
                  </a:lnTo>
                  <a:lnTo>
                    <a:pt x="6197" y="8255"/>
                  </a:lnTo>
                  <a:lnTo>
                    <a:pt x="20396" y="4381"/>
                  </a:lnTo>
                  <a:lnTo>
                    <a:pt x="21234" y="3225"/>
                  </a:lnTo>
                  <a:lnTo>
                    <a:pt x="21653" y="1714"/>
                  </a:lnTo>
                  <a:lnTo>
                    <a:pt x="21564" y="279"/>
                  </a:lnTo>
                  <a:lnTo>
                    <a:pt x="22567" y="0"/>
                  </a:lnTo>
                  <a:lnTo>
                    <a:pt x="24714" y="7835"/>
                  </a:lnTo>
                  <a:lnTo>
                    <a:pt x="11988" y="23012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" name="object 90">
              <a:extLst>
                <a:ext uri="{FF2B5EF4-FFF2-40B4-BE49-F238E27FC236}">
                  <a16:creationId xmlns:a16="http://schemas.microsoft.com/office/drawing/2014/main" id="{3141E608-59E6-452A-910B-BB1124E803CA}"/>
                </a:ext>
              </a:extLst>
            </p:cNvPr>
            <p:cNvSpPr/>
            <p:nvPr/>
          </p:nvSpPr>
          <p:spPr>
            <a:xfrm>
              <a:off x="7886013" y="6337237"/>
              <a:ext cx="26034" cy="20320"/>
            </a:xfrm>
            <a:custGeom>
              <a:avLst/>
              <a:gdLst/>
              <a:ahLst/>
              <a:cxnLst/>
              <a:rect l="l" t="t" r="r" b="b"/>
              <a:pathLst>
                <a:path w="26034" h="20320">
                  <a:moveTo>
                    <a:pt x="21488" y="0"/>
                  </a:moveTo>
                  <a:lnTo>
                    <a:pt x="20523" y="406"/>
                  </a:lnTo>
                  <a:lnTo>
                    <a:pt x="21437" y="2527"/>
                  </a:lnTo>
                  <a:lnTo>
                    <a:pt x="21107" y="3530"/>
                  </a:lnTo>
                  <a:lnTo>
                    <a:pt x="19050" y="4419"/>
                  </a:lnTo>
                  <a:lnTo>
                    <a:pt x="2844" y="11417"/>
                  </a:lnTo>
                  <a:lnTo>
                    <a:pt x="1879" y="10960"/>
                  </a:lnTo>
                  <a:lnTo>
                    <a:pt x="965" y="8839"/>
                  </a:lnTo>
                  <a:lnTo>
                    <a:pt x="0" y="9258"/>
                  </a:lnTo>
                  <a:lnTo>
                    <a:pt x="4533" y="19773"/>
                  </a:lnTo>
                  <a:lnTo>
                    <a:pt x="5499" y="19354"/>
                  </a:lnTo>
                  <a:lnTo>
                    <a:pt x="4584" y="17233"/>
                  </a:lnTo>
                  <a:lnTo>
                    <a:pt x="4914" y="16230"/>
                  </a:lnTo>
                  <a:lnTo>
                    <a:pt x="23177" y="8356"/>
                  </a:lnTo>
                  <a:lnTo>
                    <a:pt x="24142" y="8813"/>
                  </a:lnTo>
                  <a:lnTo>
                    <a:pt x="25057" y="10922"/>
                  </a:lnTo>
                  <a:lnTo>
                    <a:pt x="26022" y="10502"/>
                  </a:lnTo>
                  <a:lnTo>
                    <a:pt x="21488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" name="object 91">
              <a:extLst>
                <a:ext uri="{FF2B5EF4-FFF2-40B4-BE49-F238E27FC236}">
                  <a16:creationId xmlns:a16="http://schemas.microsoft.com/office/drawing/2014/main" id="{28A70227-F935-46A4-BD7B-7D760866E439}"/>
                </a:ext>
              </a:extLst>
            </p:cNvPr>
            <p:cNvSpPr/>
            <p:nvPr/>
          </p:nvSpPr>
          <p:spPr>
            <a:xfrm>
              <a:off x="7886013" y="6337237"/>
              <a:ext cx="26034" cy="20320"/>
            </a:xfrm>
            <a:custGeom>
              <a:avLst/>
              <a:gdLst/>
              <a:ahLst/>
              <a:cxnLst/>
              <a:rect l="l" t="t" r="r" b="b"/>
              <a:pathLst>
                <a:path w="26034" h="20320">
                  <a:moveTo>
                    <a:pt x="19050" y="4419"/>
                  </a:moveTo>
                  <a:lnTo>
                    <a:pt x="21107" y="3530"/>
                  </a:lnTo>
                  <a:lnTo>
                    <a:pt x="21437" y="2527"/>
                  </a:lnTo>
                  <a:lnTo>
                    <a:pt x="20523" y="406"/>
                  </a:lnTo>
                  <a:lnTo>
                    <a:pt x="21488" y="0"/>
                  </a:lnTo>
                  <a:lnTo>
                    <a:pt x="26022" y="10502"/>
                  </a:lnTo>
                  <a:lnTo>
                    <a:pt x="25057" y="10922"/>
                  </a:lnTo>
                  <a:lnTo>
                    <a:pt x="24142" y="8813"/>
                  </a:lnTo>
                  <a:lnTo>
                    <a:pt x="23177" y="8356"/>
                  </a:lnTo>
                  <a:lnTo>
                    <a:pt x="21132" y="9245"/>
                  </a:lnTo>
                  <a:lnTo>
                    <a:pt x="6972" y="15341"/>
                  </a:lnTo>
                  <a:lnTo>
                    <a:pt x="4914" y="16230"/>
                  </a:lnTo>
                  <a:lnTo>
                    <a:pt x="4584" y="17233"/>
                  </a:lnTo>
                  <a:lnTo>
                    <a:pt x="5499" y="19354"/>
                  </a:lnTo>
                  <a:lnTo>
                    <a:pt x="4533" y="19773"/>
                  </a:lnTo>
                  <a:lnTo>
                    <a:pt x="0" y="9258"/>
                  </a:lnTo>
                  <a:lnTo>
                    <a:pt x="965" y="8839"/>
                  </a:lnTo>
                  <a:lnTo>
                    <a:pt x="1879" y="10960"/>
                  </a:lnTo>
                  <a:lnTo>
                    <a:pt x="2844" y="11417"/>
                  </a:lnTo>
                  <a:lnTo>
                    <a:pt x="4889" y="10528"/>
                  </a:lnTo>
                  <a:lnTo>
                    <a:pt x="19050" y="4419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" name="object 92">
              <a:extLst>
                <a:ext uri="{FF2B5EF4-FFF2-40B4-BE49-F238E27FC236}">
                  <a16:creationId xmlns:a16="http://schemas.microsoft.com/office/drawing/2014/main" id="{0B5AC16F-293E-4E5D-A567-8CDE02818EBE}"/>
                </a:ext>
              </a:extLst>
            </p:cNvPr>
            <p:cNvSpPr/>
            <p:nvPr/>
          </p:nvSpPr>
          <p:spPr>
            <a:xfrm>
              <a:off x="7894428" y="6349571"/>
              <a:ext cx="27940" cy="25400"/>
            </a:xfrm>
            <a:custGeom>
              <a:avLst/>
              <a:gdLst/>
              <a:ahLst/>
              <a:cxnLst/>
              <a:rect l="l" t="t" r="r" b="b"/>
              <a:pathLst>
                <a:path w="27940" h="25400">
                  <a:moveTo>
                    <a:pt x="18262" y="0"/>
                  </a:moveTo>
                  <a:lnTo>
                    <a:pt x="11950" y="1854"/>
                  </a:lnTo>
                  <a:lnTo>
                    <a:pt x="12268" y="3035"/>
                  </a:lnTo>
                  <a:lnTo>
                    <a:pt x="15354" y="3200"/>
                  </a:lnTo>
                  <a:lnTo>
                    <a:pt x="18770" y="4102"/>
                  </a:lnTo>
                  <a:lnTo>
                    <a:pt x="20713" y="6680"/>
                  </a:lnTo>
                  <a:lnTo>
                    <a:pt x="3086" y="16929"/>
                  </a:lnTo>
                  <a:lnTo>
                    <a:pt x="2070" y="16598"/>
                  </a:lnTo>
                  <a:lnTo>
                    <a:pt x="914" y="14604"/>
                  </a:lnTo>
                  <a:lnTo>
                    <a:pt x="0" y="15138"/>
                  </a:lnTo>
                  <a:lnTo>
                    <a:pt x="5753" y="25031"/>
                  </a:lnTo>
                  <a:lnTo>
                    <a:pt x="6667" y="24498"/>
                  </a:lnTo>
                  <a:lnTo>
                    <a:pt x="5511" y="22504"/>
                  </a:lnTo>
                  <a:lnTo>
                    <a:pt x="5715" y="21462"/>
                  </a:lnTo>
                  <a:lnTo>
                    <a:pt x="23355" y="11214"/>
                  </a:lnTo>
                  <a:lnTo>
                    <a:pt x="24841" y="13893"/>
                  </a:lnTo>
                  <a:lnTo>
                    <a:pt x="23672" y="17868"/>
                  </a:lnTo>
                  <a:lnTo>
                    <a:pt x="22364" y="20396"/>
                  </a:lnTo>
                  <a:lnTo>
                    <a:pt x="23241" y="21259"/>
                  </a:lnTo>
                  <a:lnTo>
                    <a:pt x="27901" y="16548"/>
                  </a:lnTo>
                  <a:lnTo>
                    <a:pt x="18262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" name="object 93">
              <a:extLst>
                <a:ext uri="{FF2B5EF4-FFF2-40B4-BE49-F238E27FC236}">
                  <a16:creationId xmlns:a16="http://schemas.microsoft.com/office/drawing/2014/main" id="{722AA8AE-C661-40D6-819B-EF67C6247BAD}"/>
                </a:ext>
              </a:extLst>
            </p:cNvPr>
            <p:cNvSpPr/>
            <p:nvPr/>
          </p:nvSpPr>
          <p:spPr>
            <a:xfrm>
              <a:off x="7894428" y="6349571"/>
              <a:ext cx="27940" cy="25400"/>
            </a:xfrm>
            <a:custGeom>
              <a:avLst/>
              <a:gdLst/>
              <a:ahLst/>
              <a:cxnLst/>
              <a:rect l="l" t="t" r="r" b="b"/>
              <a:pathLst>
                <a:path w="27940" h="25400">
                  <a:moveTo>
                    <a:pt x="27901" y="16548"/>
                  </a:moveTo>
                  <a:lnTo>
                    <a:pt x="23241" y="21259"/>
                  </a:lnTo>
                  <a:lnTo>
                    <a:pt x="22364" y="20396"/>
                  </a:lnTo>
                  <a:lnTo>
                    <a:pt x="23672" y="17868"/>
                  </a:lnTo>
                  <a:lnTo>
                    <a:pt x="24841" y="13893"/>
                  </a:lnTo>
                  <a:lnTo>
                    <a:pt x="23355" y="11214"/>
                  </a:lnTo>
                  <a:lnTo>
                    <a:pt x="7658" y="20332"/>
                  </a:lnTo>
                  <a:lnTo>
                    <a:pt x="5715" y="21462"/>
                  </a:lnTo>
                  <a:lnTo>
                    <a:pt x="5511" y="22504"/>
                  </a:lnTo>
                  <a:lnTo>
                    <a:pt x="6667" y="24498"/>
                  </a:lnTo>
                  <a:lnTo>
                    <a:pt x="5753" y="25031"/>
                  </a:lnTo>
                  <a:lnTo>
                    <a:pt x="0" y="15138"/>
                  </a:lnTo>
                  <a:lnTo>
                    <a:pt x="914" y="14604"/>
                  </a:lnTo>
                  <a:lnTo>
                    <a:pt x="2070" y="16598"/>
                  </a:lnTo>
                  <a:lnTo>
                    <a:pt x="3086" y="16929"/>
                  </a:lnTo>
                  <a:lnTo>
                    <a:pt x="5016" y="15811"/>
                  </a:lnTo>
                  <a:lnTo>
                    <a:pt x="20713" y="6680"/>
                  </a:lnTo>
                  <a:lnTo>
                    <a:pt x="18770" y="4102"/>
                  </a:lnTo>
                  <a:lnTo>
                    <a:pt x="15354" y="3200"/>
                  </a:lnTo>
                  <a:lnTo>
                    <a:pt x="12268" y="3035"/>
                  </a:lnTo>
                  <a:lnTo>
                    <a:pt x="11950" y="1854"/>
                  </a:lnTo>
                  <a:lnTo>
                    <a:pt x="18262" y="0"/>
                  </a:lnTo>
                  <a:lnTo>
                    <a:pt x="27901" y="16548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" name="object 94">
              <a:extLst>
                <a:ext uri="{FF2B5EF4-FFF2-40B4-BE49-F238E27FC236}">
                  <a16:creationId xmlns:a16="http://schemas.microsoft.com/office/drawing/2014/main" id="{A1808230-CEA8-4C9E-965A-A5024222F80C}"/>
                </a:ext>
              </a:extLst>
            </p:cNvPr>
            <p:cNvSpPr/>
            <p:nvPr/>
          </p:nvSpPr>
          <p:spPr>
            <a:xfrm>
              <a:off x="7905751" y="6368478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18122" y="0"/>
                  </a:moveTo>
                  <a:lnTo>
                    <a:pt x="17297" y="673"/>
                  </a:lnTo>
                  <a:lnTo>
                    <a:pt x="18757" y="2451"/>
                  </a:lnTo>
                  <a:lnTo>
                    <a:pt x="18719" y="3517"/>
                  </a:lnTo>
                  <a:lnTo>
                    <a:pt x="3314" y="16090"/>
                  </a:lnTo>
                  <a:lnTo>
                    <a:pt x="2273" y="15925"/>
                  </a:lnTo>
                  <a:lnTo>
                    <a:pt x="812" y="14147"/>
                  </a:lnTo>
                  <a:lnTo>
                    <a:pt x="0" y="14808"/>
                  </a:lnTo>
                  <a:lnTo>
                    <a:pt x="12191" y="29730"/>
                  </a:lnTo>
                  <a:lnTo>
                    <a:pt x="18313" y="27825"/>
                  </a:lnTo>
                  <a:lnTo>
                    <a:pt x="18110" y="26885"/>
                  </a:lnTo>
                  <a:lnTo>
                    <a:pt x="14287" y="26784"/>
                  </a:lnTo>
                  <a:lnTo>
                    <a:pt x="10312" y="25450"/>
                  </a:lnTo>
                  <a:lnTo>
                    <a:pt x="6362" y="20637"/>
                  </a:lnTo>
                  <a:lnTo>
                    <a:pt x="7200" y="19697"/>
                  </a:lnTo>
                  <a:lnTo>
                    <a:pt x="13868" y="14249"/>
                  </a:lnTo>
                  <a:lnTo>
                    <a:pt x="16294" y="17221"/>
                  </a:lnTo>
                  <a:lnTo>
                    <a:pt x="16751" y="18948"/>
                  </a:lnTo>
                  <a:lnTo>
                    <a:pt x="14795" y="21666"/>
                  </a:lnTo>
                  <a:lnTo>
                    <a:pt x="15582" y="22631"/>
                  </a:lnTo>
                  <a:lnTo>
                    <a:pt x="22745" y="16776"/>
                  </a:lnTo>
                  <a:lnTo>
                    <a:pt x="21958" y="15824"/>
                  </a:lnTo>
                  <a:lnTo>
                    <a:pt x="18770" y="17017"/>
                  </a:lnTo>
                  <a:lnTo>
                    <a:pt x="17462" y="16268"/>
                  </a:lnTo>
                  <a:lnTo>
                    <a:pt x="15024" y="13296"/>
                  </a:lnTo>
                  <a:lnTo>
                    <a:pt x="22428" y="7251"/>
                  </a:lnTo>
                  <a:lnTo>
                    <a:pt x="26530" y="12280"/>
                  </a:lnTo>
                  <a:lnTo>
                    <a:pt x="26809" y="16357"/>
                  </a:lnTo>
                  <a:lnTo>
                    <a:pt x="26009" y="19773"/>
                  </a:lnTo>
                  <a:lnTo>
                    <a:pt x="26962" y="20281"/>
                  </a:lnTo>
                  <a:lnTo>
                    <a:pt x="30314" y="14935"/>
                  </a:lnTo>
                  <a:lnTo>
                    <a:pt x="18122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" name="object 95">
              <a:extLst>
                <a:ext uri="{FF2B5EF4-FFF2-40B4-BE49-F238E27FC236}">
                  <a16:creationId xmlns:a16="http://schemas.microsoft.com/office/drawing/2014/main" id="{BF05F52E-8854-430F-B38C-F309F123BCDB}"/>
                </a:ext>
              </a:extLst>
            </p:cNvPr>
            <p:cNvSpPr/>
            <p:nvPr/>
          </p:nvSpPr>
          <p:spPr>
            <a:xfrm>
              <a:off x="7905751" y="6368478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812" y="14147"/>
                  </a:moveTo>
                  <a:lnTo>
                    <a:pt x="2273" y="15925"/>
                  </a:lnTo>
                  <a:lnTo>
                    <a:pt x="3314" y="16090"/>
                  </a:lnTo>
                  <a:lnTo>
                    <a:pt x="5054" y="14681"/>
                  </a:lnTo>
                  <a:lnTo>
                    <a:pt x="16979" y="4940"/>
                  </a:lnTo>
                  <a:lnTo>
                    <a:pt x="18719" y="3517"/>
                  </a:lnTo>
                  <a:lnTo>
                    <a:pt x="18757" y="2451"/>
                  </a:lnTo>
                  <a:lnTo>
                    <a:pt x="17297" y="673"/>
                  </a:lnTo>
                  <a:lnTo>
                    <a:pt x="18122" y="0"/>
                  </a:lnTo>
                  <a:lnTo>
                    <a:pt x="30314" y="14935"/>
                  </a:lnTo>
                  <a:lnTo>
                    <a:pt x="26962" y="20281"/>
                  </a:lnTo>
                  <a:lnTo>
                    <a:pt x="26009" y="19773"/>
                  </a:lnTo>
                  <a:lnTo>
                    <a:pt x="26809" y="16357"/>
                  </a:lnTo>
                  <a:lnTo>
                    <a:pt x="26530" y="12280"/>
                  </a:lnTo>
                  <a:lnTo>
                    <a:pt x="24231" y="9461"/>
                  </a:lnTo>
                  <a:lnTo>
                    <a:pt x="22428" y="7251"/>
                  </a:lnTo>
                  <a:lnTo>
                    <a:pt x="21691" y="7861"/>
                  </a:lnTo>
                  <a:lnTo>
                    <a:pt x="19862" y="9359"/>
                  </a:lnTo>
                  <a:lnTo>
                    <a:pt x="15024" y="13296"/>
                  </a:lnTo>
                  <a:lnTo>
                    <a:pt x="15430" y="13792"/>
                  </a:lnTo>
                  <a:lnTo>
                    <a:pt x="17462" y="16268"/>
                  </a:lnTo>
                  <a:lnTo>
                    <a:pt x="18770" y="17017"/>
                  </a:lnTo>
                  <a:lnTo>
                    <a:pt x="21958" y="15824"/>
                  </a:lnTo>
                  <a:lnTo>
                    <a:pt x="22745" y="16776"/>
                  </a:lnTo>
                  <a:lnTo>
                    <a:pt x="15582" y="22631"/>
                  </a:lnTo>
                  <a:lnTo>
                    <a:pt x="14795" y="21666"/>
                  </a:lnTo>
                  <a:lnTo>
                    <a:pt x="16751" y="18948"/>
                  </a:lnTo>
                  <a:lnTo>
                    <a:pt x="16294" y="17221"/>
                  </a:lnTo>
                  <a:lnTo>
                    <a:pt x="14312" y="14795"/>
                  </a:lnTo>
                  <a:lnTo>
                    <a:pt x="13868" y="14249"/>
                  </a:lnTo>
                  <a:lnTo>
                    <a:pt x="8635" y="18529"/>
                  </a:lnTo>
                  <a:lnTo>
                    <a:pt x="7200" y="19697"/>
                  </a:lnTo>
                  <a:lnTo>
                    <a:pt x="6362" y="20637"/>
                  </a:lnTo>
                  <a:lnTo>
                    <a:pt x="7797" y="22377"/>
                  </a:lnTo>
                  <a:lnTo>
                    <a:pt x="10312" y="25450"/>
                  </a:lnTo>
                  <a:lnTo>
                    <a:pt x="14287" y="26784"/>
                  </a:lnTo>
                  <a:lnTo>
                    <a:pt x="18110" y="26885"/>
                  </a:lnTo>
                  <a:lnTo>
                    <a:pt x="18313" y="27825"/>
                  </a:lnTo>
                  <a:lnTo>
                    <a:pt x="12191" y="29730"/>
                  </a:lnTo>
                  <a:lnTo>
                    <a:pt x="0" y="14808"/>
                  </a:lnTo>
                  <a:lnTo>
                    <a:pt x="812" y="14147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" name="object 96">
              <a:extLst>
                <a:ext uri="{FF2B5EF4-FFF2-40B4-BE49-F238E27FC236}">
                  <a16:creationId xmlns:a16="http://schemas.microsoft.com/office/drawing/2014/main" id="{3CA1B306-61E7-416F-9FF0-265D756C40D1}"/>
                </a:ext>
              </a:extLst>
            </p:cNvPr>
            <p:cNvSpPr/>
            <p:nvPr/>
          </p:nvSpPr>
          <p:spPr>
            <a:xfrm>
              <a:off x="7922045" y="6385370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5">
                  <a:moveTo>
                    <a:pt x="9169" y="23977"/>
                  </a:moveTo>
                  <a:lnTo>
                    <a:pt x="8318" y="24879"/>
                  </a:lnTo>
                  <a:lnTo>
                    <a:pt x="9842" y="26250"/>
                  </a:lnTo>
                  <a:lnTo>
                    <a:pt x="11341" y="27368"/>
                  </a:lnTo>
                  <a:lnTo>
                    <a:pt x="13055" y="27978"/>
                  </a:lnTo>
                  <a:lnTo>
                    <a:pt x="16941" y="29425"/>
                  </a:lnTo>
                  <a:lnTo>
                    <a:pt x="21843" y="28574"/>
                  </a:lnTo>
                  <a:lnTo>
                    <a:pt x="23302" y="26936"/>
                  </a:lnTo>
                  <a:lnTo>
                    <a:pt x="15862" y="26936"/>
                  </a:lnTo>
                  <a:lnTo>
                    <a:pt x="12153" y="26631"/>
                  </a:lnTo>
                  <a:lnTo>
                    <a:pt x="9169" y="23977"/>
                  </a:lnTo>
                  <a:close/>
                </a:path>
                <a:path w="29845" h="29845">
                  <a:moveTo>
                    <a:pt x="22846" y="6476"/>
                  </a:moveTo>
                  <a:lnTo>
                    <a:pt x="20954" y="6476"/>
                  </a:lnTo>
                  <a:lnTo>
                    <a:pt x="26060" y="10998"/>
                  </a:lnTo>
                  <a:lnTo>
                    <a:pt x="26936" y="14490"/>
                  </a:lnTo>
                  <a:lnTo>
                    <a:pt x="15862" y="26936"/>
                  </a:lnTo>
                  <a:lnTo>
                    <a:pt x="23302" y="26936"/>
                  </a:lnTo>
                  <a:lnTo>
                    <a:pt x="29070" y="20459"/>
                  </a:lnTo>
                  <a:lnTo>
                    <a:pt x="29362" y="15608"/>
                  </a:lnTo>
                  <a:lnTo>
                    <a:pt x="26542" y="10071"/>
                  </a:lnTo>
                  <a:lnTo>
                    <a:pt x="25349" y="8724"/>
                  </a:lnTo>
                  <a:lnTo>
                    <a:pt x="22846" y="6476"/>
                  </a:lnTo>
                  <a:close/>
                </a:path>
                <a:path w="29845" h="29845">
                  <a:moveTo>
                    <a:pt x="698" y="16713"/>
                  </a:moveTo>
                  <a:lnTo>
                    <a:pt x="0" y="17487"/>
                  </a:lnTo>
                  <a:lnTo>
                    <a:pt x="8318" y="24879"/>
                  </a:lnTo>
                  <a:lnTo>
                    <a:pt x="9169" y="23977"/>
                  </a:lnTo>
                  <a:lnTo>
                    <a:pt x="7073" y="22097"/>
                  </a:lnTo>
                  <a:lnTo>
                    <a:pt x="10510" y="18237"/>
                  </a:lnTo>
                  <a:lnTo>
                    <a:pt x="2425" y="18237"/>
                  </a:lnTo>
                  <a:lnTo>
                    <a:pt x="698" y="16713"/>
                  </a:lnTo>
                  <a:close/>
                </a:path>
                <a:path w="29845" h="29845">
                  <a:moveTo>
                    <a:pt x="15557" y="0"/>
                  </a:moveTo>
                  <a:lnTo>
                    <a:pt x="14858" y="787"/>
                  </a:lnTo>
                  <a:lnTo>
                    <a:pt x="16573" y="2324"/>
                  </a:lnTo>
                  <a:lnTo>
                    <a:pt x="16713" y="3378"/>
                  </a:lnTo>
                  <a:lnTo>
                    <a:pt x="3492" y="18237"/>
                  </a:lnTo>
                  <a:lnTo>
                    <a:pt x="10510" y="18237"/>
                  </a:lnTo>
                  <a:lnTo>
                    <a:pt x="20332" y="7200"/>
                  </a:lnTo>
                  <a:lnTo>
                    <a:pt x="20954" y="6476"/>
                  </a:lnTo>
                  <a:lnTo>
                    <a:pt x="22846" y="6476"/>
                  </a:lnTo>
                  <a:lnTo>
                    <a:pt x="15557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" name="object 97">
              <a:extLst>
                <a:ext uri="{FF2B5EF4-FFF2-40B4-BE49-F238E27FC236}">
                  <a16:creationId xmlns:a16="http://schemas.microsoft.com/office/drawing/2014/main" id="{76F691C9-C638-48E0-B2C6-5887AE3B9CFE}"/>
                </a:ext>
              </a:extLst>
            </p:cNvPr>
            <p:cNvSpPr/>
            <p:nvPr/>
          </p:nvSpPr>
          <p:spPr>
            <a:xfrm>
              <a:off x="7922045" y="6385370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5">
                  <a:moveTo>
                    <a:pt x="9169" y="23977"/>
                  </a:moveTo>
                  <a:lnTo>
                    <a:pt x="7073" y="22097"/>
                  </a:lnTo>
                  <a:lnTo>
                    <a:pt x="7531" y="21577"/>
                  </a:lnTo>
                  <a:lnTo>
                    <a:pt x="9131" y="19786"/>
                  </a:lnTo>
                  <a:lnTo>
                    <a:pt x="18986" y="8699"/>
                  </a:lnTo>
                  <a:lnTo>
                    <a:pt x="20332" y="7200"/>
                  </a:lnTo>
                  <a:lnTo>
                    <a:pt x="20954" y="6476"/>
                  </a:lnTo>
                  <a:lnTo>
                    <a:pt x="22809" y="8115"/>
                  </a:lnTo>
                  <a:lnTo>
                    <a:pt x="26060" y="10998"/>
                  </a:lnTo>
                  <a:lnTo>
                    <a:pt x="26936" y="14490"/>
                  </a:lnTo>
                  <a:lnTo>
                    <a:pt x="21716" y="20358"/>
                  </a:lnTo>
                  <a:lnTo>
                    <a:pt x="15862" y="26936"/>
                  </a:lnTo>
                  <a:lnTo>
                    <a:pt x="12153" y="26631"/>
                  </a:lnTo>
                  <a:lnTo>
                    <a:pt x="9169" y="23977"/>
                  </a:lnTo>
                  <a:lnTo>
                    <a:pt x="8318" y="24879"/>
                  </a:lnTo>
                  <a:lnTo>
                    <a:pt x="9842" y="26250"/>
                  </a:lnTo>
                  <a:lnTo>
                    <a:pt x="11341" y="27368"/>
                  </a:lnTo>
                  <a:lnTo>
                    <a:pt x="13055" y="27978"/>
                  </a:lnTo>
                  <a:lnTo>
                    <a:pt x="16941" y="29425"/>
                  </a:lnTo>
                  <a:lnTo>
                    <a:pt x="21843" y="28574"/>
                  </a:lnTo>
                  <a:lnTo>
                    <a:pt x="25311" y="24688"/>
                  </a:lnTo>
                  <a:lnTo>
                    <a:pt x="29070" y="20459"/>
                  </a:lnTo>
                  <a:lnTo>
                    <a:pt x="29362" y="15608"/>
                  </a:lnTo>
                  <a:lnTo>
                    <a:pt x="27355" y="11645"/>
                  </a:lnTo>
                  <a:lnTo>
                    <a:pt x="26542" y="10071"/>
                  </a:lnTo>
                  <a:lnTo>
                    <a:pt x="25349" y="8724"/>
                  </a:lnTo>
                  <a:lnTo>
                    <a:pt x="23875" y="7391"/>
                  </a:lnTo>
                  <a:lnTo>
                    <a:pt x="15557" y="0"/>
                  </a:lnTo>
                  <a:lnTo>
                    <a:pt x="14858" y="787"/>
                  </a:lnTo>
                  <a:lnTo>
                    <a:pt x="16573" y="2324"/>
                  </a:lnTo>
                  <a:lnTo>
                    <a:pt x="16713" y="3378"/>
                  </a:lnTo>
                  <a:lnTo>
                    <a:pt x="15214" y="5054"/>
                  </a:lnTo>
                  <a:lnTo>
                    <a:pt x="4978" y="16573"/>
                  </a:lnTo>
                  <a:lnTo>
                    <a:pt x="3492" y="18237"/>
                  </a:lnTo>
                  <a:lnTo>
                    <a:pt x="2425" y="18237"/>
                  </a:lnTo>
                  <a:lnTo>
                    <a:pt x="698" y="16713"/>
                  </a:lnTo>
                  <a:lnTo>
                    <a:pt x="0" y="17487"/>
                  </a:lnTo>
                  <a:lnTo>
                    <a:pt x="8318" y="24879"/>
                  </a:lnTo>
                  <a:lnTo>
                    <a:pt x="9169" y="23977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" name="object 98">
              <a:extLst>
                <a:ext uri="{FF2B5EF4-FFF2-40B4-BE49-F238E27FC236}">
                  <a16:creationId xmlns:a16="http://schemas.microsoft.com/office/drawing/2014/main" id="{A5714230-2BA8-43C5-8660-EAB41F929132}"/>
                </a:ext>
              </a:extLst>
            </p:cNvPr>
            <p:cNvSpPr/>
            <p:nvPr/>
          </p:nvSpPr>
          <p:spPr>
            <a:xfrm>
              <a:off x="7948365" y="6405208"/>
              <a:ext cx="24130" cy="26670"/>
            </a:xfrm>
            <a:custGeom>
              <a:avLst/>
              <a:gdLst/>
              <a:ahLst/>
              <a:cxnLst/>
              <a:rect l="l" t="t" r="r" b="b"/>
              <a:pathLst>
                <a:path w="24129" h="26670">
                  <a:moveTo>
                    <a:pt x="14312" y="0"/>
                  </a:moveTo>
                  <a:lnTo>
                    <a:pt x="10160" y="596"/>
                  </a:lnTo>
                  <a:lnTo>
                    <a:pt x="5181" y="8699"/>
                  </a:lnTo>
                  <a:lnTo>
                    <a:pt x="8902" y="12852"/>
                  </a:lnTo>
                  <a:lnTo>
                    <a:pt x="14973" y="19888"/>
                  </a:lnTo>
                  <a:lnTo>
                    <a:pt x="12306" y="24218"/>
                  </a:lnTo>
                  <a:lnTo>
                    <a:pt x="9436" y="24358"/>
                  </a:lnTo>
                  <a:lnTo>
                    <a:pt x="4178" y="21132"/>
                  </a:lnTo>
                  <a:lnTo>
                    <a:pt x="3390" y="16484"/>
                  </a:lnTo>
                  <a:lnTo>
                    <a:pt x="3378" y="12903"/>
                  </a:lnTo>
                  <a:lnTo>
                    <a:pt x="2095" y="12611"/>
                  </a:lnTo>
                  <a:lnTo>
                    <a:pt x="0" y="19989"/>
                  </a:lnTo>
                  <a:lnTo>
                    <a:pt x="2222" y="20231"/>
                  </a:lnTo>
                  <a:lnTo>
                    <a:pt x="2501" y="20319"/>
                  </a:lnTo>
                  <a:lnTo>
                    <a:pt x="3505" y="20942"/>
                  </a:lnTo>
                  <a:lnTo>
                    <a:pt x="3746" y="21285"/>
                  </a:lnTo>
                  <a:lnTo>
                    <a:pt x="5067" y="22809"/>
                  </a:lnTo>
                  <a:lnTo>
                    <a:pt x="6057" y="23748"/>
                  </a:lnTo>
                  <a:lnTo>
                    <a:pt x="10795" y="26669"/>
                  </a:lnTo>
                  <a:lnTo>
                    <a:pt x="15494" y="25996"/>
                  </a:lnTo>
                  <a:lnTo>
                    <a:pt x="20269" y="18224"/>
                  </a:lnTo>
                  <a:lnTo>
                    <a:pt x="17945" y="14668"/>
                  </a:lnTo>
                  <a:lnTo>
                    <a:pt x="12573" y="8394"/>
                  </a:lnTo>
                  <a:lnTo>
                    <a:pt x="10604" y="6349"/>
                  </a:lnTo>
                  <a:lnTo>
                    <a:pt x="13182" y="2158"/>
                  </a:lnTo>
                  <a:lnTo>
                    <a:pt x="15328" y="2082"/>
                  </a:lnTo>
                  <a:lnTo>
                    <a:pt x="19951" y="4940"/>
                  </a:lnTo>
                  <a:lnTo>
                    <a:pt x="20955" y="9410"/>
                  </a:lnTo>
                  <a:lnTo>
                    <a:pt x="20955" y="12420"/>
                  </a:lnTo>
                  <a:lnTo>
                    <a:pt x="22199" y="12699"/>
                  </a:lnTo>
                  <a:lnTo>
                    <a:pt x="24015" y="5702"/>
                  </a:lnTo>
                  <a:lnTo>
                    <a:pt x="23241" y="5867"/>
                  </a:lnTo>
                  <a:lnTo>
                    <a:pt x="21983" y="5841"/>
                  </a:lnTo>
                  <a:lnTo>
                    <a:pt x="20891" y="5168"/>
                  </a:lnTo>
                  <a:lnTo>
                    <a:pt x="19507" y="3467"/>
                  </a:lnTo>
                  <a:lnTo>
                    <a:pt x="18783" y="2755"/>
                  </a:lnTo>
                  <a:lnTo>
                    <a:pt x="14312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" name="object 99">
              <a:extLst>
                <a:ext uri="{FF2B5EF4-FFF2-40B4-BE49-F238E27FC236}">
                  <a16:creationId xmlns:a16="http://schemas.microsoft.com/office/drawing/2014/main" id="{FB1DE28A-7EA5-4320-A9E9-AF512D9CD213}"/>
                </a:ext>
              </a:extLst>
            </p:cNvPr>
            <p:cNvSpPr/>
            <p:nvPr/>
          </p:nvSpPr>
          <p:spPr>
            <a:xfrm>
              <a:off x="7948365" y="6405208"/>
              <a:ext cx="24130" cy="26670"/>
            </a:xfrm>
            <a:custGeom>
              <a:avLst/>
              <a:gdLst/>
              <a:ahLst/>
              <a:cxnLst/>
              <a:rect l="l" t="t" r="r" b="b"/>
              <a:pathLst>
                <a:path w="24129" h="26670">
                  <a:moveTo>
                    <a:pt x="22199" y="12699"/>
                  </a:moveTo>
                  <a:lnTo>
                    <a:pt x="20955" y="12420"/>
                  </a:lnTo>
                  <a:lnTo>
                    <a:pt x="20955" y="9410"/>
                  </a:lnTo>
                  <a:lnTo>
                    <a:pt x="19951" y="4940"/>
                  </a:lnTo>
                  <a:lnTo>
                    <a:pt x="17208" y="3251"/>
                  </a:lnTo>
                  <a:lnTo>
                    <a:pt x="15328" y="2082"/>
                  </a:lnTo>
                  <a:lnTo>
                    <a:pt x="13182" y="2158"/>
                  </a:lnTo>
                  <a:lnTo>
                    <a:pt x="11976" y="4114"/>
                  </a:lnTo>
                  <a:lnTo>
                    <a:pt x="10604" y="6349"/>
                  </a:lnTo>
                  <a:lnTo>
                    <a:pt x="12573" y="8394"/>
                  </a:lnTo>
                  <a:lnTo>
                    <a:pt x="13982" y="10007"/>
                  </a:lnTo>
                  <a:lnTo>
                    <a:pt x="15265" y="11518"/>
                  </a:lnTo>
                  <a:lnTo>
                    <a:pt x="17945" y="14668"/>
                  </a:lnTo>
                  <a:lnTo>
                    <a:pt x="20269" y="18224"/>
                  </a:lnTo>
                  <a:lnTo>
                    <a:pt x="17792" y="22263"/>
                  </a:lnTo>
                  <a:lnTo>
                    <a:pt x="15494" y="25996"/>
                  </a:lnTo>
                  <a:lnTo>
                    <a:pt x="10795" y="26669"/>
                  </a:lnTo>
                  <a:lnTo>
                    <a:pt x="7226" y="24472"/>
                  </a:lnTo>
                  <a:lnTo>
                    <a:pt x="6057" y="23748"/>
                  </a:lnTo>
                  <a:lnTo>
                    <a:pt x="5067" y="22809"/>
                  </a:lnTo>
                  <a:lnTo>
                    <a:pt x="4165" y="21767"/>
                  </a:lnTo>
                  <a:lnTo>
                    <a:pt x="3746" y="21285"/>
                  </a:lnTo>
                  <a:lnTo>
                    <a:pt x="3505" y="20942"/>
                  </a:lnTo>
                  <a:lnTo>
                    <a:pt x="2959" y="20612"/>
                  </a:lnTo>
                  <a:lnTo>
                    <a:pt x="2501" y="20319"/>
                  </a:lnTo>
                  <a:lnTo>
                    <a:pt x="2222" y="20231"/>
                  </a:lnTo>
                  <a:lnTo>
                    <a:pt x="0" y="19989"/>
                  </a:lnTo>
                  <a:lnTo>
                    <a:pt x="2095" y="12611"/>
                  </a:lnTo>
                  <a:lnTo>
                    <a:pt x="3378" y="12903"/>
                  </a:lnTo>
                  <a:lnTo>
                    <a:pt x="3390" y="16484"/>
                  </a:lnTo>
                  <a:lnTo>
                    <a:pt x="4178" y="21132"/>
                  </a:lnTo>
                  <a:lnTo>
                    <a:pt x="7480" y="23164"/>
                  </a:lnTo>
                  <a:lnTo>
                    <a:pt x="9436" y="24358"/>
                  </a:lnTo>
                  <a:lnTo>
                    <a:pt x="12306" y="24218"/>
                  </a:lnTo>
                  <a:lnTo>
                    <a:pt x="13589" y="22110"/>
                  </a:lnTo>
                  <a:lnTo>
                    <a:pt x="14973" y="19888"/>
                  </a:lnTo>
                  <a:lnTo>
                    <a:pt x="13208" y="17856"/>
                  </a:lnTo>
                  <a:lnTo>
                    <a:pt x="11798" y="16243"/>
                  </a:lnTo>
                  <a:lnTo>
                    <a:pt x="8902" y="12852"/>
                  </a:lnTo>
                  <a:lnTo>
                    <a:pt x="5181" y="8699"/>
                  </a:lnTo>
                  <a:lnTo>
                    <a:pt x="8026" y="4063"/>
                  </a:lnTo>
                  <a:lnTo>
                    <a:pt x="10160" y="596"/>
                  </a:lnTo>
                  <a:lnTo>
                    <a:pt x="14312" y="0"/>
                  </a:lnTo>
                  <a:lnTo>
                    <a:pt x="17665" y="2070"/>
                  </a:lnTo>
                  <a:lnTo>
                    <a:pt x="18783" y="2755"/>
                  </a:lnTo>
                  <a:lnTo>
                    <a:pt x="19507" y="3467"/>
                  </a:lnTo>
                  <a:lnTo>
                    <a:pt x="20332" y="4457"/>
                  </a:lnTo>
                  <a:lnTo>
                    <a:pt x="20624" y="4825"/>
                  </a:lnTo>
                  <a:lnTo>
                    <a:pt x="20891" y="5168"/>
                  </a:lnTo>
                  <a:lnTo>
                    <a:pt x="21310" y="5422"/>
                  </a:lnTo>
                  <a:lnTo>
                    <a:pt x="21983" y="5841"/>
                  </a:lnTo>
                  <a:lnTo>
                    <a:pt x="23241" y="5867"/>
                  </a:lnTo>
                  <a:lnTo>
                    <a:pt x="24015" y="5702"/>
                  </a:lnTo>
                  <a:lnTo>
                    <a:pt x="22199" y="12699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" name="object 100">
              <a:extLst>
                <a:ext uri="{FF2B5EF4-FFF2-40B4-BE49-F238E27FC236}">
                  <a16:creationId xmlns:a16="http://schemas.microsoft.com/office/drawing/2014/main" id="{D42A1EAE-3F49-4700-813F-155E7028CF5C}"/>
                </a:ext>
              </a:extLst>
            </p:cNvPr>
            <p:cNvSpPr/>
            <p:nvPr/>
          </p:nvSpPr>
          <p:spPr>
            <a:xfrm>
              <a:off x="7970135" y="6413952"/>
              <a:ext cx="23495" cy="27940"/>
            </a:xfrm>
            <a:custGeom>
              <a:avLst/>
              <a:gdLst/>
              <a:ahLst/>
              <a:cxnLst/>
              <a:rect l="l" t="t" r="r" b="b"/>
              <a:pathLst>
                <a:path w="23495" h="27940">
                  <a:moveTo>
                    <a:pt x="5791" y="0"/>
                  </a:moveTo>
                  <a:lnTo>
                    <a:pt x="1790" y="5232"/>
                  </a:lnTo>
                  <a:lnTo>
                    <a:pt x="2755" y="5994"/>
                  </a:lnTo>
                  <a:lnTo>
                    <a:pt x="5346" y="4305"/>
                  </a:lnTo>
                  <a:lnTo>
                    <a:pt x="8623" y="3009"/>
                  </a:lnTo>
                  <a:lnTo>
                    <a:pt x="11709" y="3949"/>
                  </a:lnTo>
                  <a:lnTo>
                    <a:pt x="3543" y="22631"/>
                  </a:lnTo>
                  <a:lnTo>
                    <a:pt x="2539" y="22961"/>
                  </a:lnTo>
                  <a:lnTo>
                    <a:pt x="419" y="22034"/>
                  </a:lnTo>
                  <a:lnTo>
                    <a:pt x="0" y="23012"/>
                  </a:lnTo>
                  <a:lnTo>
                    <a:pt x="10490" y="27584"/>
                  </a:lnTo>
                  <a:lnTo>
                    <a:pt x="10909" y="26619"/>
                  </a:lnTo>
                  <a:lnTo>
                    <a:pt x="8801" y="25704"/>
                  </a:lnTo>
                  <a:lnTo>
                    <a:pt x="8356" y="24739"/>
                  </a:lnTo>
                  <a:lnTo>
                    <a:pt x="16509" y="6045"/>
                  </a:lnTo>
                  <a:lnTo>
                    <a:pt x="19303" y="7327"/>
                  </a:lnTo>
                  <a:lnTo>
                    <a:pt x="20713" y="11214"/>
                  </a:lnTo>
                  <a:lnTo>
                    <a:pt x="21145" y="14020"/>
                  </a:lnTo>
                  <a:lnTo>
                    <a:pt x="22364" y="14211"/>
                  </a:lnTo>
                  <a:lnTo>
                    <a:pt x="23342" y="7658"/>
                  </a:lnTo>
                  <a:lnTo>
                    <a:pt x="5791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" name="object 101">
              <a:extLst>
                <a:ext uri="{FF2B5EF4-FFF2-40B4-BE49-F238E27FC236}">
                  <a16:creationId xmlns:a16="http://schemas.microsoft.com/office/drawing/2014/main" id="{388BCCDE-C421-41EF-AC1D-13B99F9FB09F}"/>
                </a:ext>
              </a:extLst>
            </p:cNvPr>
            <p:cNvSpPr/>
            <p:nvPr/>
          </p:nvSpPr>
          <p:spPr>
            <a:xfrm>
              <a:off x="7970135" y="6413952"/>
              <a:ext cx="23495" cy="27940"/>
            </a:xfrm>
            <a:custGeom>
              <a:avLst/>
              <a:gdLst/>
              <a:ahLst/>
              <a:cxnLst/>
              <a:rect l="l" t="t" r="r" b="b"/>
              <a:pathLst>
                <a:path w="23495" h="27940">
                  <a:moveTo>
                    <a:pt x="23342" y="7658"/>
                  </a:moveTo>
                  <a:lnTo>
                    <a:pt x="22364" y="14211"/>
                  </a:lnTo>
                  <a:lnTo>
                    <a:pt x="21145" y="14020"/>
                  </a:lnTo>
                  <a:lnTo>
                    <a:pt x="20713" y="11214"/>
                  </a:lnTo>
                  <a:lnTo>
                    <a:pt x="19303" y="7327"/>
                  </a:lnTo>
                  <a:lnTo>
                    <a:pt x="16509" y="6045"/>
                  </a:lnTo>
                  <a:lnTo>
                    <a:pt x="9245" y="22682"/>
                  </a:lnTo>
                  <a:lnTo>
                    <a:pt x="8356" y="24739"/>
                  </a:lnTo>
                  <a:lnTo>
                    <a:pt x="8801" y="25704"/>
                  </a:lnTo>
                  <a:lnTo>
                    <a:pt x="10909" y="26619"/>
                  </a:lnTo>
                  <a:lnTo>
                    <a:pt x="10490" y="27584"/>
                  </a:lnTo>
                  <a:lnTo>
                    <a:pt x="0" y="23012"/>
                  </a:lnTo>
                  <a:lnTo>
                    <a:pt x="419" y="22034"/>
                  </a:lnTo>
                  <a:lnTo>
                    <a:pt x="2539" y="22961"/>
                  </a:lnTo>
                  <a:lnTo>
                    <a:pt x="3543" y="22631"/>
                  </a:lnTo>
                  <a:lnTo>
                    <a:pt x="4444" y="20586"/>
                  </a:lnTo>
                  <a:lnTo>
                    <a:pt x="11709" y="3949"/>
                  </a:lnTo>
                  <a:lnTo>
                    <a:pt x="8623" y="3009"/>
                  </a:lnTo>
                  <a:lnTo>
                    <a:pt x="5346" y="4305"/>
                  </a:lnTo>
                  <a:lnTo>
                    <a:pt x="2755" y="5994"/>
                  </a:lnTo>
                  <a:lnTo>
                    <a:pt x="1790" y="5232"/>
                  </a:lnTo>
                  <a:lnTo>
                    <a:pt x="5791" y="0"/>
                  </a:lnTo>
                  <a:lnTo>
                    <a:pt x="23342" y="7658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" name="object 102">
              <a:extLst>
                <a:ext uri="{FF2B5EF4-FFF2-40B4-BE49-F238E27FC236}">
                  <a16:creationId xmlns:a16="http://schemas.microsoft.com/office/drawing/2014/main" id="{B60881E2-1D5A-4C64-B303-C549859B0400}"/>
                </a:ext>
              </a:extLst>
            </p:cNvPr>
            <p:cNvSpPr/>
            <p:nvPr/>
          </p:nvSpPr>
          <p:spPr>
            <a:xfrm>
              <a:off x="7983091" y="6423978"/>
              <a:ext cx="24765" cy="26034"/>
            </a:xfrm>
            <a:custGeom>
              <a:avLst/>
              <a:gdLst/>
              <a:ahLst/>
              <a:cxnLst/>
              <a:rect l="l" t="t" r="r" b="b"/>
              <a:pathLst>
                <a:path w="24765" h="26034">
                  <a:moveTo>
                    <a:pt x="13855" y="21869"/>
                  </a:moveTo>
                  <a:lnTo>
                    <a:pt x="13563" y="22885"/>
                  </a:lnTo>
                  <a:lnTo>
                    <a:pt x="24333" y="26034"/>
                  </a:lnTo>
                  <a:lnTo>
                    <a:pt x="24625" y="25031"/>
                  </a:lnTo>
                  <a:lnTo>
                    <a:pt x="21882" y="24155"/>
                  </a:lnTo>
                  <a:lnTo>
                    <a:pt x="22045" y="22377"/>
                  </a:lnTo>
                  <a:lnTo>
                    <a:pt x="15836" y="22377"/>
                  </a:lnTo>
                  <a:lnTo>
                    <a:pt x="13855" y="21869"/>
                  </a:lnTo>
                  <a:close/>
                </a:path>
                <a:path w="24765" h="26034">
                  <a:moveTo>
                    <a:pt x="10007" y="11810"/>
                  </a:moveTo>
                  <a:lnTo>
                    <a:pt x="8966" y="13068"/>
                  </a:lnTo>
                  <a:lnTo>
                    <a:pt x="16802" y="15366"/>
                  </a:lnTo>
                  <a:lnTo>
                    <a:pt x="16865" y="20612"/>
                  </a:lnTo>
                  <a:lnTo>
                    <a:pt x="16421" y="22123"/>
                  </a:lnTo>
                  <a:lnTo>
                    <a:pt x="15836" y="22377"/>
                  </a:lnTo>
                  <a:lnTo>
                    <a:pt x="22045" y="22377"/>
                  </a:lnTo>
                  <a:lnTo>
                    <a:pt x="21909" y="13779"/>
                  </a:lnTo>
                  <a:lnTo>
                    <a:pt x="16725" y="13779"/>
                  </a:lnTo>
                  <a:lnTo>
                    <a:pt x="10007" y="11810"/>
                  </a:lnTo>
                  <a:close/>
                </a:path>
                <a:path w="24765" h="26034">
                  <a:moveTo>
                    <a:pt x="21691" y="0"/>
                  </a:moveTo>
                  <a:lnTo>
                    <a:pt x="16789" y="139"/>
                  </a:lnTo>
                  <a:lnTo>
                    <a:pt x="4445" y="16586"/>
                  </a:lnTo>
                  <a:lnTo>
                    <a:pt x="3378" y="17932"/>
                  </a:lnTo>
                  <a:lnTo>
                    <a:pt x="281" y="17932"/>
                  </a:lnTo>
                  <a:lnTo>
                    <a:pt x="0" y="18910"/>
                  </a:lnTo>
                  <a:lnTo>
                    <a:pt x="8166" y="21297"/>
                  </a:lnTo>
                  <a:lnTo>
                    <a:pt x="8458" y="20281"/>
                  </a:lnTo>
                  <a:lnTo>
                    <a:pt x="7137" y="19799"/>
                  </a:lnTo>
                  <a:lnTo>
                    <a:pt x="5905" y="18770"/>
                  </a:lnTo>
                  <a:lnTo>
                    <a:pt x="6151" y="17932"/>
                  </a:lnTo>
                  <a:lnTo>
                    <a:pt x="3378" y="17932"/>
                  </a:lnTo>
                  <a:lnTo>
                    <a:pt x="292" y="17894"/>
                  </a:lnTo>
                  <a:lnTo>
                    <a:pt x="6162" y="17894"/>
                  </a:lnTo>
                  <a:lnTo>
                    <a:pt x="6616" y="16344"/>
                  </a:lnTo>
                  <a:lnTo>
                    <a:pt x="7734" y="14808"/>
                  </a:lnTo>
                  <a:lnTo>
                    <a:pt x="8966" y="13068"/>
                  </a:lnTo>
                  <a:lnTo>
                    <a:pt x="10007" y="11810"/>
                  </a:lnTo>
                  <a:lnTo>
                    <a:pt x="16548" y="3035"/>
                  </a:lnTo>
                  <a:lnTo>
                    <a:pt x="21739" y="3035"/>
                  </a:lnTo>
                  <a:lnTo>
                    <a:pt x="21691" y="0"/>
                  </a:lnTo>
                  <a:close/>
                </a:path>
                <a:path w="24765" h="26034">
                  <a:moveTo>
                    <a:pt x="21739" y="3035"/>
                  </a:moveTo>
                  <a:lnTo>
                    <a:pt x="16548" y="3035"/>
                  </a:lnTo>
                  <a:lnTo>
                    <a:pt x="16725" y="13779"/>
                  </a:lnTo>
                  <a:lnTo>
                    <a:pt x="21909" y="13779"/>
                  </a:lnTo>
                  <a:lnTo>
                    <a:pt x="21739" y="3035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" name="object 103">
              <a:extLst>
                <a:ext uri="{FF2B5EF4-FFF2-40B4-BE49-F238E27FC236}">
                  <a16:creationId xmlns:a16="http://schemas.microsoft.com/office/drawing/2014/main" id="{961754EB-F1B0-4E5C-9796-79D4A788876A}"/>
                </a:ext>
              </a:extLst>
            </p:cNvPr>
            <p:cNvSpPr/>
            <p:nvPr/>
          </p:nvSpPr>
          <p:spPr>
            <a:xfrm>
              <a:off x="7983091" y="6423978"/>
              <a:ext cx="24765" cy="26034"/>
            </a:xfrm>
            <a:custGeom>
              <a:avLst/>
              <a:gdLst/>
              <a:ahLst/>
              <a:cxnLst/>
              <a:rect l="l" t="t" r="r" b="b"/>
              <a:pathLst>
                <a:path w="24765" h="26034">
                  <a:moveTo>
                    <a:pt x="10007" y="11810"/>
                  </a:moveTo>
                  <a:lnTo>
                    <a:pt x="16548" y="3035"/>
                  </a:lnTo>
                  <a:lnTo>
                    <a:pt x="16725" y="13779"/>
                  </a:lnTo>
                  <a:lnTo>
                    <a:pt x="10007" y="11810"/>
                  </a:lnTo>
                  <a:lnTo>
                    <a:pt x="8966" y="13068"/>
                  </a:lnTo>
                  <a:lnTo>
                    <a:pt x="16802" y="15366"/>
                  </a:lnTo>
                  <a:lnTo>
                    <a:pt x="16840" y="19316"/>
                  </a:lnTo>
                  <a:lnTo>
                    <a:pt x="16865" y="19913"/>
                  </a:lnTo>
                  <a:lnTo>
                    <a:pt x="16865" y="20612"/>
                  </a:lnTo>
                  <a:lnTo>
                    <a:pt x="16687" y="21196"/>
                  </a:lnTo>
                  <a:lnTo>
                    <a:pt x="16421" y="22123"/>
                  </a:lnTo>
                  <a:lnTo>
                    <a:pt x="15836" y="22377"/>
                  </a:lnTo>
                  <a:lnTo>
                    <a:pt x="13855" y="21869"/>
                  </a:lnTo>
                  <a:lnTo>
                    <a:pt x="13563" y="22885"/>
                  </a:lnTo>
                  <a:lnTo>
                    <a:pt x="24333" y="26034"/>
                  </a:lnTo>
                  <a:lnTo>
                    <a:pt x="24625" y="25031"/>
                  </a:lnTo>
                  <a:lnTo>
                    <a:pt x="21882" y="24155"/>
                  </a:lnTo>
                  <a:lnTo>
                    <a:pt x="22047" y="22466"/>
                  </a:lnTo>
                  <a:lnTo>
                    <a:pt x="22021" y="20065"/>
                  </a:lnTo>
                  <a:lnTo>
                    <a:pt x="21691" y="0"/>
                  </a:lnTo>
                  <a:lnTo>
                    <a:pt x="16789" y="139"/>
                  </a:lnTo>
                  <a:lnTo>
                    <a:pt x="6134" y="14338"/>
                  </a:lnTo>
                  <a:lnTo>
                    <a:pt x="4445" y="16586"/>
                  </a:lnTo>
                  <a:lnTo>
                    <a:pt x="3378" y="17932"/>
                  </a:lnTo>
                  <a:lnTo>
                    <a:pt x="292" y="17894"/>
                  </a:lnTo>
                  <a:lnTo>
                    <a:pt x="0" y="18910"/>
                  </a:lnTo>
                  <a:lnTo>
                    <a:pt x="8166" y="21297"/>
                  </a:lnTo>
                  <a:lnTo>
                    <a:pt x="8458" y="20281"/>
                  </a:lnTo>
                  <a:lnTo>
                    <a:pt x="7137" y="19799"/>
                  </a:lnTo>
                  <a:lnTo>
                    <a:pt x="5905" y="18770"/>
                  </a:lnTo>
                  <a:lnTo>
                    <a:pt x="6362" y="17208"/>
                  </a:lnTo>
                  <a:lnTo>
                    <a:pt x="6616" y="16344"/>
                  </a:lnTo>
                  <a:lnTo>
                    <a:pt x="7213" y="15519"/>
                  </a:lnTo>
                  <a:lnTo>
                    <a:pt x="7734" y="14808"/>
                  </a:lnTo>
                  <a:lnTo>
                    <a:pt x="8966" y="13068"/>
                  </a:lnTo>
                  <a:lnTo>
                    <a:pt x="10007" y="11810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" name="object 104">
              <a:extLst>
                <a:ext uri="{FF2B5EF4-FFF2-40B4-BE49-F238E27FC236}">
                  <a16:creationId xmlns:a16="http://schemas.microsoft.com/office/drawing/2014/main" id="{47B302A0-5008-48E2-A4A6-9CBDA4F8558C}"/>
                </a:ext>
              </a:extLst>
            </p:cNvPr>
            <p:cNvSpPr/>
            <p:nvPr/>
          </p:nvSpPr>
          <p:spPr>
            <a:xfrm>
              <a:off x="8007829" y="6426528"/>
              <a:ext cx="22225" cy="26034"/>
            </a:xfrm>
            <a:custGeom>
              <a:avLst/>
              <a:gdLst/>
              <a:ahLst/>
              <a:cxnLst/>
              <a:rect l="l" t="t" r="r" b="b"/>
              <a:pathLst>
                <a:path w="22225" h="26034">
                  <a:moveTo>
                    <a:pt x="2540" y="0"/>
                  </a:moveTo>
                  <a:lnTo>
                    <a:pt x="0" y="6070"/>
                  </a:lnTo>
                  <a:lnTo>
                    <a:pt x="1117" y="6578"/>
                  </a:lnTo>
                  <a:lnTo>
                    <a:pt x="3200" y="4279"/>
                  </a:lnTo>
                  <a:lnTo>
                    <a:pt x="6045" y="2209"/>
                  </a:lnTo>
                  <a:lnTo>
                    <a:pt x="9271" y="2324"/>
                  </a:lnTo>
                  <a:lnTo>
                    <a:pt x="6108" y="22479"/>
                  </a:lnTo>
                  <a:lnTo>
                    <a:pt x="5207" y="23050"/>
                  </a:lnTo>
                  <a:lnTo>
                    <a:pt x="2933" y="22694"/>
                  </a:lnTo>
                  <a:lnTo>
                    <a:pt x="2768" y="23723"/>
                  </a:lnTo>
                  <a:lnTo>
                    <a:pt x="14084" y="25514"/>
                  </a:lnTo>
                  <a:lnTo>
                    <a:pt x="14249" y="24460"/>
                  </a:lnTo>
                  <a:lnTo>
                    <a:pt x="11963" y="24104"/>
                  </a:lnTo>
                  <a:lnTo>
                    <a:pt x="11290" y="23291"/>
                  </a:lnTo>
                  <a:lnTo>
                    <a:pt x="14452" y="3136"/>
                  </a:lnTo>
                  <a:lnTo>
                    <a:pt x="17475" y="3670"/>
                  </a:lnTo>
                  <a:lnTo>
                    <a:pt x="19812" y="7086"/>
                  </a:lnTo>
                  <a:lnTo>
                    <a:pt x="20955" y="9690"/>
                  </a:lnTo>
                  <a:lnTo>
                    <a:pt x="22174" y="9563"/>
                  </a:lnTo>
                  <a:lnTo>
                    <a:pt x="21463" y="2971"/>
                  </a:lnTo>
                  <a:lnTo>
                    <a:pt x="2540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" name="object 105">
              <a:extLst>
                <a:ext uri="{FF2B5EF4-FFF2-40B4-BE49-F238E27FC236}">
                  <a16:creationId xmlns:a16="http://schemas.microsoft.com/office/drawing/2014/main" id="{F5639557-0D23-432C-A8D7-DC092B296693}"/>
                </a:ext>
              </a:extLst>
            </p:cNvPr>
            <p:cNvSpPr/>
            <p:nvPr/>
          </p:nvSpPr>
          <p:spPr>
            <a:xfrm>
              <a:off x="8007829" y="6426528"/>
              <a:ext cx="22225" cy="26034"/>
            </a:xfrm>
            <a:custGeom>
              <a:avLst/>
              <a:gdLst/>
              <a:ahLst/>
              <a:cxnLst/>
              <a:rect l="l" t="t" r="r" b="b"/>
              <a:pathLst>
                <a:path w="22225" h="26034">
                  <a:moveTo>
                    <a:pt x="21463" y="2971"/>
                  </a:moveTo>
                  <a:lnTo>
                    <a:pt x="22174" y="9563"/>
                  </a:lnTo>
                  <a:lnTo>
                    <a:pt x="20955" y="9690"/>
                  </a:lnTo>
                  <a:lnTo>
                    <a:pt x="19812" y="7086"/>
                  </a:lnTo>
                  <a:lnTo>
                    <a:pt x="17475" y="3670"/>
                  </a:lnTo>
                  <a:lnTo>
                    <a:pt x="14452" y="3136"/>
                  </a:lnTo>
                  <a:lnTo>
                    <a:pt x="11633" y="21082"/>
                  </a:lnTo>
                  <a:lnTo>
                    <a:pt x="11290" y="23291"/>
                  </a:lnTo>
                  <a:lnTo>
                    <a:pt x="11963" y="24104"/>
                  </a:lnTo>
                  <a:lnTo>
                    <a:pt x="14249" y="24460"/>
                  </a:lnTo>
                  <a:lnTo>
                    <a:pt x="14084" y="25514"/>
                  </a:lnTo>
                  <a:lnTo>
                    <a:pt x="2768" y="23723"/>
                  </a:lnTo>
                  <a:lnTo>
                    <a:pt x="2933" y="22694"/>
                  </a:lnTo>
                  <a:lnTo>
                    <a:pt x="5207" y="23050"/>
                  </a:lnTo>
                  <a:lnTo>
                    <a:pt x="6108" y="22479"/>
                  </a:lnTo>
                  <a:lnTo>
                    <a:pt x="6451" y="20256"/>
                  </a:lnTo>
                  <a:lnTo>
                    <a:pt x="9271" y="2324"/>
                  </a:lnTo>
                  <a:lnTo>
                    <a:pt x="6045" y="2209"/>
                  </a:lnTo>
                  <a:lnTo>
                    <a:pt x="3200" y="4279"/>
                  </a:lnTo>
                  <a:lnTo>
                    <a:pt x="1117" y="6578"/>
                  </a:lnTo>
                  <a:lnTo>
                    <a:pt x="0" y="6070"/>
                  </a:lnTo>
                  <a:lnTo>
                    <a:pt x="2540" y="0"/>
                  </a:lnTo>
                  <a:lnTo>
                    <a:pt x="21463" y="2971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" name="object 106">
              <a:extLst>
                <a:ext uri="{FF2B5EF4-FFF2-40B4-BE49-F238E27FC236}">
                  <a16:creationId xmlns:a16="http://schemas.microsoft.com/office/drawing/2014/main" id="{A33FB41D-F5AA-4D71-94E9-C1CD56367762}"/>
                </a:ext>
              </a:extLst>
            </p:cNvPr>
            <p:cNvSpPr/>
            <p:nvPr/>
          </p:nvSpPr>
          <p:spPr>
            <a:xfrm>
              <a:off x="8031870" y="6429769"/>
              <a:ext cx="22225" cy="23495"/>
            </a:xfrm>
            <a:custGeom>
              <a:avLst/>
              <a:gdLst/>
              <a:ahLst/>
              <a:cxnLst/>
              <a:rect l="l" t="t" r="r" b="b"/>
              <a:pathLst>
                <a:path w="22225" h="23495">
                  <a:moveTo>
                    <a:pt x="19278" y="0"/>
                  </a:moveTo>
                  <a:lnTo>
                    <a:pt x="0" y="0"/>
                  </a:lnTo>
                  <a:lnTo>
                    <a:pt x="0" y="1066"/>
                  </a:lnTo>
                  <a:lnTo>
                    <a:pt x="2298" y="1066"/>
                  </a:lnTo>
                  <a:lnTo>
                    <a:pt x="3098" y="1765"/>
                  </a:lnTo>
                  <a:lnTo>
                    <a:pt x="3098" y="21653"/>
                  </a:lnTo>
                  <a:lnTo>
                    <a:pt x="2298" y="22351"/>
                  </a:lnTo>
                  <a:lnTo>
                    <a:pt x="0" y="22351"/>
                  </a:lnTo>
                  <a:lnTo>
                    <a:pt x="0" y="23406"/>
                  </a:lnTo>
                  <a:lnTo>
                    <a:pt x="19278" y="23406"/>
                  </a:lnTo>
                  <a:lnTo>
                    <a:pt x="21678" y="17462"/>
                  </a:lnTo>
                  <a:lnTo>
                    <a:pt x="20815" y="17017"/>
                  </a:lnTo>
                  <a:lnTo>
                    <a:pt x="18313" y="19926"/>
                  </a:lnTo>
                  <a:lnTo>
                    <a:pt x="14770" y="22161"/>
                  </a:lnTo>
                  <a:lnTo>
                    <a:pt x="8534" y="22161"/>
                  </a:lnTo>
                  <a:lnTo>
                    <a:pt x="8343" y="20916"/>
                  </a:lnTo>
                  <a:lnTo>
                    <a:pt x="8343" y="12318"/>
                  </a:lnTo>
                  <a:lnTo>
                    <a:pt x="12179" y="12318"/>
                  </a:lnTo>
                  <a:lnTo>
                    <a:pt x="13804" y="13042"/>
                  </a:lnTo>
                  <a:lnTo>
                    <a:pt x="14668" y="16281"/>
                  </a:lnTo>
                  <a:lnTo>
                    <a:pt x="15913" y="16281"/>
                  </a:lnTo>
                  <a:lnTo>
                    <a:pt x="15913" y="7035"/>
                  </a:lnTo>
                  <a:lnTo>
                    <a:pt x="14668" y="7035"/>
                  </a:lnTo>
                  <a:lnTo>
                    <a:pt x="13589" y="10261"/>
                  </a:lnTo>
                  <a:lnTo>
                    <a:pt x="12179" y="10820"/>
                  </a:lnTo>
                  <a:lnTo>
                    <a:pt x="8343" y="10820"/>
                  </a:lnTo>
                  <a:lnTo>
                    <a:pt x="8343" y="1244"/>
                  </a:lnTo>
                  <a:lnTo>
                    <a:pt x="14833" y="1244"/>
                  </a:lnTo>
                  <a:lnTo>
                    <a:pt x="18148" y="3606"/>
                  </a:lnTo>
                  <a:lnTo>
                    <a:pt x="20294" y="6388"/>
                  </a:lnTo>
                  <a:lnTo>
                    <a:pt x="21285" y="5981"/>
                  </a:lnTo>
                  <a:lnTo>
                    <a:pt x="19278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" name="object 107">
              <a:extLst>
                <a:ext uri="{FF2B5EF4-FFF2-40B4-BE49-F238E27FC236}">
                  <a16:creationId xmlns:a16="http://schemas.microsoft.com/office/drawing/2014/main" id="{44F761DD-D962-4E0F-A3DB-A98455985ECB}"/>
                </a:ext>
              </a:extLst>
            </p:cNvPr>
            <p:cNvSpPr/>
            <p:nvPr/>
          </p:nvSpPr>
          <p:spPr>
            <a:xfrm>
              <a:off x="8031870" y="6429769"/>
              <a:ext cx="22225" cy="23495"/>
            </a:xfrm>
            <a:custGeom>
              <a:avLst/>
              <a:gdLst/>
              <a:ahLst/>
              <a:cxnLst/>
              <a:rect l="l" t="t" r="r" b="b"/>
              <a:pathLst>
                <a:path w="22225" h="23495">
                  <a:moveTo>
                    <a:pt x="0" y="22351"/>
                  </a:moveTo>
                  <a:lnTo>
                    <a:pt x="2298" y="22351"/>
                  </a:lnTo>
                  <a:lnTo>
                    <a:pt x="3098" y="21653"/>
                  </a:lnTo>
                  <a:lnTo>
                    <a:pt x="3098" y="19418"/>
                  </a:lnTo>
                  <a:lnTo>
                    <a:pt x="3098" y="4000"/>
                  </a:lnTo>
                  <a:lnTo>
                    <a:pt x="3098" y="1765"/>
                  </a:lnTo>
                  <a:lnTo>
                    <a:pt x="2298" y="1066"/>
                  </a:lnTo>
                  <a:lnTo>
                    <a:pt x="0" y="1066"/>
                  </a:lnTo>
                  <a:lnTo>
                    <a:pt x="0" y="0"/>
                  </a:lnTo>
                  <a:lnTo>
                    <a:pt x="19278" y="0"/>
                  </a:lnTo>
                  <a:lnTo>
                    <a:pt x="21285" y="5981"/>
                  </a:lnTo>
                  <a:lnTo>
                    <a:pt x="20294" y="6388"/>
                  </a:lnTo>
                  <a:lnTo>
                    <a:pt x="18148" y="3606"/>
                  </a:lnTo>
                  <a:lnTo>
                    <a:pt x="14833" y="1244"/>
                  </a:lnTo>
                  <a:lnTo>
                    <a:pt x="11188" y="1244"/>
                  </a:lnTo>
                  <a:lnTo>
                    <a:pt x="8343" y="1244"/>
                  </a:lnTo>
                  <a:lnTo>
                    <a:pt x="8343" y="2209"/>
                  </a:lnTo>
                  <a:lnTo>
                    <a:pt x="8343" y="4571"/>
                  </a:lnTo>
                  <a:lnTo>
                    <a:pt x="8343" y="10820"/>
                  </a:lnTo>
                  <a:lnTo>
                    <a:pt x="8978" y="10820"/>
                  </a:lnTo>
                  <a:lnTo>
                    <a:pt x="12179" y="10820"/>
                  </a:lnTo>
                  <a:lnTo>
                    <a:pt x="13589" y="10261"/>
                  </a:lnTo>
                  <a:lnTo>
                    <a:pt x="14668" y="7035"/>
                  </a:lnTo>
                  <a:lnTo>
                    <a:pt x="15913" y="7035"/>
                  </a:lnTo>
                  <a:lnTo>
                    <a:pt x="15913" y="16281"/>
                  </a:lnTo>
                  <a:lnTo>
                    <a:pt x="14668" y="16281"/>
                  </a:lnTo>
                  <a:lnTo>
                    <a:pt x="13804" y="13042"/>
                  </a:lnTo>
                  <a:lnTo>
                    <a:pt x="12179" y="12318"/>
                  </a:lnTo>
                  <a:lnTo>
                    <a:pt x="9042" y="12318"/>
                  </a:lnTo>
                  <a:lnTo>
                    <a:pt x="8343" y="12318"/>
                  </a:lnTo>
                  <a:lnTo>
                    <a:pt x="8343" y="19062"/>
                  </a:lnTo>
                  <a:lnTo>
                    <a:pt x="8343" y="20916"/>
                  </a:lnTo>
                  <a:lnTo>
                    <a:pt x="8534" y="22161"/>
                  </a:lnTo>
                  <a:lnTo>
                    <a:pt x="10807" y="22161"/>
                  </a:lnTo>
                  <a:lnTo>
                    <a:pt x="14770" y="22161"/>
                  </a:lnTo>
                  <a:lnTo>
                    <a:pt x="18313" y="19926"/>
                  </a:lnTo>
                  <a:lnTo>
                    <a:pt x="20815" y="17017"/>
                  </a:lnTo>
                  <a:lnTo>
                    <a:pt x="21678" y="17462"/>
                  </a:lnTo>
                  <a:lnTo>
                    <a:pt x="19278" y="23406"/>
                  </a:lnTo>
                  <a:lnTo>
                    <a:pt x="0" y="23406"/>
                  </a:lnTo>
                  <a:lnTo>
                    <a:pt x="0" y="22351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" name="object 108">
              <a:extLst>
                <a:ext uri="{FF2B5EF4-FFF2-40B4-BE49-F238E27FC236}">
                  <a16:creationId xmlns:a16="http://schemas.microsoft.com/office/drawing/2014/main" id="{BBAE86A7-1285-4479-B5DD-87B7741B1F62}"/>
                </a:ext>
              </a:extLst>
            </p:cNvPr>
            <p:cNvSpPr/>
            <p:nvPr/>
          </p:nvSpPr>
          <p:spPr>
            <a:xfrm>
              <a:off x="8054648" y="6426734"/>
              <a:ext cx="20320" cy="26670"/>
            </a:xfrm>
            <a:custGeom>
              <a:avLst/>
              <a:gdLst/>
              <a:ahLst/>
              <a:cxnLst/>
              <a:rect l="l" t="t" r="r" b="b"/>
              <a:pathLst>
                <a:path w="20320" h="26670">
                  <a:moveTo>
                    <a:pt x="13931" y="0"/>
                  </a:moveTo>
                  <a:lnTo>
                    <a:pt x="13436" y="609"/>
                  </a:lnTo>
                  <a:lnTo>
                    <a:pt x="12445" y="1397"/>
                  </a:lnTo>
                  <a:lnTo>
                    <a:pt x="11188" y="1574"/>
                  </a:lnTo>
                  <a:lnTo>
                    <a:pt x="9029" y="1143"/>
                  </a:lnTo>
                  <a:lnTo>
                    <a:pt x="8013" y="1066"/>
                  </a:lnTo>
                  <a:lnTo>
                    <a:pt x="2819" y="1790"/>
                  </a:lnTo>
                  <a:lnTo>
                    <a:pt x="0" y="4902"/>
                  </a:lnTo>
                  <a:lnTo>
                    <a:pt x="1320" y="14300"/>
                  </a:lnTo>
                  <a:lnTo>
                    <a:pt x="6832" y="15138"/>
                  </a:lnTo>
                  <a:lnTo>
                    <a:pt x="11239" y="15913"/>
                  </a:lnTo>
                  <a:lnTo>
                    <a:pt x="15989" y="16687"/>
                  </a:lnTo>
                  <a:lnTo>
                    <a:pt x="16700" y="21717"/>
                  </a:lnTo>
                  <a:lnTo>
                    <a:pt x="14579" y="23672"/>
                  </a:lnTo>
                  <a:lnTo>
                    <a:pt x="8483" y="24523"/>
                  </a:lnTo>
                  <a:lnTo>
                    <a:pt x="4914" y="21450"/>
                  </a:lnTo>
                  <a:lnTo>
                    <a:pt x="2628" y="18707"/>
                  </a:lnTo>
                  <a:lnTo>
                    <a:pt x="1447" y="19291"/>
                  </a:lnTo>
                  <a:lnTo>
                    <a:pt x="4533" y="26314"/>
                  </a:lnTo>
                  <a:lnTo>
                    <a:pt x="6388" y="25082"/>
                  </a:lnTo>
                  <a:lnTo>
                    <a:pt x="6667" y="24980"/>
                  </a:lnTo>
                  <a:lnTo>
                    <a:pt x="7835" y="24803"/>
                  </a:lnTo>
                  <a:lnTo>
                    <a:pt x="8242" y="24917"/>
                  </a:lnTo>
                  <a:lnTo>
                    <a:pt x="10223" y="25247"/>
                  </a:lnTo>
                  <a:lnTo>
                    <a:pt x="11595" y="25349"/>
                  </a:lnTo>
                  <a:lnTo>
                    <a:pt x="17106" y="24574"/>
                  </a:lnTo>
                  <a:lnTo>
                    <a:pt x="20281" y="21056"/>
                  </a:lnTo>
                  <a:lnTo>
                    <a:pt x="19011" y="12039"/>
                  </a:lnTo>
                  <a:lnTo>
                    <a:pt x="14960" y="10769"/>
                  </a:lnTo>
                  <a:lnTo>
                    <a:pt x="6819" y="9359"/>
                  </a:lnTo>
                  <a:lnTo>
                    <a:pt x="4000" y="9055"/>
                  </a:lnTo>
                  <a:lnTo>
                    <a:pt x="3314" y="4165"/>
                  </a:lnTo>
                  <a:lnTo>
                    <a:pt x="4927" y="2755"/>
                  </a:lnTo>
                  <a:lnTo>
                    <a:pt x="10299" y="2006"/>
                  </a:lnTo>
                  <a:lnTo>
                    <a:pt x="13931" y="4813"/>
                  </a:lnTo>
                  <a:lnTo>
                    <a:pt x="15836" y="7124"/>
                  </a:lnTo>
                  <a:lnTo>
                    <a:pt x="16979" y="6540"/>
                  </a:lnTo>
                  <a:lnTo>
                    <a:pt x="13931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" name="object 109">
              <a:extLst>
                <a:ext uri="{FF2B5EF4-FFF2-40B4-BE49-F238E27FC236}">
                  <a16:creationId xmlns:a16="http://schemas.microsoft.com/office/drawing/2014/main" id="{ACD87222-AB2E-4FE1-A8E5-79D20691726C}"/>
                </a:ext>
              </a:extLst>
            </p:cNvPr>
            <p:cNvSpPr/>
            <p:nvPr/>
          </p:nvSpPr>
          <p:spPr>
            <a:xfrm>
              <a:off x="8054648" y="6426734"/>
              <a:ext cx="20320" cy="26670"/>
            </a:xfrm>
            <a:custGeom>
              <a:avLst/>
              <a:gdLst/>
              <a:ahLst/>
              <a:cxnLst/>
              <a:rect l="l" t="t" r="r" b="b"/>
              <a:pathLst>
                <a:path w="20320" h="26670">
                  <a:moveTo>
                    <a:pt x="16979" y="6540"/>
                  </a:moveTo>
                  <a:lnTo>
                    <a:pt x="15836" y="7124"/>
                  </a:lnTo>
                  <a:lnTo>
                    <a:pt x="13931" y="4813"/>
                  </a:lnTo>
                  <a:lnTo>
                    <a:pt x="10299" y="2006"/>
                  </a:lnTo>
                  <a:lnTo>
                    <a:pt x="7111" y="2451"/>
                  </a:lnTo>
                  <a:lnTo>
                    <a:pt x="4927" y="2755"/>
                  </a:lnTo>
                  <a:lnTo>
                    <a:pt x="3314" y="4165"/>
                  </a:lnTo>
                  <a:lnTo>
                    <a:pt x="3644" y="6451"/>
                  </a:lnTo>
                  <a:lnTo>
                    <a:pt x="4000" y="9055"/>
                  </a:lnTo>
                  <a:lnTo>
                    <a:pt x="20281" y="21056"/>
                  </a:lnTo>
                  <a:lnTo>
                    <a:pt x="17106" y="24574"/>
                  </a:lnTo>
                  <a:lnTo>
                    <a:pt x="12953" y="25158"/>
                  </a:lnTo>
                  <a:lnTo>
                    <a:pt x="11595" y="25349"/>
                  </a:lnTo>
                  <a:lnTo>
                    <a:pt x="10223" y="25247"/>
                  </a:lnTo>
                  <a:lnTo>
                    <a:pt x="8864" y="25031"/>
                  </a:lnTo>
                  <a:lnTo>
                    <a:pt x="8242" y="24917"/>
                  </a:lnTo>
                  <a:lnTo>
                    <a:pt x="7835" y="24803"/>
                  </a:lnTo>
                  <a:lnTo>
                    <a:pt x="7213" y="24904"/>
                  </a:lnTo>
                  <a:lnTo>
                    <a:pt x="6667" y="24980"/>
                  </a:lnTo>
                  <a:lnTo>
                    <a:pt x="6388" y="25082"/>
                  </a:lnTo>
                  <a:lnTo>
                    <a:pt x="4533" y="26314"/>
                  </a:lnTo>
                  <a:lnTo>
                    <a:pt x="1447" y="19291"/>
                  </a:lnTo>
                  <a:lnTo>
                    <a:pt x="2628" y="18707"/>
                  </a:lnTo>
                  <a:lnTo>
                    <a:pt x="4914" y="21450"/>
                  </a:lnTo>
                  <a:lnTo>
                    <a:pt x="8483" y="24523"/>
                  </a:lnTo>
                  <a:lnTo>
                    <a:pt x="12306" y="23990"/>
                  </a:lnTo>
                  <a:lnTo>
                    <a:pt x="14579" y="23672"/>
                  </a:lnTo>
                  <a:lnTo>
                    <a:pt x="16700" y="21717"/>
                  </a:lnTo>
                  <a:lnTo>
                    <a:pt x="16357" y="19278"/>
                  </a:lnTo>
                  <a:lnTo>
                    <a:pt x="15989" y="16687"/>
                  </a:lnTo>
                  <a:lnTo>
                    <a:pt x="13347" y="16256"/>
                  </a:lnTo>
                  <a:lnTo>
                    <a:pt x="11239" y="15913"/>
                  </a:lnTo>
                  <a:lnTo>
                    <a:pt x="6832" y="15138"/>
                  </a:lnTo>
                  <a:lnTo>
                    <a:pt x="1320" y="14300"/>
                  </a:lnTo>
                  <a:lnTo>
                    <a:pt x="558" y="8928"/>
                  </a:lnTo>
                  <a:lnTo>
                    <a:pt x="0" y="4902"/>
                  </a:lnTo>
                  <a:lnTo>
                    <a:pt x="2819" y="1790"/>
                  </a:lnTo>
                  <a:lnTo>
                    <a:pt x="6718" y="1244"/>
                  </a:lnTo>
                  <a:lnTo>
                    <a:pt x="8013" y="1066"/>
                  </a:lnTo>
                  <a:lnTo>
                    <a:pt x="9029" y="1143"/>
                  </a:lnTo>
                  <a:lnTo>
                    <a:pt x="10286" y="1384"/>
                  </a:lnTo>
                  <a:lnTo>
                    <a:pt x="10744" y="1485"/>
                  </a:lnTo>
                  <a:lnTo>
                    <a:pt x="11188" y="1574"/>
                  </a:lnTo>
                  <a:lnTo>
                    <a:pt x="11658" y="1511"/>
                  </a:lnTo>
                  <a:lnTo>
                    <a:pt x="12445" y="1397"/>
                  </a:lnTo>
                  <a:lnTo>
                    <a:pt x="13436" y="609"/>
                  </a:lnTo>
                  <a:lnTo>
                    <a:pt x="13931" y="0"/>
                  </a:lnTo>
                  <a:lnTo>
                    <a:pt x="16979" y="6540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" name="object 110">
              <a:extLst>
                <a:ext uri="{FF2B5EF4-FFF2-40B4-BE49-F238E27FC236}">
                  <a16:creationId xmlns:a16="http://schemas.microsoft.com/office/drawing/2014/main" id="{9F48C8D8-5101-4FDC-ACBE-C83B1BA31114}"/>
                </a:ext>
              </a:extLst>
            </p:cNvPr>
            <p:cNvSpPr/>
            <p:nvPr/>
          </p:nvSpPr>
          <p:spPr>
            <a:xfrm>
              <a:off x="8079112" y="6419514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5887" y="0"/>
                  </a:moveTo>
                  <a:lnTo>
                    <a:pt x="2298" y="4559"/>
                  </a:lnTo>
                  <a:lnTo>
                    <a:pt x="0" y="11366"/>
                  </a:lnTo>
                  <a:lnTo>
                    <a:pt x="4406" y="24485"/>
                  </a:lnTo>
                  <a:lnTo>
                    <a:pt x="10236" y="27787"/>
                  </a:lnTo>
                  <a:lnTo>
                    <a:pt x="16840" y="25577"/>
                  </a:lnTo>
                  <a:lnTo>
                    <a:pt x="13017" y="25552"/>
                  </a:lnTo>
                  <a:lnTo>
                    <a:pt x="9906" y="23393"/>
                  </a:lnTo>
                  <a:lnTo>
                    <a:pt x="4889" y="8445"/>
                  </a:lnTo>
                  <a:lnTo>
                    <a:pt x="6159" y="4584"/>
                  </a:lnTo>
                  <a:lnTo>
                    <a:pt x="12877" y="2324"/>
                  </a:lnTo>
                  <a:lnTo>
                    <a:pt x="19990" y="2324"/>
                  </a:lnTo>
                  <a:lnTo>
                    <a:pt x="15887" y="0"/>
                  </a:lnTo>
                  <a:close/>
                </a:path>
                <a:path w="26034" h="27940">
                  <a:moveTo>
                    <a:pt x="19990" y="2324"/>
                  </a:moveTo>
                  <a:lnTo>
                    <a:pt x="12877" y="2324"/>
                  </a:lnTo>
                  <a:lnTo>
                    <a:pt x="16129" y="4165"/>
                  </a:lnTo>
                  <a:lnTo>
                    <a:pt x="20148" y="16128"/>
                  </a:lnTo>
                  <a:lnTo>
                    <a:pt x="21805" y="22593"/>
                  </a:lnTo>
                  <a:lnTo>
                    <a:pt x="16294" y="24447"/>
                  </a:lnTo>
                  <a:lnTo>
                    <a:pt x="16840" y="25577"/>
                  </a:lnTo>
                  <a:lnTo>
                    <a:pt x="23812" y="23240"/>
                  </a:lnTo>
                  <a:lnTo>
                    <a:pt x="26009" y="16128"/>
                  </a:lnTo>
                  <a:lnTo>
                    <a:pt x="21717" y="3301"/>
                  </a:lnTo>
                  <a:lnTo>
                    <a:pt x="19990" y="2324"/>
                  </a:lnTo>
                  <a:close/>
                </a:path>
                <a:path w="26034" h="27940">
                  <a:moveTo>
                    <a:pt x="16294" y="24447"/>
                  </a:moveTo>
                  <a:lnTo>
                    <a:pt x="13017" y="25552"/>
                  </a:lnTo>
                  <a:lnTo>
                    <a:pt x="16827" y="25552"/>
                  </a:lnTo>
                  <a:lnTo>
                    <a:pt x="16294" y="24447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" name="object 111">
              <a:extLst>
                <a:ext uri="{FF2B5EF4-FFF2-40B4-BE49-F238E27FC236}">
                  <a16:creationId xmlns:a16="http://schemas.microsoft.com/office/drawing/2014/main" id="{2E3E35B5-5722-4255-AA55-B7AE0C3F1B1F}"/>
                </a:ext>
              </a:extLst>
            </p:cNvPr>
            <p:cNvSpPr/>
            <p:nvPr/>
          </p:nvSpPr>
          <p:spPr>
            <a:xfrm>
              <a:off x="8079112" y="6419514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6294" y="24447"/>
                  </a:moveTo>
                  <a:lnTo>
                    <a:pt x="13017" y="25552"/>
                  </a:lnTo>
                  <a:lnTo>
                    <a:pt x="9906" y="23393"/>
                  </a:lnTo>
                  <a:lnTo>
                    <a:pt x="7353" y="15773"/>
                  </a:lnTo>
                  <a:lnTo>
                    <a:pt x="4889" y="8445"/>
                  </a:lnTo>
                  <a:lnTo>
                    <a:pt x="6159" y="4584"/>
                  </a:lnTo>
                  <a:lnTo>
                    <a:pt x="9639" y="3416"/>
                  </a:lnTo>
                  <a:lnTo>
                    <a:pt x="12877" y="2324"/>
                  </a:lnTo>
                  <a:lnTo>
                    <a:pt x="16129" y="4165"/>
                  </a:lnTo>
                  <a:lnTo>
                    <a:pt x="18757" y="11988"/>
                  </a:lnTo>
                  <a:lnTo>
                    <a:pt x="20142" y="16103"/>
                  </a:lnTo>
                  <a:lnTo>
                    <a:pt x="21805" y="22593"/>
                  </a:lnTo>
                  <a:lnTo>
                    <a:pt x="16294" y="24447"/>
                  </a:lnTo>
                  <a:lnTo>
                    <a:pt x="16840" y="25577"/>
                  </a:lnTo>
                  <a:lnTo>
                    <a:pt x="23812" y="23240"/>
                  </a:lnTo>
                  <a:lnTo>
                    <a:pt x="26009" y="16128"/>
                  </a:lnTo>
                  <a:lnTo>
                    <a:pt x="23964" y="10007"/>
                  </a:lnTo>
                  <a:lnTo>
                    <a:pt x="21717" y="3301"/>
                  </a:lnTo>
                  <a:lnTo>
                    <a:pt x="15887" y="0"/>
                  </a:lnTo>
                  <a:lnTo>
                    <a:pt x="9055" y="2298"/>
                  </a:lnTo>
                  <a:lnTo>
                    <a:pt x="2298" y="4559"/>
                  </a:lnTo>
                  <a:lnTo>
                    <a:pt x="0" y="11366"/>
                  </a:lnTo>
                  <a:lnTo>
                    <a:pt x="2171" y="17818"/>
                  </a:lnTo>
                  <a:lnTo>
                    <a:pt x="4406" y="24485"/>
                  </a:lnTo>
                  <a:lnTo>
                    <a:pt x="10236" y="27787"/>
                  </a:lnTo>
                  <a:lnTo>
                    <a:pt x="16840" y="25577"/>
                  </a:lnTo>
                  <a:lnTo>
                    <a:pt x="16294" y="24447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" name="object 112">
              <a:extLst>
                <a:ext uri="{FF2B5EF4-FFF2-40B4-BE49-F238E27FC236}">
                  <a16:creationId xmlns:a16="http://schemas.microsoft.com/office/drawing/2014/main" id="{76CE8E6D-7105-4078-9D04-45DB3B41951D}"/>
                </a:ext>
              </a:extLst>
            </p:cNvPr>
            <p:cNvSpPr/>
            <p:nvPr/>
          </p:nvSpPr>
          <p:spPr>
            <a:xfrm>
              <a:off x="8097511" y="6410909"/>
              <a:ext cx="21590" cy="29845"/>
            </a:xfrm>
            <a:custGeom>
              <a:avLst/>
              <a:gdLst/>
              <a:ahLst/>
              <a:cxnLst/>
              <a:rect l="l" t="t" r="r" b="b"/>
              <a:pathLst>
                <a:path w="21590" h="29845">
                  <a:moveTo>
                    <a:pt x="17043" y="0"/>
                  </a:moveTo>
                  <a:lnTo>
                    <a:pt x="0" y="8369"/>
                  </a:lnTo>
                  <a:lnTo>
                    <a:pt x="469" y="9321"/>
                  </a:lnTo>
                  <a:lnTo>
                    <a:pt x="2527" y="8305"/>
                  </a:lnTo>
                  <a:lnTo>
                    <a:pt x="3556" y="8585"/>
                  </a:lnTo>
                  <a:lnTo>
                    <a:pt x="12306" y="26441"/>
                  </a:lnTo>
                  <a:lnTo>
                    <a:pt x="11899" y="27419"/>
                  </a:lnTo>
                  <a:lnTo>
                    <a:pt x="9842" y="28435"/>
                  </a:lnTo>
                  <a:lnTo>
                    <a:pt x="10299" y="29375"/>
                  </a:lnTo>
                  <a:lnTo>
                    <a:pt x="20612" y="24333"/>
                  </a:lnTo>
                  <a:lnTo>
                    <a:pt x="20142" y="23380"/>
                  </a:lnTo>
                  <a:lnTo>
                    <a:pt x="18072" y="24396"/>
                  </a:lnTo>
                  <a:lnTo>
                    <a:pt x="17018" y="24129"/>
                  </a:lnTo>
                  <a:lnTo>
                    <a:pt x="12865" y="15659"/>
                  </a:lnTo>
                  <a:lnTo>
                    <a:pt x="16687" y="13792"/>
                  </a:lnTo>
                  <a:lnTo>
                    <a:pt x="18567" y="14147"/>
                  </a:lnTo>
                  <a:lnTo>
                    <a:pt x="20116" y="16560"/>
                  </a:lnTo>
                  <a:lnTo>
                    <a:pt x="21234" y="16014"/>
                  </a:lnTo>
                  <a:lnTo>
                    <a:pt x="17145" y="7683"/>
                  </a:lnTo>
                  <a:lnTo>
                    <a:pt x="16027" y="8242"/>
                  </a:lnTo>
                  <a:lnTo>
                    <a:pt x="16573" y="10960"/>
                  </a:lnTo>
                  <a:lnTo>
                    <a:pt x="16027" y="12433"/>
                  </a:lnTo>
                  <a:lnTo>
                    <a:pt x="12204" y="14312"/>
                  </a:lnTo>
                  <a:lnTo>
                    <a:pt x="8267" y="6273"/>
                  </a:lnTo>
                  <a:lnTo>
                    <a:pt x="8216" y="5727"/>
                  </a:lnTo>
                  <a:lnTo>
                    <a:pt x="13614" y="3086"/>
                  </a:lnTo>
                  <a:lnTo>
                    <a:pt x="17627" y="3886"/>
                  </a:lnTo>
                  <a:lnTo>
                    <a:pt x="20650" y="5676"/>
                  </a:lnTo>
                  <a:lnTo>
                    <a:pt x="21450" y="4838"/>
                  </a:lnTo>
                  <a:lnTo>
                    <a:pt x="17043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" name="object 113">
              <a:extLst>
                <a:ext uri="{FF2B5EF4-FFF2-40B4-BE49-F238E27FC236}">
                  <a16:creationId xmlns:a16="http://schemas.microsoft.com/office/drawing/2014/main" id="{B6C304FF-683A-41C9-AA45-A84422D19065}"/>
                </a:ext>
              </a:extLst>
            </p:cNvPr>
            <p:cNvSpPr/>
            <p:nvPr/>
          </p:nvSpPr>
          <p:spPr>
            <a:xfrm>
              <a:off x="8097511" y="6410909"/>
              <a:ext cx="21590" cy="29845"/>
            </a:xfrm>
            <a:custGeom>
              <a:avLst/>
              <a:gdLst/>
              <a:ahLst/>
              <a:cxnLst/>
              <a:rect l="l" t="t" r="r" b="b"/>
              <a:pathLst>
                <a:path w="21590" h="29845">
                  <a:moveTo>
                    <a:pt x="12204" y="14312"/>
                  </a:moveTo>
                  <a:lnTo>
                    <a:pt x="13589" y="13627"/>
                  </a:lnTo>
                  <a:lnTo>
                    <a:pt x="16027" y="12433"/>
                  </a:lnTo>
                  <a:lnTo>
                    <a:pt x="16573" y="10960"/>
                  </a:lnTo>
                  <a:lnTo>
                    <a:pt x="16027" y="8242"/>
                  </a:lnTo>
                  <a:lnTo>
                    <a:pt x="17145" y="7683"/>
                  </a:lnTo>
                  <a:lnTo>
                    <a:pt x="21234" y="16014"/>
                  </a:lnTo>
                  <a:lnTo>
                    <a:pt x="20116" y="16560"/>
                  </a:lnTo>
                  <a:lnTo>
                    <a:pt x="18567" y="14147"/>
                  </a:lnTo>
                  <a:lnTo>
                    <a:pt x="16687" y="13792"/>
                  </a:lnTo>
                  <a:lnTo>
                    <a:pt x="14503" y="14858"/>
                  </a:lnTo>
                  <a:lnTo>
                    <a:pt x="12865" y="15659"/>
                  </a:lnTo>
                  <a:lnTo>
                    <a:pt x="16040" y="22123"/>
                  </a:lnTo>
                  <a:lnTo>
                    <a:pt x="17018" y="24129"/>
                  </a:lnTo>
                  <a:lnTo>
                    <a:pt x="18072" y="24396"/>
                  </a:lnTo>
                  <a:lnTo>
                    <a:pt x="20142" y="23380"/>
                  </a:lnTo>
                  <a:lnTo>
                    <a:pt x="20612" y="24333"/>
                  </a:lnTo>
                  <a:lnTo>
                    <a:pt x="10299" y="29375"/>
                  </a:lnTo>
                  <a:lnTo>
                    <a:pt x="9842" y="28435"/>
                  </a:lnTo>
                  <a:lnTo>
                    <a:pt x="11899" y="27419"/>
                  </a:lnTo>
                  <a:lnTo>
                    <a:pt x="12306" y="26441"/>
                  </a:lnTo>
                  <a:lnTo>
                    <a:pt x="11328" y="24422"/>
                  </a:lnTo>
                  <a:lnTo>
                    <a:pt x="4546" y="10591"/>
                  </a:lnTo>
                  <a:lnTo>
                    <a:pt x="3556" y="8585"/>
                  </a:lnTo>
                  <a:lnTo>
                    <a:pt x="2527" y="8305"/>
                  </a:lnTo>
                  <a:lnTo>
                    <a:pt x="469" y="9321"/>
                  </a:lnTo>
                  <a:lnTo>
                    <a:pt x="0" y="8369"/>
                  </a:lnTo>
                  <a:lnTo>
                    <a:pt x="17043" y="0"/>
                  </a:lnTo>
                  <a:lnTo>
                    <a:pt x="21450" y="4838"/>
                  </a:lnTo>
                  <a:lnTo>
                    <a:pt x="20650" y="5676"/>
                  </a:lnTo>
                  <a:lnTo>
                    <a:pt x="17627" y="3886"/>
                  </a:lnTo>
                  <a:lnTo>
                    <a:pt x="13614" y="3086"/>
                  </a:lnTo>
                  <a:lnTo>
                    <a:pt x="10337" y="4686"/>
                  </a:lnTo>
                  <a:lnTo>
                    <a:pt x="8216" y="5727"/>
                  </a:lnTo>
                  <a:lnTo>
                    <a:pt x="8267" y="6273"/>
                  </a:lnTo>
                  <a:lnTo>
                    <a:pt x="9207" y="8191"/>
                  </a:lnTo>
                  <a:lnTo>
                    <a:pt x="12204" y="14312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" name="object 114">
              <a:extLst>
                <a:ext uri="{FF2B5EF4-FFF2-40B4-BE49-F238E27FC236}">
                  <a16:creationId xmlns:a16="http://schemas.microsoft.com/office/drawing/2014/main" id="{FF0FF18D-C588-4DC8-BE94-096328D0E6AD}"/>
                </a:ext>
              </a:extLst>
            </p:cNvPr>
            <p:cNvSpPr/>
            <p:nvPr/>
          </p:nvSpPr>
          <p:spPr>
            <a:xfrm>
              <a:off x="8125131" y="6400723"/>
              <a:ext cx="25400" cy="29209"/>
            </a:xfrm>
            <a:custGeom>
              <a:avLst/>
              <a:gdLst/>
              <a:ahLst/>
              <a:cxnLst/>
              <a:rect l="l" t="t" r="r" b="b"/>
              <a:pathLst>
                <a:path w="25400" h="29209">
                  <a:moveTo>
                    <a:pt x="2933" y="0"/>
                  </a:moveTo>
                  <a:lnTo>
                    <a:pt x="0" y="3936"/>
                  </a:lnTo>
                  <a:lnTo>
                    <a:pt x="5334" y="24002"/>
                  </a:lnTo>
                  <a:lnTo>
                    <a:pt x="5702" y="25476"/>
                  </a:lnTo>
                  <a:lnTo>
                    <a:pt x="3759" y="27876"/>
                  </a:lnTo>
                  <a:lnTo>
                    <a:pt x="4368" y="28727"/>
                  </a:lnTo>
                  <a:lnTo>
                    <a:pt x="11004" y="24002"/>
                  </a:lnTo>
                  <a:lnTo>
                    <a:pt x="7912" y="24002"/>
                  </a:lnTo>
                  <a:lnTo>
                    <a:pt x="6438" y="21945"/>
                  </a:lnTo>
                  <a:lnTo>
                    <a:pt x="5334" y="18072"/>
                  </a:lnTo>
                  <a:lnTo>
                    <a:pt x="4978" y="16484"/>
                  </a:lnTo>
                  <a:lnTo>
                    <a:pt x="2120" y="5905"/>
                  </a:lnTo>
                  <a:lnTo>
                    <a:pt x="10686" y="5905"/>
                  </a:lnTo>
                  <a:lnTo>
                    <a:pt x="2933" y="0"/>
                  </a:lnTo>
                  <a:close/>
                </a:path>
                <a:path w="25400" h="29209">
                  <a:moveTo>
                    <a:pt x="10680" y="22936"/>
                  </a:moveTo>
                  <a:lnTo>
                    <a:pt x="9474" y="23672"/>
                  </a:lnTo>
                  <a:lnTo>
                    <a:pt x="7912" y="24002"/>
                  </a:lnTo>
                  <a:lnTo>
                    <a:pt x="11004" y="24002"/>
                  </a:lnTo>
                  <a:lnTo>
                    <a:pt x="11290" y="23799"/>
                  </a:lnTo>
                  <a:lnTo>
                    <a:pt x="10680" y="22936"/>
                  </a:lnTo>
                  <a:close/>
                </a:path>
                <a:path w="25400" h="29209">
                  <a:moveTo>
                    <a:pt x="20439" y="13334"/>
                  </a:moveTo>
                  <a:lnTo>
                    <a:pt x="11963" y="13334"/>
                  </a:lnTo>
                  <a:lnTo>
                    <a:pt x="16129" y="16535"/>
                  </a:lnTo>
                  <a:lnTo>
                    <a:pt x="17043" y="17818"/>
                  </a:lnTo>
                  <a:lnTo>
                    <a:pt x="16891" y="18427"/>
                  </a:lnTo>
                  <a:lnTo>
                    <a:pt x="15265" y="19672"/>
                  </a:lnTo>
                  <a:lnTo>
                    <a:pt x="15875" y="20535"/>
                  </a:lnTo>
                  <a:lnTo>
                    <a:pt x="23967" y="14770"/>
                  </a:lnTo>
                  <a:lnTo>
                    <a:pt x="22021" y="14770"/>
                  </a:lnTo>
                  <a:lnTo>
                    <a:pt x="20789" y="13601"/>
                  </a:lnTo>
                  <a:lnTo>
                    <a:pt x="20439" y="13334"/>
                  </a:lnTo>
                  <a:close/>
                </a:path>
                <a:path w="25400" h="29209">
                  <a:moveTo>
                    <a:pt x="10686" y="5905"/>
                  </a:moveTo>
                  <a:lnTo>
                    <a:pt x="2120" y="5905"/>
                  </a:lnTo>
                  <a:lnTo>
                    <a:pt x="10680" y="12420"/>
                  </a:lnTo>
                  <a:lnTo>
                    <a:pt x="4978" y="16484"/>
                  </a:lnTo>
                  <a:lnTo>
                    <a:pt x="5334" y="18072"/>
                  </a:lnTo>
                  <a:lnTo>
                    <a:pt x="11963" y="13334"/>
                  </a:lnTo>
                  <a:lnTo>
                    <a:pt x="20439" y="13334"/>
                  </a:lnTo>
                  <a:lnTo>
                    <a:pt x="10686" y="5905"/>
                  </a:lnTo>
                  <a:close/>
                </a:path>
                <a:path w="25400" h="29209">
                  <a:moveTo>
                    <a:pt x="24396" y="13157"/>
                  </a:moveTo>
                  <a:lnTo>
                    <a:pt x="22021" y="14770"/>
                  </a:lnTo>
                  <a:lnTo>
                    <a:pt x="23967" y="14770"/>
                  </a:lnTo>
                  <a:lnTo>
                    <a:pt x="25019" y="14020"/>
                  </a:lnTo>
                  <a:lnTo>
                    <a:pt x="24396" y="13157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" name="object 115">
              <a:extLst>
                <a:ext uri="{FF2B5EF4-FFF2-40B4-BE49-F238E27FC236}">
                  <a16:creationId xmlns:a16="http://schemas.microsoft.com/office/drawing/2014/main" id="{6B16CC41-CABD-401B-A2FF-5897F15E58A4}"/>
                </a:ext>
              </a:extLst>
            </p:cNvPr>
            <p:cNvSpPr/>
            <p:nvPr/>
          </p:nvSpPr>
          <p:spPr>
            <a:xfrm>
              <a:off x="8125131" y="6400723"/>
              <a:ext cx="25400" cy="29209"/>
            </a:xfrm>
            <a:custGeom>
              <a:avLst/>
              <a:gdLst/>
              <a:ahLst/>
              <a:cxnLst/>
              <a:rect l="l" t="t" r="r" b="b"/>
              <a:pathLst>
                <a:path w="25400" h="29209">
                  <a:moveTo>
                    <a:pt x="4978" y="16484"/>
                  </a:moveTo>
                  <a:lnTo>
                    <a:pt x="2120" y="5905"/>
                  </a:lnTo>
                  <a:lnTo>
                    <a:pt x="10680" y="12420"/>
                  </a:lnTo>
                  <a:lnTo>
                    <a:pt x="4978" y="16484"/>
                  </a:lnTo>
                  <a:lnTo>
                    <a:pt x="5334" y="18072"/>
                  </a:lnTo>
                  <a:lnTo>
                    <a:pt x="11963" y="13334"/>
                  </a:lnTo>
                  <a:lnTo>
                    <a:pt x="15100" y="15747"/>
                  </a:lnTo>
                  <a:lnTo>
                    <a:pt x="15582" y="16103"/>
                  </a:lnTo>
                  <a:lnTo>
                    <a:pt x="16129" y="16535"/>
                  </a:lnTo>
                  <a:lnTo>
                    <a:pt x="16484" y="17030"/>
                  </a:lnTo>
                  <a:lnTo>
                    <a:pt x="17043" y="17818"/>
                  </a:lnTo>
                  <a:lnTo>
                    <a:pt x="16891" y="18427"/>
                  </a:lnTo>
                  <a:lnTo>
                    <a:pt x="15265" y="19672"/>
                  </a:lnTo>
                  <a:lnTo>
                    <a:pt x="15875" y="20535"/>
                  </a:lnTo>
                  <a:lnTo>
                    <a:pt x="25019" y="14020"/>
                  </a:lnTo>
                  <a:lnTo>
                    <a:pt x="24396" y="13157"/>
                  </a:lnTo>
                  <a:lnTo>
                    <a:pt x="22021" y="14770"/>
                  </a:lnTo>
                  <a:lnTo>
                    <a:pt x="20789" y="13601"/>
                  </a:lnTo>
                  <a:lnTo>
                    <a:pt x="18884" y="12141"/>
                  </a:lnTo>
                  <a:lnTo>
                    <a:pt x="2933" y="0"/>
                  </a:lnTo>
                  <a:lnTo>
                    <a:pt x="0" y="3936"/>
                  </a:lnTo>
                  <a:lnTo>
                    <a:pt x="4572" y="21094"/>
                  </a:lnTo>
                  <a:lnTo>
                    <a:pt x="5283" y="23799"/>
                  </a:lnTo>
                  <a:lnTo>
                    <a:pt x="5702" y="25476"/>
                  </a:lnTo>
                  <a:lnTo>
                    <a:pt x="3759" y="27876"/>
                  </a:lnTo>
                  <a:lnTo>
                    <a:pt x="4368" y="28727"/>
                  </a:lnTo>
                  <a:lnTo>
                    <a:pt x="11290" y="23799"/>
                  </a:lnTo>
                  <a:lnTo>
                    <a:pt x="10680" y="22936"/>
                  </a:lnTo>
                  <a:lnTo>
                    <a:pt x="9474" y="23672"/>
                  </a:lnTo>
                  <a:lnTo>
                    <a:pt x="7912" y="24002"/>
                  </a:lnTo>
                  <a:lnTo>
                    <a:pt x="6959" y="22682"/>
                  </a:lnTo>
                  <a:lnTo>
                    <a:pt x="6438" y="21945"/>
                  </a:lnTo>
                  <a:lnTo>
                    <a:pt x="6172" y="20967"/>
                  </a:lnTo>
                  <a:lnTo>
                    <a:pt x="5930" y="20116"/>
                  </a:lnTo>
                  <a:lnTo>
                    <a:pt x="5334" y="18072"/>
                  </a:lnTo>
                  <a:lnTo>
                    <a:pt x="4978" y="16484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" name="object 116">
              <a:extLst>
                <a:ext uri="{FF2B5EF4-FFF2-40B4-BE49-F238E27FC236}">
                  <a16:creationId xmlns:a16="http://schemas.microsoft.com/office/drawing/2014/main" id="{5A285D30-E501-4254-86B4-94691517FEFA}"/>
                </a:ext>
              </a:extLst>
            </p:cNvPr>
            <p:cNvSpPr/>
            <p:nvPr/>
          </p:nvSpPr>
          <p:spPr>
            <a:xfrm>
              <a:off x="8135308" y="6376389"/>
              <a:ext cx="37465" cy="37465"/>
            </a:xfrm>
            <a:custGeom>
              <a:avLst/>
              <a:gdLst/>
              <a:ahLst/>
              <a:cxnLst/>
              <a:rect l="l" t="t" r="r" b="b"/>
              <a:pathLst>
                <a:path w="37465" h="37465">
                  <a:moveTo>
                    <a:pt x="20243" y="0"/>
                  </a:moveTo>
                  <a:lnTo>
                    <a:pt x="13842" y="6489"/>
                  </a:lnTo>
                  <a:lnTo>
                    <a:pt x="20612" y="20535"/>
                  </a:lnTo>
                  <a:lnTo>
                    <a:pt x="6565" y="13868"/>
                  </a:lnTo>
                  <a:lnTo>
                    <a:pt x="0" y="20548"/>
                  </a:lnTo>
                  <a:lnTo>
                    <a:pt x="749" y="21285"/>
                  </a:lnTo>
                  <a:lnTo>
                    <a:pt x="2247" y="19761"/>
                  </a:lnTo>
                  <a:lnTo>
                    <a:pt x="3314" y="19456"/>
                  </a:lnTo>
                  <a:lnTo>
                    <a:pt x="17449" y="33401"/>
                  </a:lnTo>
                  <a:lnTo>
                    <a:pt x="17360" y="33985"/>
                  </a:lnTo>
                  <a:lnTo>
                    <a:pt x="15773" y="36372"/>
                  </a:lnTo>
                  <a:lnTo>
                    <a:pt x="16522" y="37122"/>
                  </a:lnTo>
                  <a:lnTo>
                    <a:pt x="22212" y="31343"/>
                  </a:lnTo>
                  <a:lnTo>
                    <a:pt x="21450" y="30607"/>
                  </a:lnTo>
                  <a:lnTo>
                    <a:pt x="19253" y="32423"/>
                  </a:lnTo>
                  <a:lnTo>
                    <a:pt x="18605" y="32181"/>
                  </a:lnTo>
                  <a:lnTo>
                    <a:pt x="5689" y="19469"/>
                  </a:lnTo>
                  <a:lnTo>
                    <a:pt x="25145" y="28359"/>
                  </a:lnTo>
                  <a:lnTo>
                    <a:pt x="25958" y="27546"/>
                  </a:lnTo>
                  <a:lnTo>
                    <a:pt x="16230" y="7848"/>
                  </a:lnTo>
                  <a:lnTo>
                    <a:pt x="29794" y="21132"/>
                  </a:lnTo>
                  <a:lnTo>
                    <a:pt x="29743" y="22199"/>
                  </a:lnTo>
                  <a:lnTo>
                    <a:pt x="28130" y="23850"/>
                  </a:lnTo>
                  <a:lnTo>
                    <a:pt x="28867" y="24587"/>
                  </a:lnTo>
                  <a:lnTo>
                    <a:pt x="36906" y="16433"/>
                  </a:lnTo>
                  <a:lnTo>
                    <a:pt x="36156" y="15697"/>
                  </a:lnTo>
                  <a:lnTo>
                    <a:pt x="34543" y="17335"/>
                  </a:lnTo>
                  <a:lnTo>
                    <a:pt x="33489" y="17411"/>
                  </a:lnTo>
                  <a:lnTo>
                    <a:pt x="31889" y="15836"/>
                  </a:lnTo>
                  <a:lnTo>
                    <a:pt x="19176" y="3302"/>
                  </a:lnTo>
                  <a:lnTo>
                    <a:pt x="19494" y="2501"/>
                  </a:lnTo>
                  <a:lnTo>
                    <a:pt x="20993" y="736"/>
                  </a:lnTo>
                  <a:lnTo>
                    <a:pt x="20243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" name="object 117">
              <a:extLst>
                <a:ext uri="{FF2B5EF4-FFF2-40B4-BE49-F238E27FC236}">
                  <a16:creationId xmlns:a16="http://schemas.microsoft.com/office/drawing/2014/main" id="{BE8EFA58-5BDC-4A55-813C-66D6BE467832}"/>
                </a:ext>
              </a:extLst>
            </p:cNvPr>
            <p:cNvSpPr/>
            <p:nvPr/>
          </p:nvSpPr>
          <p:spPr>
            <a:xfrm>
              <a:off x="8135308" y="6376389"/>
              <a:ext cx="37465" cy="37465"/>
            </a:xfrm>
            <a:custGeom>
              <a:avLst/>
              <a:gdLst/>
              <a:ahLst/>
              <a:cxnLst/>
              <a:rect l="l" t="t" r="r" b="b"/>
              <a:pathLst>
                <a:path w="37465" h="37465">
                  <a:moveTo>
                    <a:pt x="31889" y="15836"/>
                  </a:moveTo>
                  <a:lnTo>
                    <a:pt x="33489" y="17411"/>
                  </a:lnTo>
                  <a:lnTo>
                    <a:pt x="34543" y="17335"/>
                  </a:lnTo>
                  <a:lnTo>
                    <a:pt x="36156" y="15697"/>
                  </a:lnTo>
                  <a:lnTo>
                    <a:pt x="36906" y="16433"/>
                  </a:lnTo>
                  <a:lnTo>
                    <a:pt x="28867" y="24587"/>
                  </a:lnTo>
                  <a:lnTo>
                    <a:pt x="28130" y="23850"/>
                  </a:lnTo>
                  <a:lnTo>
                    <a:pt x="29743" y="22199"/>
                  </a:lnTo>
                  <a:lnTo>
                    <a:pt x="29794" y="21132"/>
                  </a:lnTo>
                  <a:lnTo>
                    <a:pt x="28206" y="19570"/>
                  </a:lnTo>
                  <a:lnTo>
                    <a:pt x="16281" y="7810"/>
                  </a:lnTo>
                  <a:lnTo>
                    <a:pt x="25958" y="27546"/>
                  </a:lnTo>
                  <a:lnTo>
                    <a:pt x="25145" y="28359"/>
                  </a:lnTo>
                  <a:lnTo>
                    <a:pt x="5727" y="19418"/>
                  </a:lnTo>
                  <a:lnTo>
                    <a:pt x="14947" y="28600"/>
                  </a:lnTo>
                  <a:lnTo>
                    <a:pt x="18605" y="32181"/>
                  </a:lnTo>
                  <a:lnTo>
                    <a:pt x="19253" y="32423"/>
                  </a:lnTo>
                  <a:lnTo>
                    <a:pt x="21450" y="30607"/>
                  </a:lnTo>
                  <a:lnTo>
                    <a:pt x="22212" y="31343"/>
                  </a:lnTo>
                  <a:lnTo>
                    <a:pt x="16522" y="37122"/>
                  </a:lnTo>
                  <a:lnTo>
                    <a:pt x="15773" y="36372"/>
                  </a:lnTo>
                  <a:lnTo>
                    <a:pt x="17360" y="33985"/>
                  </a:lnTo>
                  <a:lnTo>
                    <a:pt x="17449" y="33401"/>
                  </a:lnTo>
                  <a:lnTo>
                    <a:pt x="13779" y="29781"/>
                  </a:lnTo>
                  <a:lnTo>
                    <a:pt x="5016" y="21132"/>
                  </a:lnTo>
                  <a:lnTo>
                    <a:pt x="3314" y="19456"/>
                  </a:lnTo>
                  <a:lnTo>
                    <a:pt x="2247" y="19761"/>
                  </a:lnTo>
                  <a:lnTo>
                    <a:pt x="749" y="21285"/>
                  </a:lnTo>
                  <a:lnTo>
                    <a:pt x="0" y="20548"/>
                  </a:lnTo>
                  <a:lnTo>
                    <a:pt x="6565" y="13868"/>
                  </a:lnTo>
                  <a:lnTo>
                    <a:pt x="20612" y="20535"/>
                  </a:lnTo>
                  <a:lnTo>
                    <a:pt x="13842" y="6489"/>
                  </a:lnTo>
                  <a:lnTo>
                    <a:pt x="20243" y="0"/>
                  </a:lnTo>
                  <a:lnTo>
                    <a:pt x="20993" y="736"/>
                  </a:lnTo>
                  <a:lnTo>
                    <a:pt x="19494" y="2501"/>
                  </a:lnTo>
                  <a:lnTo>
                    <a:pt x="19176" y="3302"/>
                  </a:lnTo>
                  <a:lnTo>
                    <a:pt x="20904" y="5016"/>
                  </a:lnTo>
                  <a:lnTo>
                    <a:pt x="31889" y="15836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" name="object 118">
              <a:extLst>
                <a:ext uri="{FF2B5EF4-FFF2-40B4-BE49-F238E27FC236}">
                  <a16:creationId xmlns:a16="http://schemas.microsoft.com/office/drawing/2014/main" id="{A176A471-550D-4D69-9F96-47036E8798F9}"/>
                </a:ext>
              </a:extLst>
            </p:cNvPr>
            <p:cNvSpPr/>
            <p:nvPr/>
          </p:nvSpPr>
          <p:spPr>
            <a:xfrm>
              <a:off x="8156600" y="6358515"/>
              <a:ext cx="30480" cy="29209"/>
            </a:xfrm>
            <a:custGeom>
              <a:avLst/>
              <a:gdLst/>
              <a:ahLst/>
              <a:cxnLst/>
              <a:rect l="l" t="t" r="r" b="b"/>
              <a:pathLst>
                <a:path w="30479" h="29209">
                  <a:moveTo>
                    <a:pt x="10744" y="0"/>
                  </a:moveTo>
                  <a:lnTo>
                    <a:pt x="0" y="16014"/>
                  </a:lnTo>
                  <a:lnTo>
                    <a:pt x="876" y="16611"/>
                  </a:lnTo>
                  <a:lnTo>
                    <a:pt x="2159" y="14693"/>
                  </a:lnTo>
                  <a:lnTo>
                    <a:pt x="3187" y="14427"/>
                  </a:lnTo>
                  <a:lnTo>
                    <a:pt x="19697" y="25501"/>
                  </a:lnTo>
                  <a:lnTo>
                    <a:pt x="19837" y="26555"/>
                  </a:lnTo>
                  <a:lnTo>
                    <a:pt x="18554" y="28473"/>
                  </a:lnTo>
                  <a:lnTo>
                    <a:pt x="19431" y="29057"/>
                  </a:lnTo>
                  <a:lnTo>
                    <a:pt x="30175" y="13055"/>
                  </a:lnTo>
                  <a:lnTo>
                    <a:pt x="26581" y="7746"/>
                  </a:lnTo>
                  <a:lnTo>
                    <a:pt x="25717" y="8216"/>
                  </a:lnTo>
                  <a:lnTo>
                    <a:pt x="26746" y="11899"/>
                  </a:lnTo>
                  <a:lnTo>
                    <a:pt x="26631" y="16103"/>
                  </a:lnTo>
                  <a:lnTo>
                    <a:pt x="23152" y="21272"/>
                  </a:lnTo>
                  <a:lnTo>
                    <a:pt x="22009" y="20739"/>
                  </a:lnTo>
                  <a:lnTo>
                    <a:pt x="14871" y="15951"/>
                  </a:lnTo>
                  <a:lnTo>
                    <a:pt x="17005" y="12763"/>
                  </a:lnTo>
                  <a:lnTo>
                    <a:pt x="18529" y="11810"/>
                  </a:lnTo>
                  <a:lnTo>
                    <a:pt x="21691" y="12903"/>
                  </a:lnTo>
                  <a:lnTo>
                    <a:pt x="22390" y="11861"/>
                  </a:lnTo>
                  <a:lnTo>
                    <a:pt x="14719" y="6718"/>
                  </a:lnTo>
                  <a:lnTo>
                    <a:pt x="14020" y="7746"/>
                  </a:lnTo>
                  <a:lnTo>
                    <a:pt x="16090" y="10452"/>
                  </a:lnTo>
                  <a:lnTo>
                    <a:pt x="15760" y="11925"/>
                  </a:lnTo>
                  <a:lnTo>
                    <a:pt x="13627" y="15112"/>
                  </a:lnTo>
                  <a:lnTo>
                    <a:pt x="5689" y="9778"/>
                  </a:lnTo>
                  <a:lnTo>
                    <a:pt x="9296" y="4394"/>
                  </a:lnTo>
                  <a:lnTo>
                    <a:pt x="13119" y="2946"/>
                  </a:lnTo>
                  <a:lnTo>
                    <a:pt x="16624" y="2717"/>
                  </a:lnTo>
                  <a:lnTo>
                    <a:pt x="16827" y="1663"/>
                  </a:lnTo>
                  <a:lnTo>
                    <a:pt x="10744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" name="object 119">
              <a:extLst>
                <a:ext uri="{FF2B5EF4-FFF2-40B4-BE49-F238E27FC236}">
                  <a16:creationId xmlns:a16="http://schemas.microsoft.com/office/drawing/2014/main" id="{4CC63EBD-BBE9-440B-AEE8-2CA809E3F01C}"/>
                </a:ext>
              </a:extLst>
            </p:cNvPr>
            <p:cNvSpPr/>
            <p:nvPr/>
          </p:nvSpPr>
          <p:spPr>
            <a:xfrm>
              <a:off x="8156600" y="6358515"/>
              <a:ext cx="30480" cy="29209"/>
            </a:xfrm>
            <a:custGeom>
              <a:avLst/>
              <a:gdLst/>
              <a:ahLst/>
              <a:cxnLst/>
              <a:rect l="l" t="t" r="r" b="b"/>
              <a:pathLst>
                <a:path w="30479" h="29209">
                  <a:moveTo>
                    <a:pt x="18554" y="28473"/>
                  </a:moveTo>
                  <a:lnTo>
                    <a:pt x="19837" y="26555"/>
                  </a:lnTo>
                  <a:lnTo>
                    <a:pt x="19697" y="25501"/>
                  </a:lnTo>
                  <a:lnTo>
                    <a:pt x="17843" y="24256"/>
                  </a:lnTo>
                  <a:lnTo>
                    <a:pt x="5041" y="15659"/>
                  </a:lnTo>
                  <a:lnTo>
                    <a:pt x="3187" y="14427"/>
                  </a:lnTo>
                  <a:lnTo>
                    <a:pt x="2159" y="14693"/>
                  </a:lnTo>
                  <a:lnTo>
                    <a:pt x="876" y="16611"/>
                  </a:lnTo>
                  <a:lnTo>
                    <a:pt x="0" y="16014"/>
                  </a:lnTo>
                  <a:lnTo>
                    <a:pt x="10744" y="0"/>
                  </a:lnTo>
                  <a:lnTo>
                    <a:pt x="16827" y="1663"/>
                  </a:lnTo>
                  <a:lnTo>
                    <a:pt x="16624" y="2717"/>
                  </a:lnTo>
                  <a:lnTo>
                    <a:pt x="13119" y="2946"/>
                  </a:lnTo>
                  <a:lnTo>
                    <a:pt x="9296" y="4394"/>
                  </a:lnTo>
                  <a:lnTo>
                    <a:pt x="7264" y="7416"/>
                  </a:lnTo>
                  <a:lnTo>
                    <a:pt x="5689" y="9778"/>
                  </a:lnTo>
                  <a:lnTo>
                    <a:pt x="6477" y="10312"/>
                  </a:lnTo>
                  <a:lnTo>
                    <a:pt x="8445" y="11633"/>
                  </a:lnTo>
                  <a:lnTo>
                    <a:pt x="13627" y="15112"/>
                  </a:lnTo>
                  <a:lnTo>
                    <a:pt x="13982" y="14579"/>
                  </a:lnTo>
                  <a:lnTo>
                    <a:pt x="15760" y="11925"/>
                  </a:lnTo>
                  <a:lnTo>
                    <a:pt x="16090" y="10452"/>
                  </a:lnTo>
                  <a:lnTo>
                    <a:pt x="14020" y="7746"/>
                  </a:lnTo>
                  <a:lnTo>
                    <a:pt x="14719" y="6718"/>
                  </a:lnTo>
                  <a:lnTo>
                    <a:pt x="22390" y="11861"/>
                  </a:lnTo>
                  <a:lnTo>
                    <a:pt x="21691" y="12903"/>
                  </a:lnTo>
                  <a:lnTo>
                    <a:pt x="18529" y="11810"/>
                  </a:lnTo>
                  <a:lnTo>
                    <a:pt x="17005" y="12763"/>
                  </a:lnTo>
                  <a:lnTo>
                    <a:pt x="15265" y="15366"/>
                  </a:lnTo>
                  <a:lnTo>
                    <a:pt x="14871" y="15951"/>
                  </a:lnTo>
                  <a:lnTo>
                    <a:pt x="20472" y="19710"/>
                  </a:lnTo>
                  <a:lnTo>
                    <a:pt x="22009" y="20739"/>
                  </a:lnTo>
                  <a:lnTo>
                    <a:pt x="23152" y="21272"/>
                  </a:lnTo>
                  <a:lnTo>
                    <a:pt x="24422" y="19392"/>
                  </a:lnTo>
                  <a:lnTo>
                    <a:pt x="26631" y="16103"/>
                  </a:lnTo>
                  <a:lnTo>
                    <a:pt x="26746" y="11899"/>
                  </a:lnTo>
                  <a:lnTo>
                    <a:pt x="25717" y="8216"/>
                  </a:lnTo>
                  <a:lnTo>
                    <a:pt x="26581" y="7746"/>
                  </a:lnTo>
                  <a:lnTo>
                    <a:pt x="30175" y="13055"/>
                  </a:lnTo>
                  <a:lnTo>
                    <a:pt x="19431" y="29057"/>
                  </a:lnTo>
                  <a:lnTo>
                    <a:pt x="18554" y="28473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" name="object 120">
              <a:extLst>
                <a:ext uri="{FF2B5EF4-FFF2-40B4-BE49-F238E27FC236}">
                  <a16:creationId xmlns:a16="http://schemas.microsoft.com/office/drawing/2014/main" id="{2E066863-A898-453E-A70E-129036C78F81}"/>
                </a:ext>
              </a:extLst>
            </p:cNvPr>
            <p:cNvSpPr/>
            <p:nvPr/>
          </p:nvSpPr>
          <p:spPr>
            <a:xfrm>
              <a:off x="8168968" y="6337700"/>
              <a:ext cx="31750" cy="28575"/>
            </a:xfrm>
            <a:custGeom>
              <a:avLst/>
              <a:gdLst/>
              <a:ahLst/>
              <a:cxnLst/>
              <a:rect l="l" t="t" r="r" b="b"/>
              <a:pathLst>
                <a:path w="31750" h="28575">
                  <a:moveTo>
                    <a:pt x="15386" y="16268"/>
                  </a:moveTo>
                  <a:lnTo>
                    <a:pt x="2895" y="16268"/>
                  </a:lnTo>
                  <a:lnTo>
                    <a:pt x="20942" y="24625"/>
                  </a:lnTo>
                  <a:lnTo>
                    <a:pt x="21247" y="25641"/>
                  </a:lnTo>
                  <a:lnTo>
                    <a:pt x="20281" y="27724"/>
                  </a:lnTo>
                  <a:lnTo>
                    <a:pt x="21234" y="28168"/>
                  </a:lnTo>
                  <a:lnTo>
                    <a:pt x="25082" y="19862"/>
                  </a:lnTo>
                  <a:lnTo>
                    <a:pt x="23152" y="19862"/>
                  </a:lnTo>
                  <a:lnTo>
                    <a:pt x="15386" y="16268"/>
                  </a:lnTo>
                  <a:close/>
                </a:path>
                <a:path w="31750" h="28575">
                  <a:moveTo>
                    <a:pt x="25095" y="17335"/>
                  </a:moveTo>
                  <a:lnTo>
                    <a:pt x="24129" y="19430"/>
                  </a:lnTo>
                  <a:lnTo>
                    <a:pt x="23152" y="19862"/>
                  </a:lnTo>
                  <a:lnTo>
                    <a:pt x="25082" y="19862"/>
                  </a:lnTo>
                  <a:lnTo>
                    <a:pt x="26047" y="17779"/>
                  </a:lnTo>
                  <a:lnTo>
                    <a:pt x="25095" y="17335"/>
                  </a:lnTo>
                  <a:close/>
                </a:path>
                <a:path w="31750" h="28575">
                  <a:moveTo>
                    <a:pt x="11302" y="0"/>
                  </a:moveTo>
                  <a:lnTo>
                    <a:pt x="7759" y="1562"/>
                  </a:lnTo>
                  <a:lnTo>
                    <a:pt x="0" y="18338"/>
                  </a:lnTo>
                  <a:lnTo>
                    <a:pt x="952" y="18783"/>
                  </a:lnTo>
                  <a:lnTo>
                    <a:pt x="1917" y="16700"/>
                  </a:lnTo>
                  <a:lnTo>
                    <a:pt x="2895" y="16268"/>
                  </a:lnTo>
                  <a:lnTo>
                    <a:pt x="15386" y="16268"/>
                  </a:lnTo>
                  <a:lnTo>
                    <a:pt x="5359" y="11633"/>
                  </a:lnTo>
                  <a:lnTo>
                    <a:pt x="4673" y="11201"/>
                  </a:lnTo>
                  <a:lnTo>
                    <a:pt x="6997" y="6184"/>
                  </a:lnTo>
                  <a:lnTo>
                    <a:pt x="8826" y="4978"/>
                  </a:lnTo>
                  <a:lnTo>
                    <a:pt x="17697" y="4978"/>
                  </a:lnTo>
                  <a:lnTo>
                    <a:pt x="17576" y="2895"/>
                  </a:lnTo>
                  <a:lnTo>
                    <a:pt x="11302" y="0"/>
                  </a:lnTo>
                  <a:close/>
                </a:path>
                <a:path w="31750" h="28575">
                  <a:moveTo>
                    <a:pt x="17697" y="4978"/>
                  </a:moveTo>
                  <a:lnTo>
                    <a:pt x="8826" y="4978"/>
                  </a:lnTo>
                  <a:lnTo>
                    <a:pt x="14833" y="7772"/>
                  </a:lnTo>
                  <a:lnTo>
                    <a:pt x="15722" y="9931"/>
                  </a:lnTo>
                  <a:lnTo>
                    <a:pt x="13258" y="15278"/>
                  </a:lnTo>
                  <a:lnTo>
                    <a:pt x="14668" y="15811"/>
                  </a:lnTo>
                  <a:lnTo>
                    <a:pt x="15227" y="14643"/>
                  </a:lnTo>
                  <a:lnTo>
                    <a:pt x="16141" y="13703"/>
                  </a:lnTo>
                  <a:lnTo>
                    <a:pt x="20573" y="13703"/>
                  </a:lnTo>
                  <a:lnTo>
                    <a:pt x="24993" y="13665"/>
                  </a:lnTo>
                  <a:lnTo>
                    <a:pt x="25996" y="13639"/>
                  </a:lnTo>
                  <a:lnTo>
                    <a:pt x="27351" y="13639"/>
                  </a:lnTo>
                  <a:lnTo>
                    <a:pt x="28003" y="13538"/>
                  </a:lnTo>
                  <a:lnTo>
                    <a:pt x="29909" y="9436"/>
                  </a:lnTo>
                  <a:lnTo>
                    <a:pt x="17017" y="9436"/>
                  </a:lnTo>
                  <a:lnTo>
                    <a:pt x="17779" y="6413"/>
                  </a:lnTo>
                  <a:lnTo>
                    <a:pt x="17697" y="4978"/>
                  </a:lnTo>
                  <a:close/>
                </a:path>
                <a:path w="31750" h="28575">
                  <a:moveTo>
                    <a:pt x="27351" y="13639"/>
                  </a:moveTo>
                  <a:lnTo>
                    <a:pt x="25996" y="13639"/>
                  </a:lnTo>
                  <a:lnTo>
                    <a:pt x="27025" y="13690"/>
                  </a:lnTo>
                  <a:lnTo>
                    <a:pt x="27351" y="13639"/>
                  </a:lnTo>
                  <a:close/>
                </a:path>
                <a:path w="31750" h="28575">
                  <a:moveTo>
                    <a:pt x="30365" y="5930"/>
                  </a:moveTo>
                  <a:lnTo>
                    <a:pt x="29044" y="8343"/>
                  </a:lnTo>
                  <a:lnTo>
                    <a:pt x="26784" y="8508"/>
                  </a:lnTo>
                  <a:lnTo>
                    <a:pt x="24307" y="8661"/>
                  </a:lnTo>
                  <a:lnTo>
                    <a:pt x="19265" y="8826"/>
                  </a:lnTo>
                  <a:lnTo>
                    <a:pt x="18033" y="8826"/>
                  </a:lnTo>
                  <a:lnTo>
                    <a:pt x="17017" y="9436"/>
                  </a:lnTo>
                  <a:lnTo>
                    <a:pt x="29909" y="9436"/>
                  </a:lnTo>
                  <a:lnTo>
                    <a:pt x="31330" y="6375"/>
                  </a:lnTo>
                  <a:lnTo>
                    <a:pt x="30365" y="593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" name="object 121">
              <a:extLst>
                <a:ext uri="{FF2B5EF4-FFF2-40B4-BE49-F238E27FC236}">
                  <a16:creationId xmlns:a16="http://schemas.microsoft.com/office/drawing/2014/main" id="{229D8B1F-496E-459A-B43B-22EBE4749EA1}"/>
                </a:ext>
              </a:extLst>
            </p:cNvPr>
            <p:cNvSpPr/>
            <p:nvPr/>
          </p:nvSpPr>
          <p:spPr>
            <a:xfrm>
              <a:off x="8168968" y="6337700"/>
              <a:ext cx="31750" cy="28575"/>
            </a:xfrm>
            <a:custGeom>
              <a:avLst/>
              <a:gdLst/>
              <a:ahLst/>
              <a:cxnLst/>
              <a:rect l="l" t="t" r="r" b="b"/>
              <a:pathLst>
                <a:path w="31750" h="28575">
                  <a:moveTo>
                    <a:pt x="14617" y="15913"/>
                  </a:moveTo>
                  <a:lnTo>
                    <a:pt x="21120" y="18922"/>
                  </a:lnTo>
                  <a:lnTo>
                    <a:pt x="23152" y="19862"/>
                  </a:lnTo>
                  <a:lnTo>
                    <a:pt x="24129" y="19430"/>
                  </a:lnTo>
                  <a:lnTo>
                    <a:pt x="25095" y="17335"/>
                  </a:lnTo>
                  <a:lnTo>
                    <a:pt x="26047" y="17779"/>
                  </a:lnTo>
                  <a:lnTo>
                    <a:pt x="21234" y="28168"/>
                  </a:lnTo>
                  <a:lnTo>
                    <a:pt x="20281" y="27724"/>
                  </a:lnTo>
                  <a:lnTo>
                    <a:pt x="21247" y="25641"/>
                  </a:lnTo>
                  <a:lnTo>
                    <a:pt x="20942" y="24625"/>
                  </a:lnTo>
                  <a:lnTo>
                    <a:pt x="18910" y="23672"/>
                  </a:lnTo>
                  <a:lnTo>
                    <a:pt x="4927" y="17208"/>
                  </a:lnTo>
                  <a:lnTo>
                    <a:pt x="2895" y="16268"/>
                  </a:lnTo>
                  <a:lnTo>
                    <a:pt x="1917" y="16700"/>
                  </a:lnTo>
                  <a:lnTo>
                    <a:pt x="952" y="18783"/>
                  </a:lnTo>
                  <a:lnTo>
                    <a:pt x="0" y="18338"/>
                  </a:lnTo>
                  <a:lnTo>
                    <a:pt x="5778" y="5867"/>
                  </a:lnTo>
                  <a:lnTo>
                    <a:pt x="7759" y="1562"/>
                  </a:lnTo>
                  <a:lnTo>
                    <a:pt x="11302" y="0"/>
                  </a:lnTo>
                  <a:lnTo>
                    <a:pt x="14376" y="1422"/>
                  </a:lnTo>
                  <a:lnTo>
                    <a:pt x="17576" y="2895"/>
                  </a:lnTo>
                  <a:lnTo>
                    <a:pt x="17779" y="6413"/>
                  </a:lnTo>
                  <a:lnTo>
                    <a:pt x="17017" y="9436"/>
                  </a:lnTo>
                  <a:lnTo>
                    <a:pt x="18033" y="8826"/>
                  </a:lnTo>
                  <a:lnTo>
                    <a:pt x="19265" y="8826"/>
                  </a:lnTo>
                  <a:lnTo>
                    <a:pt x="30365" y="5930"/>
                  </a:lnTo>
                  <a:lnTo>
                    <a:pt x="31330" y="6375"/>
                  </a:lnTo>
                  <a:lnTo>
                    <a:pt x="28003" y="13538"/>
                  </a:lnTo>
                  <a:lnTo>
                    <a:pt x="27025" y="13690"/>
                  </a:lnTo>
                  <a:lnTo>
                    <a:pt x="25996" y="13639"/>
                  </a:lnTo>
                  <a:lnTo>
                    <a:pt x="24993" y="13665"/>
                  </a:lnTo>
                  <a:lnTo>
                    <a:pt x="20573" y="13703"/>
                  </a:lnTo>
                  <a:lnTo>
                    <a:pt x="16141" y="13703"/>
                  </a:lnTo>
                  <a:lnTo>
                    <a:pt x="15227" y="14643"/>
                  </a:lnTo>
                  <a:lnTo>
                    <a:pt x="14668" y="15811"/>
                  </a:lnTo>
                  <a:lnTo>
                    <a:pt x="13258" y="15278"/>
                  </a:lnTo>
                  <a:lnTo>
                    <a:pt x="13512" y="14731"/>
                  </a:lnTo>
                  <a:lnTo>
                    <a:pt x="15722" y="9931"/>
                  </a:lnTo>
                  <a:lnTo>
                    <a:pt x="14833" y="7772"/>
                  </a:lnTo>
                  <a:lnTo>
                    <a:pt x="11747" y="6337"/>
                  </a:lnTo>
                  <a:lnTo>
                    <a:pt x="8826" y="4978"/>
                  </a:lnTo>
                  <a:lnTo>
                    <a:pt x="6997" y="6184"/>
                  </a:lnTo>
                  <a:lnTo>
                    <a:pt x="5562" y="9283"/>
                  </a:lnTo>
                  <a:lnTo>
                    <a:pt x="4673" y="11201"/>
                  </a:lnTo>
                  <a:lnTo>
                    <a:pt x="5359" y="11633"/>
                  </a:lnTo>
                  <a:lnTo>
                    <a:pt x="7010" y="12395"/>
                  </a:lnTo>
                  <a:lnTo>
                    <a:pt x="13258" y="15278"/>
                  </a:lnTo>
                  <a:lnTo>
                    <a:pt x="14617" y="15913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" name="object 122">
              <a:extLst>
                <a:ext uri="{FF2B5EF4-FFF2-40B4-BE49-F238E27FC236}">
                  <a16:creationId xmlns:a16="http://schemas.microsoft.com/office/drawing/2014/main" id="{D29EFC11-3160-49D1-987C-D579F4F80A9D}"/>
                </a:ext>
              </a:extLst>
            </p:cNvPr>
            <p:cNvSpPr/>
            <p:nvPr/>
          </p:nvSpPr>
          <p:spPr>
            <a:xfrm>
              <a:off x="8178479" y="6323578"/>
              <a:ext cx="26034" cy="18415"/>
            </a:xfrm>
            <a:custGeom>
              <a:avLst/>
              <a:gdLst/>
              <a:ahLst/>
              <a:cxnLst/>
              <a:rect l="l" t="t" r="r" b="b"/>
              <a:pathLst>
                <a:path w="26034" h="18415">
                  <a:moveTo>
                    <a:pt x="3467" y="0"/>
                  </a:moveTo>
                  <a:lnTo>
                    <a:pt x="0" y="10921"/>
                  </a:lnTo>
                  <a:lnTo>
                    <a:pt x="1003" y="11226"/>
                  </a:lnTo>
                  <a:lnTo>
                    <a:pt x="1701" y="9042"/>
                  </a:lnTo>
                  <a:lnTo>
                    <a:pt x="2616" y="8496"/>
                  </a:lnTo>
                  <a:lnTo>
                    <a:pt x="4749" y="9169"/>
                  </a:lnTo>
                  <a:lnTo>
                    <a:pt x="21564" y="14503"/>
                  </a:lnTo>
                  <a:lnTo>
                    <a:pt x="21996" y="15481"/>
                  </a:lnTo>
                  <a:lnTo>
                    <a:pt x="21310" y="17678"/>
                  </a:lnTo>
                  <a:lnTo>
                    <a:pt x="22313" y="17995"/>
                  </a:lnTo>
                  <a:lnTo>
                    <a:pt x="25768" y="7086"/>
                  </a:lnTo>
                  <a:lnTo>
                    <a:pt x="24765" y="6769"/>
                  </a:lnTo>
                  <a:lnTo>
                    <a:pt x="24066" y="8966"/>
                  </a:lnTo>
                  <a:lnTo>
                    <a:pt x="23164" y="9512"/>
                  </a:lnTo>
                  <a:lnTo>
                    <a:pt x="4203" y="3492"/>
                  </a:lnTo>
                  <a:lnTo>
                    <a:pt x="3771" y="2527"/>
                  </a:lnTo>
                  <a:lnTo>
                    <a:pt x="4470" y="317"/>
                  </a:lnTo>
                  <a:lnTo>
                    <a:pt x="3467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" name="object 123">
              <a:extLst>
                <a:ext uri="{FF2B5EF4-FFF2-40B4-BE49-F238E27FC236}">
                  <a16:creationId xmlns:a16="http://schemas.microsoft.com/office/drawing/2014/main" id="{7E5670F2-5FD3-4E2F-8006-F2B6D6E5FCFF}"/>
                </a:ext>
              </a:extLst>
            </p:cNvPr>
            <p:cNvSpPr/>
            <p:nvPr/>
          </p:nvSpPr>
          <p:spPr>
            <a:xfrm>
              <a:off x="8178479" y="6323578"/>
              <a:ext cx="26034" cy="18415"/>
            </a:xfrm>
            <a:custGeom>
              <a:avLst/>
              <a:gdLst/>
              <a:ahLst/>
              <a:cxnLst/>
              <a:rect l="l" t="t" r="r" b="b"/>
              <a:pathLst>
                <a:path w="26034" h="18415">
                  <a:moveTo>
                    <a:pt x="4749" y="9169"/>
                  </a:moveTo>
                  <a:lnTo>
                    <a:pt x="2616" y="8496"/>
                  </a:lnTo>
                  <a:lnTo>
                    <a:pt x="1701" y="9042"/>
                  </a:lnTo>
                  <a:lnTo>
                    <a:pt x="1003" y="11226"/>
                  </a:lnTo>
                  <a:lnTo>
                    <a:pt x="0" y="10921"/>
                  </a:lnTo>
                  <a:lnTo>
                    <a:pt x="3467" y="0"/>
                  </a:lnTo>
                  <a:lnTo>
                    <a:pt x="4470" y="317"/>
                  </a:lnTo>
                  <a:lnTo>
                    <a:pt x="3771" y="2527"/>
                  </a:lnTo>
                  <a:lnTo>
                    <a:pt x="4203" y="3492"/>
                  </a:lnTo>
                  <a:lnTo>
                    <a:pt x="6337" y="4165"/>
                  </a:lnTo>
                  <a:lnTo>
                    <a:pt x="21031" y="8839"/>
                  </a:lnTo>
                  <a:lnTo>
                    <a:pt x="23164" y="9512"/>
                  </a:lnTo>
                  <a:lnTo>
                    <a:pt x="24066" y="8966"/>
                  </a:lnTo>
                  <a:lnTo>
                    <a:pt x="24765" y="6769"/>
                  </a:lnTo>
                  <a:lnTo>
                    <a:pt x="25768" y="7086"/>
                  </a:lnTo>
                  <a:lnTo>
                    <a:pt x="22313" y="17995"/>
                  </a:lnTo>
                  <a:lnTo>
                    <a:pt x="21310" y="17678"/>
                  </a:lnTo>
                  <a:lnTo>
                    <a:pt x="21996" y="15481"/>
                  </a:lnTo>
                  <a:lnTo>
                    <a:pt x="21564" y="14503"/>
                  </a:lnTo>
                  <a:lnTo>
                    <a:pt x="19443" y="13830"/>
                  </a:lnTo>
                  <a:lnTo>
                    <a:pt x="4749" y="9169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" name="object 124">
              <a:extLst>
                <a:ext uri="{FF2B5EF4-FFF2-40B4-BE49-F238E27FC236}">
                  <a16:creationId xmlns:a16="http://schemas.microsoft.com/office/drawing/2014/main" id="{9F069041-19B3-4C38-8FE5-481DAB3FC1B9}"/>
                </a:ext>
              </a:extLst>
            </p:cNvPr>
            <p:cNvSpPr/>
            <p:nvPr/>
          </p:nvSpPr>
          <p:spPr>
            <a:xfrm>
              <a:off x="8182219" y="6305836"/>
              <a:ext cx="26670" cy="22860"/>
            </a:xfrm>
            <a:custGeom>
              <a:avLst/>
              <a:gdLst/>
              <a:ahLst/>
              <a:cxnLst/>
              <a:rect l="l" t="t" r="r" b="b"/>
              <a:pathLst>
                <a:path w="26670" h="22859">
                  <a:moveTo>
                    <a:pt x="10350" y="0"/>
                  </a:moveTo>
                  <a:lnTo>
                    <a:pt x="3035" y="431"/>
                  </a:lnTo>
                  <a:lnTo>
                    <a:pt x="3543" y="2438"/>
                  </a:lnTo>
                  <a:lnTo>
                    <a:pt x="3238" y="3873"/>
                  </a:lnTo>
                  <a:lnTo>
                    <a:pt x="2857" y="4483"/>
                  </a:lnTo>
                  <a:lnTo>
                    <a:pt x="1587" y="6794"/>
                  </a:lnTo>
                  <a:lnTo>
                    <a:pt x="0" y="14401"/>
                  </a:lnTo>
                  <a:lnTo>
                    <a:pt x="5410" y="20078"/>
                  </a:lnTo>
                  <a:lnTo>
                    <a:pt x="17932" y="22682"/>
                  </a:lnTo>
                  <a:lnTo>
                    <a:pt x="24053" y="19380"/>
                  </a:lnTo>
                  <a:lnTo>
                    <a:pt x="26289" y="8610"/>
                  </a:lnTo>
                  <a:lnTo>
                    <a:pt x="24396" y="5143"/>
                  </a:lnTo>
                  <a:lnTo>
                    <a:pt x="21056" y="2235"/>
                  </a:lnTo>
                  <a:lnTo>
                    <a:pt x="20294" y="2921"/>
                  </a:lnTo>
                  <a:lnTo>
                    <a:pt x="22263" y="5029"/>
                  </a:lnTo>
                  <a:lnTo>
                    <a:pt x="24015" y="7454"/>
                  </a:lnTo>
                  <a:lnTo>
                    <a:pt x="22644" y="14058"/>
                  </a:lnTo>
                  <a:lnTo>
                    <a:pt x="18719" y="17157"/>
                  </a:lnTo>
                  <a:lnTo>
                    <a:pt x="7493" y="14820"/>
                  </a:lnTo>
                  <a:lnTo>
                    <a:pt x="1663" y="12496"/>
                  </a:lnTo>
                  <a:lnTo>
                    <a:pt x="3403" y="4165"/>
                  </a:lnTo>
                  <a:lnTo>
                    <a:pt x="7200" y="2247"/>
                  </a:lnTo>
                  <a:lnTo>
                    <a:pt x="10490" y="1498"/>
                  </a:lnTo>
                  <a:lnTo>
                    <a:pt x="10350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" name="object 125">
              <a:extLst>
                <a:ext uri="{FF2B5EF4-FFF2-40B4-BE49-F238E27FC236}">
                  <a16:creationId xmlns:a16="http://schemas.microsoft.com/office/drawing/2014/main" id="{2BCEE932-65CA-4407-A324-B03CB097AED9}"/>
                </a:ext>
              </a:extLst>
            </p:cNvPr>
            <p:cNvSpPr/>
            <p:nvPr/>
          </p:nvSpPr>
          <p:spPr>
            <a:xfrm>
              <a:off x="8182219" y="6305836"/>
              <a:ext cx="26670" cy="22860"/>
            </a:xfrm>
            <a:custGeom>
              <a:avLst/>
              <a:gdLst/>
              <a:ahLst/>
              <a:cxnLst/>
              <a:rect l="l" t="t" r="r" b="b"/>
              <a:pathLst>
                <a:path w="26670" h="22859">
                  <a:moveTo>
                    <a:pt x="10350" y="0"/>
                  </a:moveTo>
                  <a:lnTo>
                    <a:pt x="10490" y="1498"/>
                  </a:lnTo>
                  <a:lnTo>
                    <a:pt x="7200" y="2247"/>
                  </a:lnTo>
                  <a:lnTo>
                    <a:pt x="3403" y="4165"/>
                  </a:lnTo>
                  <a:lnTo>
                    <a:pt x="2667" y="7734"/>
                  </a:lnTo>
                  <a:lnTo>
                    <a:pt x="1663" y="12496"/>
                  </a:lnTo>
                  <a:lnTo>
                    <a:pt x="7493" y="14820"/>
                  </a:lnTo>
                  <a:lnTo>
                    <a:pt x="11150" y="15582"/>
                  </a:lnTo>
                  <a:lnTo>
                    <a:pt x="18719" y="17157"/>
                  </a:lnTo>
                  <a:lnTo>
                    <a:pt x="22644" y="14058"/>
                  </a:lnTo>
                  <a:lnTo>
                    <a:pt x="23368" y="10553"/>
                  </a:lnTo>
                  <a:lnTo>
                    <a:pt x="24015" y="7454"/>
                  </a:lnTo>
                  <a:lnTo>
                    <a:pt x="22263" y="5029"/>
                  </a:lnTo>
                  <a:lnTo>
                    <a:pt x="20294" y="2921"/>
                  </a:lnTo>
                  <a:lnTo>
                    <a:pt x="21056" y="2235"/>
                  </a:lnTo>
                  <a:lnTo>
                    <a:pt x="24396" y="5143"/>
                  </a:lnTo>
                  <a:lnTo>
                    <a:pt x="26289" y="8610"/>
                  </a:lnTo>
                  <a:lnTo>
                    <a:pt x="25336" y="13157"/>
                  </a:lnTo>
                  <a:lnTo>
                    <a:pt x="24053" y="19380"/>
                  </a:lnTo>
                  <a:lnTo>
                    <a:pt x="17932" y="22682"/>
                  </a:lnTo>
                  <a:lnTo>
                    <a:pt x="11925" y="21424"/>
                  </a:lnTo>
                  <a:lnTo>
                    <a:pt x="5410" y="20078"/>
                  </a:lnTo>
                  <a:lnTo>
                    <a:pt x="0" y="14401"/>
                  </a:lnTo>
                  <a:lnTo>
                    <a:pt x="1346" y="7924"/>
                  </a:lnTo>
                  <a:lnTo>
                    <a:pt x="1587" y="6794"/>
                  </a:lnTo>
                  <a:lnTo>
                    <a:pt x="2019" y="5943"/>
                  </a:lnTo>
                  <a:lnTo>
                    <a:pt x="2438" y="5207"/>
                  </a:lnTo>
                  <a:lnTo>
                    <a:pt x="2857" y="4483"/>
                  </a:lnTo>
                  <a:lnTo>
                    <a:pt x="3238" y="3873"/>
                  </a:lnTo>
                  <a:lnTo>
                    <a:pt x="3365" y="3251"/>
                  </a:lnTo>
                  <a:lnTo>
                    <a:pt x="3543" y="2438"/>
                  </a:lnTo>
                  <a:lnTo>
                    <a:pt x="3314" y="1600"/>
                  </a:lnTo>
                  <a:lnTo>
                    <a:pt x="3124" y="812"/>
                  </a:lnTo>
                  <a:lnTo>
                    <a:pt x="3035" y="431"/>
                  </a:lnTo>
                  <a:lnTo>
                    <a:pt x="10350" y="0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" name="object 126">
              <a:extLst>
                <a:ext uri="{FF2B5EF4-FFF2-40B4-BE49-F238E27FC236}">
                  <a16:creationId xmlns:a16="http://schemas.microsoft.com/office/drawing/2014/main" id="{75A4FAD3-1FA7-482E-AF8E-402FA179F58B}"/>
                </a:ext>
              </a:extLst>
            </p:cNvPr>
            <p:cNvSpPr/>
            <p:nvPr/>
          </p:nvSpPr>
          <p:spPr>
            <a:xfrm>
              <a:off x="8185935" y="6284737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23825" y="0"/>
                  </a:moveTo>
                  <a:lnTo>
                    <a:pt x="23558" y="2870"/>
                  </a:lnTo>
                  <a:lnTo>
                    <a:pt x="21882" y="3073"/>
                  </a:lnTo>
                  <a:lnTo>
                    <a:pt x="0" y="8178"/>
                  </a:lnTo>
                  <a:lnTo>
                    <a:pt x="1181" y="12941"/>
                  </a:lnTo>
                  <a:lnTo>
                    <a:pt x="19862" y="21513"/>
                  </a:lnTo>
                  <a:lnTo>
                    <a:pt x="21412" y="22275"/>
                  </a:lnTo>
                  <a:lnTo>
                    <a:pt x="22034" y="25298"/>
                  </a:lnTo>
                  <a:lnTo>
                    <a:pt x="23075" y="25374"/>
                  </a:lnTo>
                  <a:lnTo>
                    <a:pt x="23488" y="19634"/>
                  </a:lnTo>
                  <a:lnTo>
                    <a:pt x="21691" y="19634"/>
                  </a:lnTo>
                  <a:lnTo>
                    <a:pt x="19177" y="19456"/>
                  </a:lnTo>
                  <a:lnTo>
                    <a:pt x="17437" y="18681"/>
                  </a:lnTo>
                  <a:lnTo>
                    <a:pt x="15481" y="17843"/>
                  </a:lnTo>
                  <a:lnTo>
                    <a:pt x="14020" y="17094"/>
                  </a:lnTo>
                  <a:lnTo>
                    <a:pt x="4064" y="12572"/>
                  </a:lnTo>
                  <a:lnTo>
                    <a:pt x="14528" y="10109"/>
                  </a:lnTo>
                  <a:lnTo>
                    <a:pt x="16024" y="10109"/>
                  </a:lnTo>
                  <a:lnTo>
                    <a:pt x="16052" y="9702"/>
                  </a:lnTo>
                  <a:lnTo>
                    <a:pt x="21170" y="8534"/>
                  </a:lnTo>
                  <a:lnTo>
                    <a:pt x="24275" y="8534"/>
                  </a:lnTo>
                  <a:lnTo>
                    <a:pt x="24879" y="76"/>
                  </a:lnTo>
                  <a:lnTo>
                    <a:pt x="23825" y="0"/>
                  </a:lnTo>
                  <a:close/>
                </a:path>
                <a:path w="25400" h="25400">
                  <a:moveTo>
                    <a:pt x="22631" y="16814"/>
                  </a:moveTo>
                  <a:lnTo>
                    <a:pt x="22440" y="18211"/>
                  </a:lnTo>
                  <a:lnTo>
                    <a:pt x="21691" y="19634"/>
                  </a:lnTo>
                  <a:lnTo>
                    <a:pt x="23488" y="19634"/>
                  </a:lnTo>
                  <a:lnTo>
                    <a:pt x="23685" y="16890"/>
                  </a:lnTo>
                  <a:lnTo>
                    <a:pt x="22631" y="16814"/>
                  </a:lnTo>
                  <a:close/>
                </a:path>
                <a:path w="25400" h="25400">
                  <a:moveTo>
                    <a:pt x="16024" y="10109"/>
                  </a:moveTo>
                  <a:lnTo>
                    <a:pt x="14528" y="10109"/>
                  </a:lnTo>
                  <a:lnTo>
                    <a:pt x="14020" y="17094"/>
                  </a:lnTo>
                  <a:lnTo>
                    <a:pt x="15481" y="17843"/>
                  </a:lnTo>
                  <a:lnTo>
                    <a:pt x="16024" y="10109"/>
                  </a:lnTo>
                  <a:close/>
                </a:path>
                <a:path w="25400" h="25400">
                  <a:moveTo>
                    <a:pt x="24275" y="8534"/>
                  </a:moveTo>
                  <a:lnTo>
                    <a:pt x="21170" y="8534"/>
                  </a:lnTo>
                  <a:lnTo>
                    <a:pt x="22733" y="8648"/>
                  </a:lnTo>
                  <a:lnTo>
                    <a:pt x="23114" y="9156"/>
                  </a:lnTo>
                  <a:lnTo>
                    <a:pt x="23037" y="11201"/>
                  </a:lnTo>
                  <a:lnTo>
                    <a:pt x="24079" y="11277"/>
                  </a:lnTo>
                  <a:lnTo>
                    <a:pt x="24275" y="8534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5" name="object 127">
              <a:extLst>
                <a:ext uri="{FF2B5EF4-FFF2-40B4-BE49-F238E27FC236}">
                  <a16:creationId xmlns:a16="http://schemas.microsoft.com/office/drawing/2014/main" id="{9F624BF8-EE87-4A8F-AEDC-ECA6FD936722}"/>
                </a:ext>
              </a:extLst>
            </p:cNvPr>
            <p:cNvSpPr/>
            <p:nvPr/>
          </p:nvSpPr>
          <p:spPr>
            <a:xfrm>
              <a:off x="8185935" y="6284737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14020" y="17094"/>
                  </a:moveTo>
                  <a:lnTo>
                    <a:pt x="4064" y="12572"/>
                  </a:lnTo>
                  <a:lnTo>
                    <a:pt x="14528" y="10109"/>
                  </a:lnTo>
                  <a:lnTo>
                    <a:pt x="14020" y="17094"/>
                  </a:lnTo>
                  <a:lnTo>
                    <a:pt x="15481" y="17843"/>
                  </a:lnTo>
                  <a:lnTo>
                    <a:pt x="16052" y="9702"/>
                  </a:lnTo>
                  <a:lnTo>
                    <a:pt x="19900" y="8826"/>
                  </a:lnTo>
                  <a:lnTo>
                    <a:pt x="20497" y="8674"/>
                  </a:lnTo>
                  <a:lnTo>
                    <a:pt x="21170" y="8534"/>
                  </a:lnTo>
                  <a:lnTo>
                    <a:pt x="21780" y="8572"/>
                  </a:lnTo>
                  <a:lnTo>
                    <a:pt x="22733" y="8648"/>
                  </a:lnTo>
                  <a:lnTo>
                    <a:pt x="23114" y="9156"/>
                  </a:lnTo>
                  <a:lnTo>
                    <a:pt x="23037" y="11201"/>
                  </a:lnTo>
                  <a:lnTo>
                    <a:pt x="24079" y="11277"/>
                  </a:lnTo>
                  <a:lnTo>
                    <a:pt x="24879" y="76"/>
                  </a:lnTo>
                  <a:lnTo>
                    <a:pt x="23825" y="0"/>
                  </a:lnTo>
                  <a:lnTo>
                    <a:pt x="23558" y="2870"/>
                  </a:lnTo>
                  <a:lnTo>
                    <a:pt x="21882" y="3073"/>
                  </a:lnTo>
                  <a:lnTo>
                    <a:pt x="19532" y="3606"/>
                  </a:lnTo>
                  <a:lnTo>
                    <a:pt x="0" y="8178"/>
                  </a:lnTo>
                  <a:lnTo>
                    <a:pt x="1181" y="12941"/>
                  </a:lnTo>
                  <a:lnTo>
                    <a:pt x="17310" y="20345"/>
                  </a:lnTo>
                  <a:lnTo>
                    <a:pt x="19862" y="21513"/>
                  </a:lnTo>
                  <a:lnTo>
                    <a:pt x="21412" y="22275"/>
                  </a:lnTo>
                  <a:lnTo>
                    <a:pt x="22034" y="25298"/>
                  </a:lnTo>
                  <a:lnTo>
                    <a:pt x="23075" y="25374"/>
                  </a:lnTo>
                  <a:lnTo>
                    <a:pt x="23685" y="16890"/>
                  </a:lnTo>
                  <a:lnTo>
                    <a:pt x="22631" y="16814"/>
                  </a:lnTo>
                  <a:lnTo>
                    <a:pt x="22440" y="18211"/>
                  </a:lnTo>
                  <a:lnTo>
                    <a:pt x="21691" y="19634"/>
                  </a:lnTo>
                  <a:lnTo>
                    <a:pt x="20066" y="19519"/>
                  </a:lnTo>
                  <a:lnTo>
                    <a:pt x="19177" y="19456"/>
                  </a:lnTo>
                  <a:lnTo>
                    <a:pt x="18249" y="19037"/>
                  </a:lnTo>
                  <a:lnTo>
                    <a:pt x="17437" y="18681"/>
                  </a:lnTo>
                  <a:lnTo>
                    <a:pt x="15481" y="17843"/>
                  </a:lnTo>
                  <a:lnTo>
                    <a:pt x="14020" y="17094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6" name="object 128">
              <a:extLst>
                <a:ext uri="{FF2B5EF4-FFF2-40B4-BE49-F238E27FC236}">
                  <a16:creationId xmlns:a16="http://schemas.microsoft.com/office/drawing/2014/main" id="{F060A467-4757-4A0A-93A3-67C2C1133F7F}"/>
                </a:ext>
              </a:extLst>
            </p:cNvPr>
            <p:cNvSpPr/>
            <p:nvPr/>
          </p:nvSpPr>
          <p:spPr>
            <a:xfrm>
              <a:off x="7876786" y="6239954"/>
              <a:ext cx="26034" cy="27305"/>
            </a:xfrm>
            <a:custGeom>
              <a:avLst/>
              <a:gdLst/>
              <a:ahLst/>
              <a:cxnLst/>
              <a:rect l="l" t="t" r="r" b="b"/>
              <a:pathLst>
                <a:path w="26034" h="27304">
                  <a:moveTo>
                    <a:pt x="24515" y="19176"/>
                  </a:moveTo>
                  <a:lnTo>
                    <a:pt x="2374" y="19176"/>
                  </a:lnTo>
                  <a:lnTo>
                    <a:pt x="21818" y="23367"/>
                  </a:lnTo>
                  <a:lnTo>
                    <a:pt x="22339" y="24295"/>
                  </a:lnTo>
                  <a:lnTo>
                    <a:pt x="21856" y="26542"/>
                  </a:lnTo>
                  <a:lnTo>
                    <a:pt x="22885" y="26771"/>
                  </a:lnTo>
                  <a:lnTo>
                    <a:pt x="24515" y="19176"/>
                  </a:lnTo>
                  <a:close/>
                </a:path>
                <a:path w="26034" h="27304">
                  <a:moveTo>
                    <a:pt x="11150" y="0"/>
                  </a:moveTo>
                  <a:lnTo>
                    <a:pt x="6794" y="2133"/>
                  </a:lnTo>
                  <a:lnTo>
                    <a:pt x="3352" y="7315"/>
                  </a:lnTo>
                  <a:lnTo>
                    <a:pt x="2768" y="9016"/>
                  </a:lnTo>
                  <a:lnTo>
                    <a:pt x="0" y="21831"/>
                  </a:lnTo>
                  <a:lnTo>
                    <a:pt x="1028" y="22059"/>
                  </a:lnTo>
                  <a:lnTo>
                    <a:pt x="1523" y="19811"/>
                  </a:lnTo>
                  <a:lnTo>
                    <a:pt x="2374" y="19176"/>
                  </a:lnTo>
                  <a:lnTo>
                    <a:pt x="24515" y="19176"/>
                  </a:lnTo>
                  <a:lnTo>
                    <a:pt x="24695" y="18338"/>
                  </a:lnTo>
                  <a:lnTo>
                    <a:pt x="23418" y="18338"/>
                  </a:lnTo>
                  <a:lnTo>
                    <a:pt x="2984" y="13944"/>
                  </a:lnTo>
                  <a:lnTo>
                    <a:pt x="4406" y="7277"/>
                  </a:lnTo>
                  <a:lnTo>
                    <a:pt x="7010" y="4800"/>
                  </a:lnTo>
                  <a:lnTo>
                    <a:pt x="23836" y="4800"/>
                  </a:lnTo>
                  <a:lnTo>
                    <a:pt x="21780" y="2298"/>
                  </a:lnTo>
                  <a:lnTo>
                    <a:pt x="11150" y="0"/>
                  </a:lnTo>
                  <a:close/>
                </a:path>
                <a:path w="26034" h="27304">
                  <a:moveTo>
                    <a:pt x="24015" y="15595"/>
                  </a:moveTo>
                  <a:lnTo>
                    <a:pt x="23418" y="18338"/>
                  </a:lnTo>
                  <a:lnTo>
                    <a:pt x="24695" y="18338"/>
                  </a:lnTo>
                  <a:lnTo>
                    <a:pt x="25222" y="15887"/>
                  </a:lnTo>
                  <a:lnTo>
                    <a:pt x="24015" y="15595"/>
                  </a:lnTo>
                  <a:close/>
                </a:path>
                <a:path w="26034" h="27304">
                  <a:moveTo>
                    <a:pt x="23836" y="4800"/>
                  </a:moveTo>
                  <a:lnTo>
                    <a:pt x="7010" y="4800"/>
                  </a:lnTo>
                  <a:lnTo>
                    <a:pt x="23291" y="8305"/>
                  </a:lnTo>
                  <a:lnTo>
                    <a:pt x="24853" y="11683"/>
                  </a:lnTo>
                  <a:lnTo>
                    <a:pt x="24015" y="15595"/>
                  </a:lnTo>
                  <a:lnTo>
                    <a:pt x="25222" y="15887"/>
                  </a:lnTo>
                  <a:lnTo>
                    <a:pt x="25653" y="13893"/>
                  </a:lnTo>
                  <a:lnTo>
                    <a:pt x="25895" y="12039"/>
                  </a:lnTo>
                  <a:lnTo>
                    <a:pt x="24942" y="6146"/>
                  </a:lnTo>
                  <a:lnTo>
                    <a:pt x="23836" y="480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7" name="object 129">
              <a:extLst>
                <a:ext uri="{FF2B5EF4-FFF2-40B4-BE49-F238E27FC236}">
                  <a16:creationId xmlns:a16="http://schemas.microsoft.com/office/drawing/2014/main" id="{77549864-02CE-42A2-9C52-FA718887AD6E}"/>
                </a:ext>
              </a:extLst>
            </p:cNvPr>
            <p:cNvSpPr/>
            <p:nvPr/>
          </p:nvSpPr>
          <p:spPr>
            <a:xfrm>
              <a:off x="7876786" y="6239954"/>
              <a:ext cx="26034" cy="27305"/>
            </a:xfrm>
            <a:custGeom>
              <a:avLst/>
              <a:gdLst/>
              <a:ahLst/>
              <a:cxnLst/>
              <a:rect l="l" t="t" r="r" b="b"/>
              <a:pathLst>
                <a:path w="26034" h="27304">
                  <a:moveTo>
                    <a:pt x="24015" y="15595"/>
                  </a:moveTo>
                  <a:lnTo>
                    <a:pt x="23418" y="18338"/>
                  </a:lnTo>
                  <a:lnTo>
                    <a:pt x="22732" y="18199"/>
                  </a:lnTo>
                  <a:lnTo>
                    <a:pt x="20383" y="17691"/>
                  </a:lnTo>
                  <a:lnTo>
                    <a:pt x="5880" y="14566"/>
                  </a:lnTo>
                  <a:lnTo>
                    <a:pt x="3911" y="14147"/>
                  </a:lnTo>
                  <a:lnTo>
                    <a:pt x="2984" y="13944"/>
                  </a:lnTo>
                  <a:lnTo>
                    <a:pt x="3492" y="11531"/>
                  </a:lnTo>
                  <a:lnTo>
                    <a:pt x="4406" y="7277"/>
                  </a:lnTo>
                  <a:lnTo>
                    <a:pt x="7010" y="4800"/>
                  </a:lnTo>
                  <a:lnTo>
                    <a:pt x="14693" y="6464"/>
                  </a:lnTo>
                  <a:lnTo>
                    <a:pt x="23291" y="8305"/>
                  </a:lnTo>
                  <a:lnTo>
                    <a:pt x="24853" y="11683"/>
                  </a:lnTo>
                  <a:lnTo>
                    <a:pt x="24015" y="15595"/>
                  </a:lnTo>
                  <a:lnTo>
                    <a:pt x="25222" y="15887"/>
                  </a:lnTo>
                  <a:lnTo>
                    <a:pt x="25653" y="13893"/>
                  </a:lnTo>
                  <a:lnTo>
                    <a:pt x="25895" y="12039"/>
                  </a:lnTo>
                  <a:lnTo>
                    <a:pt x="25590" y="10236"/>
                  </a:lnTo>
                  <a:lnTo>
                    <a:pt x="24942" y="6146"/>
                  </a:lnTo>
                  <a:lnTo>
                    <a:pt x="21780" y="2298"/>
                  </a:lnTo>
                  <a:lnTo>
                    <a:pt x="16675" y="1193"/>
                  </a:lnTo>
                  <a:lnTo>
                    <a:pt x="11150" y="0"/>
                  </a:lnTo>
                  <a:lnTo>
                    <a:pt x="6794" y="2133"/>
                  </a:lnTo>
                  <a:lnTo>
                    <a:pt x="4330" y="5829"/>
                  </a:lnTo>
                  <a:lnTo>
                    <a:pt x="3352" y="7315"/>
                  </a:lnTo>
                  <a:lnTo>
                    <a:pt x="2768" y="9016"/>
                  </a:lnTo>
                  <a:lnTo>
                    <a:pt x="2349" y="10960"/>
                  </a:lnTo>
                  <a:lnTo>
                    <a:pt x="0" y="21831"/>
                  </a:lnTo>
                  <a:lnTo>
                    <a:pt x="1028" y="22059"/>
                  </a:lnTo>
                  <a:lnTo>
                    <a:pt x="1523" y="19811"/>
                  </a:lnTo>
                  <a:lnTo>
                    <a:pt x="2374" y="19176"/>
                  </a:lnTo>
                  <a:lnTo>
                    <a:pt x="4559" y="19646"/>
                  </a:lnTo>
                  <a:lnTo>
                    <a:pt x="19634" y="22898"/>
                  </a:lnTo>
                  <a:lnTo>
                    <a:pt x="21818" y="23367"/>
                  </a:lnTo>
                  <a:lnTo>
                    <a:pt x="22339" y="24295"/>
                  </a:lnTo>
                  <a:lnTo>
                    <a:pt x="21856" y="26542"/>
                  </a:lnTo>
                  <a:lnTo>
                    <a:pt x="22885" y="26771"/>
                  </a:lnTo>
                  <a:lnTo>
                    <a:pt x="25222" y="15887"/>
                  </a:lnTo>
                  <a:lnTo>
                    <a:pt x="24015" y="15595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8" name="object 130">
              <a:extLst>
                <a:ext uri="{FF2B5EF4-FFF2-40B4-BE49-F238E27FC236}">
                  <a16:creationId xmlns:a16="http://schemas.microsoft.com/office/drawing/2014/main" id="{B5D17574-8BB7-4DD4-8751-92A2F85952BD}"/>
                </a:ext>
              </a:extLst>
            </p:cNvPr>
            <p:cNvSpPr/>
            <p:nvPr/>
          </p:nvSpPr>
          <p:spPr>
            <a:xfrm>
              <a:off x="7882384" y="6218767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6743" y="0"/>
                  </a:moveTo>
                  <a:lnTo>
                    <a:pt x="0" y="18072"/>
                  </a:lnTo>
                  <a:lnTo>
                    <a:pt x="990" y="18440"/>
                  </a:lnTo>
                  <a:lnTo>
                    <a:pt x="1790" y="16281"/>
                  </a:lnTo>
                  <a:lnTo>
                    <a:pt x="2743" y="15773"/>
                  </a:lnTo>
                  <a:lnTo>
                    <a:pt x="21361" y="22733"/>
                  </a:lnTo>
                  <a:lnTo>
                    <a:pt x="21742" y="23723"/>
                  </a:lnTo>
                  <a:lnTo>
                    <a:pt x="20942" y="25882"/>
                  </a:lnTo>
                  <a:lnTo>
                    <a:pt x="21932" y="26250"/>
                  </a:lnTo>
                  <a:lnTo>
                    <a:pt x="28676" y="8178"/>
                  </a:lnTo>
                  <a:lnTo>
                    <a:pt x="23939" y="3860"/>
                  </a:lnTo>
                  <a:lnTo>
                    <a:pt x="23215" y="4521"/>
                  </a:lnTo>
                  <a:lnTo>
                    <a:pt x="25069" y="7874"/>
                  </a:lnTo>
                  <a:lnTo>
                    <a:pt x="25933" y="11976"/>
                  </a:lnTo>
                  <a:lnTo>
                    <a:pt x="23749" y="17818"/>
                  </a:lnTo>
                  <a:lnTo>
                    <a:pt x="22517" y="17564"/>
                  </a:lnTo>
                  <a:lnTo>
                    <a:pt x="14452" y="14554"/>
                  </a:lnTo>
                  <a:lnTo>
                    <a:pt x="15798" y="10960"/>
                  </a:lnTo>
                  <a:lnTo>
                    <a:pt x="17056" y="9690"/>
                  </a:lnTo>
                  <a:lnTo>
                    <a:pt x="20383" y="10007"/>
                  </a:lnTo>
                  <a:lnTo>
                    <a:pt x="20815" y="8839"/>
                  </a:lnTo>
                  <a:lnTo>
                    <a:pt x="12166" y="5613"/>
                  </a:lnTo>
                  <a:lnTo>
                    <a:pt x="11722" y="6781"/>
                  </a:lnTo>
                  <a:lnTo>
                    <a:pt x="14376" y="8928"/>
                  </a:lnTo>
                  <a:lnTo>
                    <a:pt x="14389" y="10439"/>
                  </a:lnTo>
                  <a:lnTo>
                    <a:pt x="13042" y="14033"/>
                  </a:lnTo>
                  <a:lnTo>
                    <a:pt x="4089" y="10693"/>
                  </a:lnTo>
                  <a:lnTo>
                    <a:pt x="6362" y="4610"/>
                  </a:lnTo>
                  <a:lnTo>
                    <a:pt x="9740" y="2311"/>
                  </a:lnTo>
                  <a:lnTo>
                    <a:pt x="13093" y="1282"/>
                  </a:lnTo>
                  <a:lnTo>
                    <a:pt x="13055" y="203"/>
                  </a:lnTo>
                  <a:lnTo>
                    <a:pt x="6743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9" name="object 131">
              <a:extLst>
                <a:ext uri="{FF2B5EF4-FFF2-40B4-BE49-F238E27FC236}">
                  <a16:creationId xmlns:a16="http://schemas.microsoft.com/office/drawing/2014/main" id="{6F293629-7147-410C-B629-0710152480C2}"/>
                </a:ext>
              </a:extLst>
            </p:cNvPr>
            <p:cNvSpPr/>
            <p:nvPr/>
          </p:nvSpPr>
          <p:spPr>
            <a:xfrm>
              <a:off x="7882384" y="6218767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20942" y="25882"/>
                  </a:moveTo>
                  <a:lnTo>
                    <a:pt x="21742" y="23723"/>
                  </a:lnTo>
                  <a:lnTo>
                    <a:pt x="21361" y="22733"/>
                  </a:lnTo>
                  <a:lnTo>
                    <a:pt x="19265" y="21945"/>
                  </a:lnTo>
                  <a:lnTo>
                    <a:pt x="4826" y="16560"/>
                  </a:lnTo>
                  <a:lnTo>
                    <a:pt x="2743" y="15773"/>
                  </a:lnTo>
                  <a:lnTo>
                    <a:pt x="1790" y="16281"/>
                  </a:lnTo>
                  <a:lnTo>
                    <a:pt x="990" y="18440"/>
                  </a:lnTo>
                  <a:lnTo>
                    <a:pt x="0" y="18072"/>
                  </a:lnTo>
                  <a:lnTo>
                    <a:pt x="6743" y="0"/>
                  </a:lnTo>
                  <a:lnTo>
                    <a:pt x="13055" y="203"/>
                  </a:lnTo>
                  <a:lnTo>
                    <a:pt x="13093" y="1282"/>
                  </a:lnTo>
                  <a:lnTo>
                    <a:pt x="9740" y="2311"/>
                  </a:lnTo>
                  <a:lnTo>
                    <a:pt x="6362" y="4610"/>
                  </a:lnTo>
                  <a:lnTo>
                    <a:pt x="5080" y="8026"/>
                  </a:lnTo>
                  <a:lnTo>
                    <a:pt x="4089" y="10693"/>
                  </a:lnTo>
                  <a:lnTo>
                    <a:pt x="4991" y="11023"/>
                  </a:lnTo>
                  <a:lnTo>
                    <a:pt x="7200" y="11849"/>
                  </a:lnTo>
                  <a:lnTo>
                    <a:pt x="13042" y="14033"/>
                  </a:lnTo>
                  <a:lnTo>
                    <a:pt x="13271" y="13436"/>
                  </a:lnTo>
                  <a:lnTo>
                    <a:pt x="14389" y="10439"/>
                  </a:lnTo>
                  <a:lnTo>
                    <a:pt x="14376" y="8928"/>
                  </a:lnTo>
                  <a:lnTo>
                    <a:pt x="11722" y="6781"/>
                  </a:lnTo>
                  <a:lnTo>
                    <a:pt x="12166" y="5613"/>
                  </a:lnTo>
                  <a:lnTo>
                    <a:pt x="20815" y="8839"/>
                  </a:lnTo>
                  <a:lnTo>
                    <a:pt x="20383" y="10007"/>
                  </a:lnTo>
                  <a:lnTo>
                    <a:pt x="17056" y="9690"/>
                  </a:lnTo>
                  <a:lnTo>
                    <a:pt x="15798" y="10960"/>
                  </a:lnTo>
                  <a:lnTo>
                    <a:pt x="14706" y="13893"/>
                  </a:lnTo>
                  <a:lnTo>
                    <a:pt x="14452" y="14554"/>
                  </a:lnTo>
                  <a:lnTo>
                    <a:pt x="20777" y="16916"/>
                  </a:lnTo>
                  <a:lnTo>
                    <a:pt x="22517" y="17564"/>
                  </a:lnTo>
                  <a:lnTo>
                    <a:pt x="23749" y="17818"/>
                  </a:lnTo>
                  <a:lnTo>
                    <a:pt x="24536" y="15697"/>
                  </a:lnTo>
                  <a:lnTo>
                    <a:pt x="25933" y="11976"/>
                  </a:lnTo>
                  <a:lnTo>
                    <a:pt x="25069" y="7874"/>
                  </a:lnTo>
                  <a:lnTo>
                    <a:pt x="23215" y="4521"/>
                  </a:lnTo>
                  <a:lnTo>
                    <a:pt x="23939" y="3860"/>
                  </a:lnTo>
                  <a:lnTo>
                    <a:pt x="28676" y="8178"/>
                  </a:lnTo>
                  <a:lnTo>
                    <a:pt x="21932" y="26250"/>
                  </a:lnTo>
                  <a:lnTo>
                    <a:pt x="20942" y="25882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0" name="object 132">
              <a:extLst>
                <a:ext uri="{FF2B5EF4-FFF2-40B4-BE49-F238E27FC236}">
                  <a16:creationId xmlns:a16="http://schemas.microsoft.com/office/drawing/2014/main" id="{4223CE3B-FF46-4ED0-A725-74142408C98B}"/>
                </a:ext>
              </a:extLst>
            </p:cNvPr>
            <p:cNvSpPr/>
            <p:nvPr/>
          </p:nvSpPr>
          <p:spPr>
            <a:xfrm>
              <a:off x="7891818" y="6195457"/>
              <a:ext cx="26034" cy="29209"/>
            </a:xfrm>
            <a:custGeom>
              <a:avLst/>
              <a:gdLst/>
              <a:ahLst/>
              <a:cxnLst/>
              <a:rect l="l" t="t" r="r" b="b"/>
              <a:pathLst>
                <a:path w="26034" h="29209">
                  <a:moveTo>
                    <a:pt x="13730" y="15316"/>
                  </a:moveTo>
                  <a:lnTo>
                    <a:pt x="3060" y="15316"/>
                  </a:lnTo>
                  <a:lnTo>
                    <a:pt x="20383" y="25095"/>
                  </a:lnTo>
                  <a:lnTo>
                    <a:pt x="20599" y="26136"/>
                  </a:lnTo>
                  <a:lnTo>
                    <a:pt x="19469" y="28143"/>
                  </a:lnTo>
                  <a:lnTo>
                    <a:pt x="20383" y="28651"/>
                  </a:lnTo>
                  <a:lnTo>
                    <a:pt x="24976" y="20523"/>
                  </a:lnTo>
                  <a:lnTo>
                    <a:pt x="22961" y="20523"/>
                  </a:lnTo>
                  <a:lnTo>
                    <a:pt x="13730" y="15316"/>
                  </a:lnTo>
                  <a:close/>
                </a:path>
                <a:path w="26034" h="29209">
                  <a:moveTo>
                    <a:pt x="25095" y="18173"/>
                  </a:moveTo>
                  <a:lnTo>
                    <a:pt x="23964" y="20180"/>
                  </a:lnTo>
                  <a:lnTo>
                    <a:pt x="22961" y="20523"/>
                  </a:lnTo>
                  <a:lnTo>
                    <a:pt x="24976" y="20523"/>
                  </a:lnTo>
                  <a:lnTo>
                    <a:pt x="26009" y="18694"/>
                  </a:lnTo>
                  <a:lnTo>
                    <a:pt x="25095" y="18173"/>
                  </a:lnTo>
                  <a:close/>
                </a:path>
                <a:path w="26034" h="29209">
                  <a:moveTo>
                    <a:pt x="13144" y="0"/>
                  </a:moveTo>
                  <a:lnTo>
                    <a:pt x="9194" y="888"/>
                  </a:lnTo>
                  <a:lnTo>
                    <a:pt x="0" y="17144"/>
                  </a:lnTo>
                  <a:lnTo>
                    <a:pt x="927" y="17665"/>
                  </a:lnTo>
                  <a:lnTo>
                    <a:pt x="2057" y="15659"/>
                  </a:lnTo>
                  <a:lnTo>
                    <a:pt x="3060" y="15316"/>
                  </a:lnTo>
                  <a:lnTo>
                    <a:pt x="13730" y="15316"/>
                  </a:lnTo>
                  <a:lnTo>
                    <a:pt x="5194" y="10502"/>
                  </a:lnTo>
                  <a:lnTo>
                    <a:pt x="7950" y="5626"/>
                  </a:lnTo>
                  <a:lnTo>
                    <a:pt x="10185" y="4724"/>
                  </a:lnTo>
                  <a:lnTo>
                    <a:pt x="20902" y="4724"/>
                  </a:lnTo>
                  <a:lnTo>
                    <a:pt x="21018" y="4457"/>
                  </a:lnTo>
                  <a:lnTo>
                    <a:pt x="13144" y="0"/>
                  </a:lnTo>
                  <a:close/>
                </a:path>
                <a:path w="26034" h="29209">
                  <a:moveTo>
                    <a:pt x="15131" y="16106"/>
                  </a:moveTo>
                  <a:close/>
                </a:path>
                <a:path w="26034" h="29209">
                  <a:moveTo>
                    <a:pt x="20902" y="4724"/>
                  </a:moveTo>
                  <a:lnTo>
                    <a:pt x="10185" y="4724"/>
                  </a:lnTo>
                  <a:lnTo>
                    <a:pt x="16497" y="8293"/>
                  </a:lnTo>
                  <a:lnTo>
                    <a:pt x="16840" y="10540"/>
                  </a:lnTo>
                  <a:lnTo>
                    <a:pt x="14046" y="15493"/>
                  </a:lnTo>
                  <a:lnTo>
                    <a:pt x="15131" y="16106"/>
                  </a:lnTo>
                  <a:lnTo>
                    <a:pt x="18732" y="9728"/>
                  </a:lnTo>
                  <a:lnTo>
                    <a:pt x="20902" y="4724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1" name="object 133">
              <a:extLst>
                <a:ext uri="{FF2B5EF4-FFF2-40B4-BE49-F238E27FC236}">
                  <a16:creationId xmlns:a16="http://schemas.microsoft.com/office/drawing/2014/main" id="{3729DEA3-3C06-47B2-BEE3-0CAA539B28F9}"/>
                </a:ext>
              </a:extLst>
            </p:cNvPr>
            <p:cNvSpPr/>
            <p:nvPr/>
          </p:nvSpPr>
          <p:spPr>
            <a:xfrm>
              <a:off x="7891818" y="6195457"/>
              <a:ext cx="26034" cy="29209"/>
            </a:xfrm>
            <a:custGeom>
              <a:avLst/>
              <a:gdLst/>
              <a:ahLst/>
              <a:cxnLst/>
              <a:rect l="l" t="t" r="r" b="b"/>
              <a:pathLst>
                <a:path w="26034" h="29209">
                  <a:moveTo>
                    <a:pt x="14046" y="15493"/>
                  </a:moveTo>
                  <a:lnTo>
                    <a:pt x="7950" y="12052"/>
                  </a:lnTo>
                  <a:lnTo>
                    <a:pt x="6032" y="10972"/>
                  </a:lnTo>
                  <a:lnTo>
                    <a:pt x="5194" y="10502"/>
                  </a:lnTo>
                  <a:lnTo>
                    <a:pt x="6464" y="8242"/>
                  </a:lnTo>
                  <a:lnTo>
                    <a:pt x="7950" y="5626"/>
                  </a:lnTo>
                  <a:lnTo>
                    <a:pt x="10185" y="4724"/>
                  </a:lnTo>
                  <a:lnTo>
                    <a:pt x="13220" y="6438"/>
                  </a:lnTo>
                  <a:lnTo>
                    <a:pt x="16497" y="8293"/>
                  </a:lnTo>
                  <a:lnTo>
                    <a:pt x="16840" y="10540"/>
                  </a:lnTo>
                  <a:lnTo>
                    <a:pt x="14973" y="13855"/>
                  </a:lnTo>
                  <a:lnTo>
                    <a:pt x="14046" y="15493"/>
                  </a:lnTo>
                  <a:lnTo>
                    <a:pt x="15125" y="16116"/>
                  </a:lnTo>
                  <a:lnTo>
                    <a:pt x="16484" y="13715"/>
                  </a:lnTo>
                  <a:lnTo>
                    <a:pt x="18732" y="9728"/>
                  </a:lnTo>
                  <a:lnTo>
                    <a:pt x="21018" y="4457"/>
                  </a:lnTo>
                  <a:lnTo>
                    <a:pt x="15900" y="1562"/>
                  </a:lnTo>
                  <a:lnTo>
                    <a:pt x="13144" y="0"/>
                  </a:lnTo>
                  <a:lnTo>
                    <a:pt x="9194" y="888"/>
                  </a:lnTo>
                  <a:lnTo>
                    <a:pt x="5664" y="7124"/>
                  </a:lnTo>
                  <a:lnTo>
                    <a:pt x="0" y="17144"/>
                  </a:lnTo>
                  <a:lnTo>
                    <a:pt x="927" y="17665"/>
                  </a:lnTo>
                  <a:lnTo>
                    <a:pt x="2057" y="15659"/>
                  </a:lnTo>
                  <a:lnTo>
                    <a:pt x="3060" y="15316"/>
                  </a:lnTo>
                  <a:lnTo>
                    <a:pt x="5003" y="16408"/>
                  </a:lnTo>
                  <a:lnTo>
                    <a:pt x="18427" y="23990"/>
                  </a:lnTo>
                  <a:lnTo>
                    <a:pt x="20383" y="25095"/>
                  </a:lnTo>
                  <a:lnTo>
                    <a:pt x="20599" y="26136"/>
                  </a:lnTo>
                  <a:lnTo>
                    <a:pt x="19469" y="28143"/>
                  </a:lnTo>
                  <a:lnTo>
                    <a:pt x="20383" y="28651"/>
                  </a:lnTo>
                  <a:lnTo>
                    <a:pt x="26009" y="18694"/>
                  </a:lnTo>
                  <a:lnTo>
                    <a:pt x="25095" y="18173"/>
                  </a:lnTo>
                  <a:lnTo>
                    <a:pt x="23964" y="20180"/>
                  </a:lnTo>
                  <a:lnTo>
                    <a:pt x="22961" y="20523"/>
                  </a:lnTo>
                  <a:lnTo>
                    <a:pt x="21005" y="19430"/>
                  </a:lnTo>
                  <a:lnTo>
                    <a:pt x="15125" y="16116"/>
                  </a:lnTo>
                  <a:lnTo>
                    <a:pt x="14046" y="15493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2" name="object 134">
              <a:extLst>
                <a:ext uri="{FF2B5EF4-FFF2-40B4-BE49-F238E27FC236}">
                  <a16:creationId xmlns:a16="http://schemas.microsoft.com/office/drawing/2014/main" id="{6460D76E-22A1-42B1-BBEE-E6437C6ED669}"/>
                </a:ext>
              </a:extLst>
            </p:cNvPr>
            <p:cNvSpPr/>
            <p:nvPr/>
          </p:nvSpPr>
          <p:spPr>
            <a:xfrm>
              <a:off x="7907610" y="6183416"/>
              <a:ext cx="27305" cy="27305"/>
            </a:xfrm>
            <a:custGeom>
              <a:avLst/>
              <a:gdLst/>
              <a:ahLst/>
              <a:cxnLst/>
              <a:rect l="l" t="t" r="r" b="b"/>
              <a:pathLst>
                <a:path w="27304" h="27304">
                  <a:moveTo>
                    <a:pt x="1562" y="0"/>
                  </a:moveTo>
                  <a:lnTo>
                    <a:pt x="0" y="4648"/>
                  </a:lnTo>
                  <a:lnTo>
                    <a:pt x="11201" y="21882"/>
                  </a:lnTo>
                  <a:lnTo>
                    <a:pt x="12103" y="23342"/>
                  </a:lnTo>
                  <a:lnTo>
                    <a:pt x="11010" y="26238"/>
                  </a:lnTo>
                  <a:lnTo>
                    <a:pt x="11861" y="26860"/>
                  </a:lnTo>
                  <a:lnTo>
                    <a:pt x="15988" y="21272"/>
                  </a:lnTo>
                  <a:lnTo>
                    <a:pt x="13766" y="21272"/>
                  </a:lnTo>
                  <a:lnTo>
                    <a:pt x="11722" y="19773"/>
                  </a:lnTo>
                  <a:lnTo>
                    <a:pt x="10667" y="18186"/>
                  </a:lnTo>
                  <a:lnTo>
                    <a:pt x="9461" y="16433"/>
                  </a:lnTo>
                  <a:lnTo>
                    <a:pt x="8527" y="14859"/>
                  </a:lnTo>
                  <a:lnTo>
                    <a:pt x="2628" y="5867"/>
                  </a:lnTo>
                  <a:lnTo>
                    <a:pt x="18462" y="5867"/>
                  </a:lnTo>
                  <a:lnTo>
                    <a:pt x="1562" y="0"/>
                  </a:lnTo>
                  <a:close/>
                </a:path>
                <a:path w="27304" h="27304">
                  <a:moveTo>
                    <a:pt x="16065" y="19380"/>
                  </a:moveTo>
                  <a:lnTo>
                    <a:pt x="15151" y="20459"/>
                  </a:lnTo>
                  <a:lnTo>
                    <a:pt x="13766" y="21272"/>
                  </a:lnTo>
                  <a:lnTo>
                    <a:pt x="15988" y="21272"/>
                  </a:lnTo>
                  <a:lnTo>
                    <a:pt x="16916" y="20015"/>
                  </a:lnTo>
                  <a:lnTo>
                    <a:pt x="16065" y="19380"/>
                  </a:lnTo>
                  <a:close/>
                </a:path>
                <a:path w="27304" h="27304">
                  <a:moveTo>
                    <a:pt x="18462" y="5867"/>
                  </a:moveTo>
                  <a:lnTo>
                    <a:pt x="2628" y="5867"/>
                  </a:lnTo>
                  <a:lnTo>
                    <a:pt x="12788" y="9385"/>
                  </a:lnTo>
                  <a:lnTo>
                    <a:pt x="8635" y="15024"/>
                  </a:lnTo>
                  <a:lnTo>
                    <a:pt x="9461" y="16433"/>
                  </a:lnTo>
                  <a:lnTo>
                    <a:pt x="14300" y="9867"/>
                  </a:lnTo>
                  <a:lnTo>
                    <a:pt x="24388" y="9867"/>
                  </a:lnTo>
                  <a:lnTo>
                    <a:pt x="25692" y="8102"/>
                  </a:lnTo>
                  <a:lnTo>
                    <a:pt x="24307" y="8102"/>
                  </a:lnTo>
                  <a:lnTo>
                    <a:pt x="22771" y="7378"/>
                  </a:lnTo>
                  <a:lnTo>
                    <a:pt x="18462" y="5867"/>
                  </a:lnTo>
                  <a:close/>
                </a:path>
                <a:path w="27304" h="27304">
                  <a:moveTo>
                    <a:pt x="24388" y="9867"/>
                  </a:moveTo>
                  <a:lnTo>
                    <a:pt x="14300" y="9867"/>
                  </a:lnTo>
                  <a:lnTo>
                    <a:pt x="19253" y="11607"/>
                  </a:lnTo>
                  <a:lnTo>
                    <a:pt x="20510" y="12547"/>
                  </a:lnTo>
                  <a:lnTo>
                    <a:pt x="20561" y="13182"/>
                  </a:lnTo>
                  <a:lnTo>
                    <a:pt x="19392" y="14859"/>
                  </a:lnTo>
                  <a:lnTo>
                    <a:pt x="20243" y="15481"/>
                  </a:lnTo>
                  <a:lnTo>
                    <a:pt x="24388" y="9867"/>
                  </a:lnTo>
                  <a:close/>
                </a:path>
                <a:path w="27304" h="27304">
                  <a:moveTo>
                    <a:pt x="26060" y="5829"/>
                  </a:moveTo>
                  <a:lnTo>
                    <a:pt x="24307" y="8102"/>
                  </a:lnTo>
                  <a:lnTo>
                    <a:pt x="25692" y="8102"/>
                  </a:lnTo>
                  <a:lnTo>
                    <a:pt x="26911" y="6451"/>
                  </a:lnTo>
                  <a:lnTo>
                    <a:pt x="26060" y="5829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3" name="object 135">
              <a:extLst>
                <a:ext uri="{FF2B5EF4-FFF2-40B4-BE49-F238E27FC236}">
                  <a16:creationId xmlns:a16="http://schemas.microsoft.com/office/drawing/2014/main" id="{3CD5C4C7-37A7-406F-ADDC-43CE07A49751}"/>
                </a:ext>
              </a:extLst>
            </p:cNvPr>
            <p:cNvSpPr/>
            <p:nvPr/>
          </p:nvSpPr>
          <p:spPr>
            <a:xfrm>
              <a:off x="7907610" y="6183416"/>
              <a:ext cx="27305" cy="27305"/>
            </a:xfrm>
            <a:custGeom>
              <a:avLst/>
              <a:gdLst/>
              <a:ahLst/>
              <a:cxnLst/>
              <a:rect l="l" t="t" r="r" b="b"/>
              <a:pathLst>
                <a:path w="27304" h="27304">
                  <a:moveTo>
                    <a:pt x="8635" y="15024"/>
                  </a:moveTo>
                  <a:lnTo>
                    <a:pt x="2628" y="5867"/>
                  </a:lnTo>
                  <a:lnTo>
                    <a:pt x="12788" y="9385"/>
                  </a:lnTo>
                  <a:lnTo>
                    <a:pt x="8635" y="15024"/>
                  </a:lnTo>
                  <a:lnTo>
                    <a:pt x="9461" y="16433"/>
                  </a:lnTo>
                  <a:lnTo>
                    <a:pt x="14300" y="9867"/>
                  </a:lnTo>
                  <a:lnTo>
                    <a:pt x="18021" y="11176"/>
                  </a:lnTo>
                  <a:lnTo>
                    <a:pt x="18592" y="11366"/>
                  </a:lnTo>
                  <a:lnTo>
                    <a:pt x="19253" y="11607"/>
                  </a:lnTo>
                  <a:lnTo>
                    <a:pt x="19735" y="11976"/>
                  </a:lnTo>
                  <a:lnTo>
                    <a:pt x="20510" y="12547"/>
                  </a:lnTo>
                  <a:lnTo>
                    <a:pt x="20561" y="13182"/>
                  </a:lnTo>
                  <a:lnTo>
                    <a:pt x="19392" y="14859"/>
                  </a:lnTo>
                  <a:lnTo>
                    <a:pt x="20243" y="15481"/>
                  </a:lnTo>
                  <a:lnTo>
                    <a:pt x="26911" y="6451"/>
                  </a:lnTo>
                  <a:lnTo>
                    <a:pt x="26060" y="5829"/>
                  </a:lnTo>
                  <a:lnTo>
                    <a:pt x="24307" y="8102"/>
                  </a:lnTo>
                  <a:lnTo>
                    <a:pt x="22771" y="7378"/>
                  </a:lnTo>
                  <a:lnTo>
                    <a:pt x="20510" y="6578"/>
                  </a:lnTo>
                  <a:lnTo>
                    <a:pt x="1562" y="0"/>
                  </a:lnTo>
                  <a:lnTo>
                    <a:pt x="0" y="4648"/>
                  </a:lnTo>
                  <a:lnTo>
                    <a:pt x="9677" y="19519"/>
                  </a:lnTo>
                  <a:lnTo>
                    <a:pt x="11201" y="21882"/>
                  </a:lnTo>
                  <a:lnTo>
                    <a:pt x="12103" y="23342"/>
                  </a:lnTo>
                  <a:lnTo>
                    <a:pt x="11010" y="26238"/>
                  </a:lnTo>
                  <a:lnTo>
                    <a:pt x="11861" y="26860"/>
                  </a:lnTo>
                  <a:lnTo>
                    <a:pt x="16916" y="20015"/>
                  </a:lnTo>
                  <a:lnTo>
                    <a:pt x="16065" y="19380"/>
                  </a:lnTo>
                  <a:lnTo>
                    <a:pt x="15151" y="20459"/>
                  </a:lnTo>
                  <a:lnTo>
                    <a:pt x="13766" y="21272"/>
                  </a:lnTo>
                  <a:lnTo>
                    <a:pt x="12445" y="20294"/>
                  </a:lnTo>
                  <a:lnTo>
                    <a:pt x="11722" y="19773"/>
                  </a:lnTo>
                  <a:lnTo>
                    <a:pt x="11163" y="18923"/>
                  </a:lnTo>
                  <a:lnTo>
                    <a:pt x="10667" y="18186"/>
                  </a:lnTo>
                  <a:lnTo>
                    <a:pt x="9461" y="16433"/>
                  </a:lnTo>
                  <a:lnTo>
                    <a:pt x="8635" y="15024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4" name="object 136">
              <a:extLst>
                <a:ext uri="{FF2B5EF4-FFF2-40B4-BE49-F238E27FC236}">
                  <a16:creationId xmlns:a16="http://schemas.microsoft.com/office/drawing/2014/main" id="{60902E4E-4D5D-4723-9B0D-49EAFFA92774}"/>
                </a:ext>
              </a:extLst>
            </p:cNvPr>
            <p:cNvSpPr/>
            <p:nvPr/>
          </p:nvSpPr>
          <p:spPr>
            <a:xfrm>
              <a:off x="7920297" y="6158229"/>
              <a:ext cx="33655" cy="29845"/>
            </a:xfrm>
            <a:custGeom>
              <a:avLst/>
              <a:gdLst/>
              <a:ahLst/>
              <a:cxnLst/>
              <a:rect l="l" t="t" r="r" b="b"/>
              <a:pathLst>
                <a:path w="33654" h="29845">
                  <a:moveTo>
                    <a:pt x="10654" y="11925"/>
                  </a:moveTo>
                  <a:lnTo>
                    <a:pt x="3467" y="11925"/>
                  </a:lnTo>
                  <a:lnTo>
                    <a:pt x="17068" y="26428"/>
                  </a:lnTo>
                  <a:lnTo>
                    <a:pt x="16967" y="27495"/>
                  </a:lnTo>
                  <a:lnTo>
                    <a:pt x="15290" y="29070"/>
                  </a:lnTo>
                  <a:lnTo>
                    <a:pt x="16014" y="29832"/>
                  </a:lnTo>
                  <a:lnTo>
                    <a:pt x="23464" y="22847"/>
                  </a:lnTo>
                  <a:lnTo>
                    <a:pt x="20891" y="22847"/>
                  </a:lnTo>
                  <a:lnTo>
                    <a:pt x="14465" y="15989"/>
                  </a:lnTo>
                  <a:lnTo>
                    <a:pt x="14043" y="14897"/>
                  </a:lnTo>
                  <a:lnTo>
                    <a:pt x="13436" y="14897"/>
                  </a:lnTo>
                  <a:lnTo>
                    <a:pt x="10654" y="11925"/>
                  </a:lnTo>
                  <a:close/>
                </a:path>
                <a:path w="33654" h="29845">
                  <a:moveTo>
                    <a:pt x="23634" y="21234"/>
                  </a:moveTo>
                  <a:lnTo>
                    <a:pt x="21958" y="22809"/>
                  </a:lnTo>
                  <a:lnTo>
                    <a:pt x="20891" y="22847"/>
                  </a:lnTo>
                  <a:lnTo>
                    <a:pt x="23464" y="22847"/>
                  </a:lnTo>
                  <a:lnTo>
                    <a:pt x="24358" y="22009"/>
                  </a:lnTo>
                  <a:lnTo>
                    <a:pt x="23634" y="21234"/>
                  </a:lnTo>
                  <a:close/>
                </a:path>
                <a:path w="33654" h="29845">
                  <a:moveTo>
                    <a:pt x="32388" y="14478"/>
                  </a:moveTo>
                  <a:lnTo>
                    <a:pt x="16586" y="14478"/>
                  </a:lnTo>
                  <a:lnTo>
                    <a:pt x="24930" y="17792"/>
                  </a:lnTo>
                  <a:lnTo>
                    <a:pt x="25869" y="18135"/>
                  </a:lnTo>
                  <a:lnTo>
                    <a:pt x="26796" y="18580"/>
                  </a:lnTo>
                  <a:lnTo>
                    <a:pt x="27762" y="18808"/>
                  </a:lnTo>
                  <a:lnTo>
                    <a:pt x="32388" y="14478"/>
                  </a:lnTo>
                  <a:close/>
                </a:path>
                <a:path w="33654" h="29845">
                  <a:moveTo>
                    <a:pt x="20799" y="3683"/>
                  </a:moveTo>
                  <a:lnTo>
                    <a:pt x="13182" y="3683"/>
                  </a:lnTo>
                  <a:lnTo>
                    <a:pt x="17716" y="8509"/>
                  </a:lnTo>
                  <a:lnTo>
                    <a:pt x="17715" y="10883"/>
                  </a:lnTo>
                  <a:lnTo>
                    <a:pt x="13881" y="14478"/>
                  </a:lnTo>
                  <a:lnTo>
                    <a:pt x="14465" y="15989"/>
                  </a:lnTo>
                  <a:lnTo>
                    <a:pt x="15443" y="15074"/>
                  </a:lnTo>
                  <a:lnTo>
                    <a:pt x="16586" y="14478"/>
                  </a:lnTo>
                  <a:lnTo>
                    <a:pt x="32388" y="14478"/>
                  </a:lnTo>
                  <a:lnTo>
                    <a:pt x="30670" y="14376"/>
                  </a:lnTo>
                  <a:lnTo>
                    <a:pt x="26161" y="12903"/>
                  </a:lnTo>
                  <a:lnTo>
                    <a:pt x="22542" y="11557"/>
                  </a:lnTo>
                  <a:lnTo>
                    <a:pt x="21424" y="11163"/>
                  </a:lnTo>
                  <a:lnTo>
                    <a:pt x="20734" y="10883"/>
                  </a:lnTo>
                  <a:lnTo>
                    <a:pt x="19100" y="10883"/>
                  </a:lnTo>
                  <a:lnTo>
                    <a:pt x="20954" y="8369"/>
                  </a:lnTo>
                  <a:lnTo>
                    <a:pt x="22072" y="5041"/>
                  </a:lnTo>
                  <a:lnTo>
                    <a:pt x="20799" y="3683"/>
                  </a:lnTo>
                  <a:close/>
                </a:path>
                <a:path w="33654" h="29845">
                  <a:moveTo>
                    <a:pt x="13881" y="14478"/>
                  </a:moveTo>
                  <a:lnTo>
                    <a:pt x="13436" y="14897"/>
                  </a:lnTo>
                  <a:lnTo>
                    <a:pt x="14043" y="14897"/>
                  </a:lnTo>
                  <a:lnTo>
                    <a:pt x="13881" y="14478"/>
                  </a:lnTo>
                  <a:close/>
                </a:path>
                <a:path w="33654" h="29845">
                  <a:moveTo>
                    <a:pt x="32804" y="12636"/>
                  </a:moveTo>
                  <a:lnTo>
                    <a:pt x="30670" y="14376"/>
                  </a:lnTo>
                  <a:lnTo>
                    <a:pt x="32496" y="14376"/>
                  </a:lnTo>
                  <a:lnTo>
                    <a:pt x="33527" y="13411"/>
                  </a:lnTo>
                  <a:lnTo>
                    <a:pt x="32804" y="12636"/>
                  </a:lnTo>
                  <a:close/>
                </a:path>
                <a:path w="33654" h="29845">
                  <a:moveTo>
                    <a:pt x="17348" y="0"/>
                  </a:moveTo>
                  <a:lnTo>
                    <a:pt x="13487" y="127"/>
                  </a:lnTo>
                  <a:lnTo>
                    <a:pt x="0" y="12763"/>
                  </a:lnTo>
                  <a:lnTo>
                    <a:pt x="723" y="13525"/>
                  </a:lnTo>
                  <a:lnTo>
                    <a:pt x="2400" y="11963"/>
                  </a:lnTo>
                  <a:lnTo>
                    <a:pt x="3467" y="11925"/>
                  </a:lnTo>
                  <a:lnTo>
                    <a:pt x="10654" y="11925"/>
                  </a:lnTo>
                  <a:lnTo>
                    <a:pt x="7464" y="8509"/>
                  </a:lnTo>
                  <a:lnTo>
                    <a:pt x="7010" y="7899"/>
                  </a:lnTo>
                  <a:lnTo>
                    <a:pt x="11036" y="4114"/>
                  </a:lnTo>
                  <a:lnTo>
                    <a:pt x="13182" y="3683"/>
                  </a:lnTo>
                  <a:lnTo>
                    <a:pt x="20799" y="3683"/>
                  </a:lnTo>
                  <a:lnTo>
                    <a:pt x="17348" y="0"/>
                  </a:lnTo>
                  <a:close/>
                </a:path>
                <a:path w="33654" h="29845">
                  <a:moveTo>
                    <a:pt x="20294" y="10706"/>
                  </a:moveTo>
                  <a:lnTo>
                    <a:pt x="19100" y="10883"/>
                  </a:lnTo>
                  <a:lnTo>
                    <a:pt x="20734" y="10883"/>
                  </a:lnTo>
                  <a:lnTo>
                    <a:pt x="20294" y="10706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5" name="object 137">
              <a:extLst>
                <a:ext uri="{FF2B5EF4-FFF2-40B4-BE49-F238E27FC236}">
                  <a16:creationId xmlns:a16="http://schemas.microsoft.com/office/drawing/2014/main" id="{0E0265CD-5F6A-4BEC-AF37-A3E892D516B0}"/>
                </a:ext>
              </a:extLst>
            </p:cNvPr>
            <p:cNvSpPr/>
            <p:nvPr/>
          </p:nvSpPr>
          <p:spPr>
            <a:xfrm>
              <a:off x="7920297" y="6158229"/>
              <a:ext cx="33655" cy="29845"/>
            </a:xfrm>
            <a:custGeom>
              <a:avLst/>
              <a:gdLst/>
              <a:ahLst/>
              <a:cxnLst/>
              <a:rect l="l" t="t" r="r" b="b"/>
              <a:pathLst>
                <a:path w="33654" h="29845">
                  <a:moveTo>
                    <a:pt x="13881" y="14478"/>
                  </a:moveTo>
                  <a:lnTo>
                    <a:pt x="13436" y="14897"/>
                  </a:lnTo>
                  <a:lnTo>
                    <a:pt x="8737" y="9880"/>
                  </a:lnTo>
                  <a:lnTo>
                    <a:pt x="7492" y="8547"/>
                  </a:lnTo>
                  <a:lnTo>
                    <a:pt x="7010" y="7899"/>
                  </a:lnTo>
                  <a:lnTo>
                    <a:pt x="8547" y="6464"/>
                  </a:lnTo>
                  <a:lnTo>
                    <a:pt x="11036" y="4114"/>
                  </a:lnTo>
                  <a:lnTo>
                    <a:pt x="13182" y="3683"/>
                  </a:lnTo>
                  <a:lnTo>
                    <a:pt x="15392" y="6045"/>
                  </a:lnTo>
                  <a:lnTo>
                    <a:pt x="17716" y="8509"/>
                  </a:lnTo>
                  <a:lnTo>
                    <a:pt x="17729" y="10871"/>
                  </a:lnTo>
                  <a:lnTo>
                    <a:pt x="13881" y="14478"/>
                  </a:lnTo>
                  <a:lnTo>
                    <a:pt x="14465" y="15989"/>
                  </a:lnTo>
                  <a:lnTo>
                    <a:pt x="15443" y="15074"/>
                  </a:lnTo>
                  <a:lnTo>
                    <a:pt x="16586" y="14478"/>
                  </a:lnTo>
                  <a:lnTo>
                    <a:pt x="20815" y="16167"/>
                  </a:lnTo>
                  <a:lnTo>
                    <a:pt x="24930" y="17792"/>
                  </a:lnTo>
                  <a:lnTo>
                    <a:pt x="25869" y="18135"/>
                  </a:lnTo>
                  <a:lnTo>
                    <a:pt x="26796" y="18580"/>
                  </a:lnTo>
                  <a:lnTo>
                    <a:pt x="27762" y="18808"/>
                  </a:lnTo>
                  <a:lnTo>
                    <a:pt x="33527" y="13411"/>
                  </a:lnTo>
                  <a:lnTo>
                    <a:pt x="32804" y="12636"/>
                  </a:lnTo>
                  <a:lnTo>
                    <a:pt x="30670" y="14376"/>
                  </a:lnTo>
                  <a:lnTo>
                    <a:pt x="28524" y="13677"/>
                  </a:lnTo>
                  <a:lnTo>
                    <a:pt x="26161" y="12903"/>
                  </a:lnTo>
                  <a:lnTo>
                    <a:pt x="22542" y="11557"/>
                  </a:lnTo>
                  <a:lnTo>
                    <a:pt x="21424" y="11163"/>
                  </a:lnTo>
                  <a:lnTo>
                    <a:pt x="20294" y="10706"/>
                  </a:lnTo>
                  <a:lnTo>
                    <a:pt x="19100" y="10883"/>
                  </a:lnTo>
                  <a:lnTo>
                    <a:pt x="20954" y="8369"/>
                  </a:lnTo>
                  <a:lnTo>
                    <a:pt x="22072" y="5041"/>
                  </a:lnTo>
                  <a:lnTo>
                    <a:pt x="19672" y="2476"/>
                  </a:lnTo>
                  <a:lnTo>
                    <a:pt x="17348" y="0"/>
                  </a:lnTo>
                  <a:lnTo>
                    <a:pt x="13487" y="127"/>
                  </a:lnTo>
                  <a:lnTo>
                    <a:pt x="10032" y="3352"/>
                  </a:lnTo>
                  <a:lnTo>
                    <a:pt x="0" y="12763"/>
                  </a:lnTo>
                  <a:lnTo>
                    <a:pt x="723" y="13525"/>
                  </a:lnTo>
                  <a:lnTo>
                    <a:pt x="2400" y="11963"/>
                  </a:lnTo>
                  <a:lnTo>
                    <a:pt x="3467" y="11925"/>
                  </a:lnTo>
                  <a:lnTo>
                    <a:pt x="4991" y="13563"/>
                  </a:lnTo>
                  <a:lnTo>
                    <a:pt x="15544" y="24803"/>
                  </a:lnTo>
                  <a:lnTo>
                    <a:pt x="17068" y="26428"/>
                  </a:lnTo>
                  <a:lnTo>
                    <a:pt x="16967" y="27495"/>
                  </a:lnTo>
                  <a:lnTo>
                    <a:pt x="15290" y="29070"/>
                  </a:lnTo>
                  <a:lnTo>
                    <a:pt x="16014" y="29832"/>
                  </a:lnTo>
                  <a:lnTo>
                    <a:pt x="24358" y="22009"/>
                  </a:lnTo>
                  <a:lnTo>
                    <a:pt x="23634" y="21234"/>
                  </a:lnTo>
                  <a:lnTo>
                    <a:pt x="21958" y="22809"/>
                  </a:lnTo>
                  <a:lnTo>
                    <a:pt x="20891" y="22847"/>
                  </a:lnTo>
                  <a:lnTo>
                    <a:pt x="19367" y="21209"/>
                  </a:lnTo>
                  <a:lnTo>
                    <a:pt x="14465" y="15989"/>
                  </a:lnTo>
                  <a:lnTo>
                    <a:pt x="13881" y="14478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6" name="object 138">
              <a:extLst>
                <a:ext uri="{FF2B5EF4-FFF2-40B4-BE49-F238E27FC236}">
                  <a16:creationId xmlns:a16="http://schemas.microsoft.com/office/drawing/2014/main" id="{D8D842F5-AF9A-42DB-AA0E-B255F4DEA669}"/>
                </a:ext>
              </a:extLst>
            </p:cNvPr>
            <p:cNvSpPr/>
            <p:nvPr/>
          </p:nvSpPr>
          <p:spPr>
            <a:xfrm>
              <a:off x="7938580" y="6142561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5671" y="0"/>
                  </a:moveTo>
                  <a:lnTo>
                    <a:pt x="0" y="11010"/>
                  </a:lnTo>
                  <a:lnTo>
                    <a:pt x="2400" y="17145"/>
                  </a:lnTo>
                  <a:lnTo>
                    <a:pt x="3556" y="16725"/>
                  </a:lnTo>
                  <a:lnTo>
                    <a:pt x="3454" y="13639"/>
                  </a:lnTo>
                  <a:lnTo>
                    <a:pt x="4064" y="10160"/>
                  </a:lnTo>
                  <a:lnTo>
                    <a:pt x="6451" y="8001"/>
                  </a:lnTo>
                  <a:lnTo>
                    <a:pt x="18186" y="24688"/>
                  </a:lnTo>
                  <a:lnTo>
                    <a:pt x="17932" y="25730"/>
                  </a:lnTo>
                  <a:lnTo>
                    <a:pt x="16052" y="27051"/>
                  </a:lnTo>
                  <a:lnTo>
                    <a:pt x="16662" y="27914"/>
                  </a:lnTo>
                  <a:lnTo>
                    <a:pt x="26022" y="21323"/>
                  </a:lnTo>
                  <a:lnTo>
                    <a:pt x="25412" y="20472"/>
                  </a:lnTo>
                  <a:lnTo>
                    <a:pt x="23533" y="21793"/>
                  </a:lnTo>
                  <a:lnTo>
                    <a:pt x="22479" y="21678"/>
                  </a:lnTo>
                  <a:lnTo>
                    <a:pt x="10744" y="4991"/>
                  </a:lnTo>
                  <a:lnTo>
                    <a:pt x="13284" y="3276"/>
                  </a:lnTo>
                  <a:lnTo>
                    <a:pt x="17348" y="4102"/>
                  </a:lnTo>
                  <a:lnTo>
                    <a:pt x="19977" y="5181"/>
                  </a:lnTo>
                  <a:lnTo>
                    <a:pt x="20764" y="4229"/>
                  </a:lnTo>
                  <a:lnTo>
                    <a:pt x="15671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7" name="object 139">
              <a:extLst>
                <a:ext uri="{FF2B5EF4-FFF2-40B4-BE49-F238E27FC236}">
                  <a16:creationId xmlns:a16="http://schemas.microsoft.com/office/drawing/2014/main" id="{2BA6ADB0-1A78-4C10-B521-7EC0020068B8}"/>
                </a:ext>
              </a:extLst>
            </p:cNvPr>
            <p:cNvSpPr/>
            <p:nvPr/>
          </p:nvSpPr>
          <p:spPr>
            <a:xfrm>
              <a:off x="7938580" y="6142561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5671" y="0"/>
                  </a:moveTo>
                  <a:lnTo>
                    <a:pt x="20764" y="4229"/>
                  </a:lnTo>
                  <a:lnTo>
                    <a:pt x="19977" y="5181"/>
                  </a:lnTo>
                  <a:lnTo>
                    <a:pt x="17348" y="4102"/>
                  </a:lnTo>
                  <a:lnTo>
                    <a:pt x="13284" y="3276"/>
                  </a:lnTo>
                  <a:lnTo>
                    <a:pt x="10744" y="4991"/>
                  </a:lnTo>
                  <a:lnTo>
                    <a:pt x="21183" y="19837"/>
                  </a:lnTo>
                  <a:lnTo>
                    <a:pt x="22479" y="21678"/>
                  </a:lnTo>
                  <a:lnTo>
                    <a:pt x="23533" y="21793"/>
                  </a:lnTo>
                  <a:lnTo>
                    <a:pt x="25412" y="20472"/>
                  </a:lnTo>
                  <a:lnTo>
                    <a:pt x="26022" y="21323"/>
                  </a:lnTo>
                  <a:lnTo>
                    <a:pt x="16662" y="27914"/>
                  </a:lnTo>
                  <a:lnTo>
                    <a:pt x="16052" y="27051"/>
                  </a:lnTo>
                  <a:lnTo>
                    <a:pt x="17932" y="25730"/>
                  </a:lnTo>
                  <a:lnTo>
                    <a:pt x="18186" y="24688"/>
                  </a:lnTo>
                  <a:lnTo>
                    <a:pt x="16903" y="22860"/>
                  </a:lnTo>
                  <a:lnTo>
                    <a:pt x="6451" y="8001"/>
                  </a:lnTo>
                  <a:lnTo>
                    <a:pt x="4064" y="10160"/>
                  </a:lnTo>
                  <a:lnTo>
                    <a:pt x="3454" y="13639"/>
                  </a:lnTo>
                  <a:lnTo>
                    <a:pt x="3556" y="16725"/>
                  </a:lnTo>
                  <a:lnTo>
                    <a:pt x="2400" y="17145"/>
                  </a:lnTo>
                  <a:lnTo>
                    <a:pt x="0" y="11010"/>
                  </a:lnTo>
                  <a:lnTo>
                    <a:pt x="15671" y="0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8" name="object 140">
              <a:extLst>
                <a:ext uri="{FF2B5EF4-FFF2-40B4-BE49-F238E27FC236}">
                  <a16:creationId xmlns:a16="http://schemas.microsoft.com/office/drawing/2014/main" id="{5C61C630-0C3B-4555-8517-EF1A31268988}"/>
                </a:ext>
              </a:extLst>
            </p:cNvPr>
            <p:cNvSpPr/>
            <p:nvPr/>
          </p:nvSpPr>
          <p:spPr>
            <a:xfrm>
              <a:off x="7956959" y="6128510"/>
              <a:ext cx="36195" cy="34290"/>
            </a:xfrm>
            <a:custGeom>
              <a:avLst/>
              <a:gdLst/>
              <a:ahLst/>
              <a:cxnLst/>
              <a:rect l="l" t="t" r="r" b="b"/>
              <a:pathLst>
                <a:path w="36195" h="34290">
                  <a:moveTo>
                    <a:pt x="25946" y="0"/>
                  </a:moveTo>
                  <a:lnTo>
                    <a:pt x="17741" y="3975"/>
                  </a:lnTo>
                  <a:lnTo>
                    <a:pt x="19443" y="19469"/>
                  </a:lnTo>
                  <a:lnTo>
                    <a:pt x="8432" y="8509"/>
                  </a:lnTo>
                  <a:lnTo>
                    <a:pt x="0" y="12598"/>
                  </a:lnTo>
                  <a:lnTo>
                    <a:pt x="457" y="13550"/>
                  </a:lnTo>
                  <a:lnTo>
                    <a:pt x="2387" y="12611"/>
                  </a:lnTo>
                  <a:lnTo>
                    <a:pt x="3492" y="12674"/>
                  </a:lnTo>
                  <a:lnTo>
                    <a:pt x="12166" y="30543"/>
                  </a:lnTo>
                  <a:lnTo>
                    <a:pt x="11887" y="31064"/>
                  </a:lnTo>
                  <a:lnTo>
                    <a:pt x="9588" y="32778"/>
                  </a:lnTo>
                  <a:lnTo>
                    <a:pt x="10058" y="33731"/>
                  </a:lnTo>
                  <a:lnTo>
                    <a:pt x="17335" y="30200"/>
                  </a:lnTo>
                  <a:lnTo>
                    <a:pt x="16865" y="29248"/>
                  </a:lnTo>
                  <a:lnTo>
                    <a:pt x="14185" y="30238"/>
                  </a:lnTo>
                  <a:lnTo>
                    <a:pt x="13652" y="29781"/>
                  </a:lnTo>
                  <a:lnTo>
                    <a:pt x="5727" y="13474"/>
                  </a:lnTo>
                  <a:lnTo>
                    <a:pt x="21094" y="28371"/>
                  </a:lnTo>
                  <a:lnTo>
                    <a:pt x="22136" y="27863"/>
                  </a:lnTo>
                  <a:lnTo>
                    <a:pt x="19532" y="6057"/>
                  </a:lnTo>
                  <a:lnTo>
                    <a:pt x="27889" y="23114"/>
                  </a:lnTo>
                  <a:lnTo>
                    <a:pt x="27482" y="24091"/>
                  </a:lnTo>
                  <a:lnTo>
                    <a:pt x="25412" y="25095"/>
                  </a:lnTo>
                  <a:lnTo>
                    <a:pt x="25882" y="26047"/>
                  </a:lnTo>
                  <a:lnTo>
                    <a:pt x="36169" y="21043"/>
                  </a:lnTo>
                  <a:lnTo>
                    <a:pt x="35712" y="20104"/>
                  </a:lnTo>
                  <a:lnTo>
                    <a:pt x="33642" y="21107"/>
                  </a:lnTo>
                  <a:lnTo>
                    <a:pt x="32613" y="20815"/>
                  </a:lnTo>
                  <a:lnTo>
                    <a:pt x="31635" y="18808"/>
                  </a:lnTo>
                  <a:lnTo>
                    <a:pt x="23837" y="2755"/>
                  </a:lnTo>
                  <a:lnTo>
                    <a:pt x="24396" y="2095"/>
                  </a:lnTo>
                  <a:lnTo>
                    <a:pt x="26403" y="939"/>
                  </a:lnTo>
                  <a:lnTo>
                    <a:pt x="25946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object 141">
              <a:extLst>
                <a:ext uri="{FF2B5EF4-FFF2-40B4-BE49-F238E27FC236}">
                  <a16:creationId xmlns:a16="http://schemas.microsoft.com/office/drawing/2014/main" id="{13F13C7E-640A-464F-A7E9-E9BBB0EE8D03}"/>
                </a:ext>
              </a:extLst>
            </p:cNvPr>
            <p:cNvSpPr/>
            <p:nvPr/>
          </p:nvSpPr>
          <p:spPr>
            <a:xfrm>
              <a:off x="7956959" y="6128510"/>
              <a:ext cx="36195" cy="34290"/>
            </a:xfrm>
            <a:custGeom>
              <a:avLst/>
              <a:gdLst/>
              <a:ahLst/>
              <a:cxnLst/>
              <a:rect l="l" t="t" r="r" b="b"/>
              <a:pathLst>
                <a:path w="36195" h="34290">
                  <a:moveTo>
                    <a:pt x="31635" y="18808"/>
                  </a:moveTo>
                  <a:lnTo>
                    <a:pt x="32613" y="20815"/>
                  </a:lnTo>
                  <a:lnTo>
                    <a:pt x="33642" y="21107"/>
                  </a:lnTo>
                  <a:lnTo>
                    <a:pt x="35712" y="20104"/>
                  </a:lnTo>
                  <a:lnTo>
                    <a:pt x="36169" y="21043"/>
                  </a:lnTo>
                  <a:lnTo>
                    <a:pt x="25882" y="26047"/>
                  </a:lnTo>
                  <a:lnTo>
                    <a:pt x="25412" y="25095"/>
                  </a:lnTo>
                  <a:lnTo>
                    <a:pt x="27482" y="24091"/>
                  </a:lnTo>
                  <a:lnTo>
                    <a:pt x="27889" y="23114"/>
                  </a:lnTo>
                  <a:lnTo>
                    <a:pt x="26923" y="21094"/>
                  </a:lnTo>
                  <a:lnTo>
                    <a:pt x="19596" y="6032"/>
                  </a:lnTo>
                  <a:lnTo>
                    <a:pt x="22136" y="27863"/>
                  </a:lnTo>
                  <a:lnTo>
                    <a:pt x="21094" y="28371"/>
                  </a:lnTo>
                  <a:lnTo>
                    <a:pt x="5778" y="13449"/>
                  </a:lnTo>
                  <a:lnTo>
                    <a:pt x="11417" y="25184"/>
                  </a:lnTo>
                  <a:lnTo>
                    <a:pt x="13652" y="29781"/>
                  </a:lnTo>
                  <a:lnTo>
                    <a:pt x="14185" y="30238"/>
                  </a:lnTo>
                  <a:lnTo>
                    <a:pt x="16865" y="29248"/>
                  </a:lnTo>
                  <a:lnTo>
                    <a:pt x="17335" y="30200"/>
                  </a:lnTo>
                  <a:lnTo>
                    <a:pt x="10058" y="33731"/>
                  </a:lnTo>
                  <a:lnTo>
                    <a:pt x="9588" y="32778"/>
                  </a:lnTo>
                  <a:lnTo>
                    <a:pt x="11887" y="31064"/>
                  </a:lnTo>
                  <a:lnTo>
                    <a:pt x="12166" y="30543"/>
                  </a:lnTo>
                  <a:lnTo>
                    <a:pt x="9918" y="25908"/>
                  </a:lnTo>
                  <a:lnTo>
                    <a:pt x="4533" y="14833"/>
                  </a:lnTo>
                  <a:lnTo>
                    <a:pt x="3492" y="12674"/>
                  </a:lnTo>
                  <a:lnTo>
                    <a:pt x="2387" y="12611"/>
                  </a:lnTo>
                  <a:lnTo>
                    <a:pt x="457" y="13550"/>
                  </a:lnTo>
                  <a:lnTo>
                    <a:pt x="0" y="12598"/>
                  </a:lnTo>
                  <a:lnTo>
                    <a:pt x="8432" y="8509"/>
                  </a:lnTo>
                  <a:lnTo>
                    <a:pt x="19443" y="19469"/>
                  </a:lnTo>
                  <a:lnTo>
                    <a:pt x="17741" y="3975"/>
                  </a:lnTo>
                  <a:lnTo>
                    <a:pt x="25946" y="0"/>
                  </a:lnTo>
                  <a:lnTo>
                    <a:pt x="26403" y="939"/>
                  </a:lnTo>
                  <a:lnTo>
                    <a:pt x="24396" y="2095"/>
                  </a:lnTo>
                  <a:lnTo>
                    <a:pt x="23837" y="2755"/>
                  </a:lnTo>
                  <a:lnTo>
                    <a:pt x="24904" y="4940"/>
                  </a:lnTo>
                  <a:lnTo>
                    <a:pt x="31635" y="18808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0" name="object 142">
              <a:extLst>
                <a:ext uri="{FF2B5EF4-FFF2-40B4-BE49-F238E27FC236}">
                  <a16:creationId xmlns:a16="http://schemas.microsoft.com/office/drawing/2014/main" id="{61A0734E-020F-4C87-925F-A8A8D35BC3F5}"/>
                </a:ext>
              </a:extLst>
            </p:cNvPr>
            <p:cNvSpPr/>
            <p:nvPr/>
          </p:nvSpPr>
          <p:spPr>
            <a:xfrm>
              <a:off x="7990716" y="6120914"/>
              <a:ext cx="25400" cy="27940"/>
            </a:xfrm>
            <a:custGeom>
              <a:avLst/>
              <a:gdLst/>
              <a:ahLst/>
              <a:cxnLst/>
              <a:rect l="l" t="t" r="r" b="b"/>
              <a:pathLst>
                <a:path w="25400" h="27940">
                  <a:moveTo>
                    <a:pt x="18668" y="0"/>
                  </a:moveTo>
                  <a:lnTo>
                    <a:pt x="0" y="4813"/>
                  </a:lnTo>
                  <a:lnTo>
                    <a:pt x="266" y="5829"/>
                  </a:lnTo>
                  <a:lnTo>
                    <a:pt x="2501" y="5257"/>
                  </a:lnTo>
                  <a:lnTo>
                    <a:pt x="3454" y="5740"/>
                  </a:lnTo>
                  <a:lnTo>
                    <a:pt x="8407" y="24993"/>
                  </a:lnTo>
                  <a:lnTo>
                    <a:pt x="7810" y="25882"/>
                  </a:lnTo>
                  <a:lnTo>
                    <a:pt x="5575" y="26454"/>
                  </a:lnTo>
                  <a:lnTo>
                    <a:pt x="5841" y="27470"/>
                  </a:lnTo>
                  <a:lnTo>
                    <a:pt x="24510" y="22669"/>
                  </a:lnTo>
                  <a:lnTo>
                    <a:pt x="25349" y="16306"/>
                  </a:lnTo>
                  <a:lnTo>
                    <a:pt x="24409" y="16090"/>
                  </a:lnTo>
                  <a:lnTo>
                    <a:pt x="22707" y="19532"/>
                  </a:lnTo>
                  <a:lnTo>
                    <a:pt x="19837" y="22580"/>
                  </a:lnTo>
                  <a:lnTo>
                    <a:pt x="13792" y="24142"/>
                  </a:lnTo>
                  <a:lnTo>
                    <a:pt x="13296" y="22974"/>
                  </a:lnTo>
                  <a:lnTo>
                    <a:pt x="11163" y="14643"/>
                  </a:lnTo>
                  <a:lnTo>
                    <a:pt x="14871" y="13690"/>
                  </a:lnTo>
                  <a:lnTo>
                    <a:pt x="16636" y="13995"/>
                  </a:lnTo>
                  <a:lnTo>
                    <a:pt x="18275" y="16903"/>
                  </a:lnTo>
                  <a:lnTo>
                    <a:pt x="19481" y="16598"/>
                  </a:lnTo>
                  <a:lnTo>
                    <a:pt x="17183" y="7645"/>
                  </a:lnTo>
                  <a:lnTo>
                    <a:pt x="15963" y="7962"/>
                  </a:lnTo>
                  <a:lnTo>
                    <a:pt x="15722" y="11353"/>
                  </a:lnTo>
                  <a:lnTo>
                    <a:pt x="14490" y="12242"/>
                  </a:lnTo>
                  <a:lnTo>
                    <a:pt x="10782" y="13195"/>
                  </a:lnTo>
                  <a:lnTo>
                    <a:pt x="8394" y="3936"/>
                  </a:lnTo>
                  <a:lnTo>
                    <a:pt x="14681" y="2311"/>
                  </a:lnTo>
                  <a:lnTo>
                    <a:pt x="18491" y="3784"/>
                  </a:lnTo>
                  <a:lnTo>
                    <a:pt x="21259" y="5943"/>
                  </a:lnTo>
                  <a:lnTo>
                    <a:pt x="22110" y="5295"/>
                  </a:lnTo>
                  <a:lnTo>
                    <a:pt x="18668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1" name="object 143">
              <a:extLst>
                <a:ext uri="{FF2B5EF4-FFF2-40B4-BE49-F238E27FC236}">
                  <a16:creationId xmlns:a16="http://schemas.microsoft.com/office/drawing/2014/main" id="{91FC95E2-1AFA-4597-8F7C-C99A4A6AED48}"/>
                </a:ext>
              </a:extLst>
            </p:cNvPr>
            <p:cNvSpPr/>
            <p:nvPr/>
          </p:nvSpPr>
          <p:spPr>
            <a:xfrm>
              <a:off x="7990716" y="6120914"/>
              <a:ext cx="25400" cy="27940"/>
            </a:xfrm>
            <a:custGeom>
              <a:avLst/>
              <a:gdLst/>
              <a:ahLst/>
              <a:cxnLst/>
              <a:rect l="l" t="t" r="r" b="b"/>
              <a:pathLst>
                <a:path w="25400" h="27940">
                  <a:moveTo>
                    <a:pt x="5575" y="26454"/>
                  </a:moveTo>
                  <a:lnTo>
                    <a:pt x="7810" y="25882"/>
                  </a:lnTo>
                  <a:lnTo>
                    <a:pt x="8407" y="24993"/>
                  </a:lnTo>
                  <a:lnTo>
                    <a:pt x="7848" y="22834"/>
                  </a:lnTo>
                  <a:lnTo>
                    <a:pt x="4000" y="7899"/>
                  </a:lnTo>
                  <a:lnTo>
                    <a:pt x="3454" y="5740"/>
                  </a:lnTo>
                  <a:lnTo>
                    <a:pt x="2501" y="5257"/>
                  </a:lnTo>
                  <a:lnTo>
                    <a:pt x="266" y="5829"/>
                  </a:lnTo>
                  <a:lnTo>
                    <a:pt x="0" y="4813"/>
                  </a:lnTo>
                  <a:lnTo>
                    <a:pt x="18668" y="0"/>
                  </a:lnTo>
                  <a:lnTo>
                    <a:pt x="22110" y="5295"/>
                  </a:lnTo>
                  <a:lnTo>
                    <a:pt x="21259" y="5943"/>
                  </a:lnTo>
                  <a:lnTo>
                    <a:pt x="18491" y="3784"/>
                  </a:lnTo>
                  <a:lnTo>
                    <a:pt x="14681" y="2311"/>
                  </a:lnTo>
                  <a:lnTo>
                    <a:pt x="11150" y="3225"/>
                  </a:lnTo>
                  <a:lnTo>
                    <a:pt x="8394" y="3936"/>
                  </a:lnTo>
                  <a:lnTo>
                    <a:pt x="8635" y="4864"/>
                  </a:lnTo>
                  <a:lnTo>
                    <a:pt x="9220" y="7150"/>
                  </a:lnTo>
                  <a:lnTo>
                    <a:pt x="10782" y="13195"/>
                  </a:lnTo>
                  <a:lnTo>
                    <a:pt x="11391" y="13030"/>
                  </a:lnTo>
                  <a:lnTo>
                    <a:pt x="14490" y="12242"/>
                  </a:lnTo>
                  <a:lnTo>
                    <a:pt x="15722" y="11353"/>
                  </a:lnTo>
                  <a:lnTo>
                    <a:pt x="15963" y="7962"/>
                  </a:lnTo>
                  <a:lnTo>
                    <a:pt x="17183" y="7645"/>
                  </a:lnTo>
                  <a:lnTo>
                    <a:pt x="19481" y="16598"/>
                  </a:lnTo>
                  <a:lnTo>
                    <a:pt x="18275" y="16903"/>
                  </a:lnTo>
                  <a:lnTo>
                    <a:pt x="16636" y="13995"/>
                  </a:lnTo>
                  <a:lnTo>
                    <a:pt x="14871" y="13690"/>
                  </a:lnTo>
                  <a:lnTo>
                    <a:pt x="11836" y="14477"/>
                  </a:lnTo>
                  <a:lnTo>
                    <a:pt x="11163" y="14643"/>
                  </a:lnTo>
                  <a:lnTo>
                    <a:pt x="12839" y="21183"/>
                  </a:lnTo>
                  <a:lnTo>
                    <a:pt x="13296" y="22974"/>
                  </a:lnTo>
                  <a:lnTo>
                    <a:pt x="13792" y="24142"/>
                  </a:lnTo>
                  <a:lnTo>
                    <a:pt x="15989" y="23571"/>
                  </a:lnTo>
                  <a:lnTo>
                    <a:pt x="19837" y="22580"/>
                  </a:lnTo>
                  <a:lnTo>
                    <a:pt x="22707" y="19532"/>
                  </a:lnTo>
                  <a:lnTo>
                    <a:pt x="24409" y="16090"/>
                  </a:lnTo>
                  <a:lnTo>
                    <a:pt x="25349" y="16306"/>
                  </a:lnTo>
                  <a:lnTo>
                    <a:pt x="24510" y="22669"/>
                  </a:lnTo>
                  <a:lnTo>
                    <a:pt x="5841" y="27470"/>
                  </a:lnTo>
                  <a:lnTo>
                    <a:pt x="5575" y="26454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2" name="object 144">
              <a:extLst>
                <a:ext uri="{FF2B5EF4-FFF2-40B4-BE49-F238E27FC236}">
                  <a16:creationId xmlns:a16="http://schemas.microsoft.com/office/drawing/2014/main" id="{7000BCED-BC79-45F9-8330-05894C5A8CB1}"/>
                </a:ext>
              </a:extLst>
            </p:cNvPr>
            <p:cNvSpPr/>
            <p:nvPr/>
          </p:nvSpPr>
          <p:spPr>
            <a:xfrm>
              <a:off x="8016483" y="6117687"/>
              <a:ext cx="24765" cy="25400"/>
            </a:xfrm>
            <a:custGeom>
              <a:avLst/>
              <a:gdLst/>
              <a:ahLst/>
              <a:cxnLst/>
              <a:rect l="l" t="t" r="r" b="b"/>
              <a:pathLst>
                <a:path w="24765" h="25400">
                  <a:moveTo>
                    <a:pt x="24320" y="0"/>
                  </a:moveTo>
                  <a:lnTo>
                    <a:pt x="15938" y="711"/>
                  </a:lnTo>
                  <a:lnTo>
                    <a:pt x="16027" y="1752"/>
                  </a:lnTo>
                  <a:lnTo>
                    <a:pt x="19202" y="1777"/>
                  </a:lnTo>
                  <a:lnTo>
                    <a:pt x="19583" y="3289"/>
                  </a:lnTo>
                  <a:lnTo>
                    <a:pt x="20713" y="16636"/>
                  </a:lnTo>
                  <a:lnTo>
                    <a:pt x="8089" y="1371"/>
                  </a:lnTo>
                  <a:lnTo>
                    <a:pt x="0" y="2044"/>
                  </a:lnTo>
                  <a:lnTo>
                    <a:pt x="88" y="3098"/>
                  </a:lnTo>
                  <a:lnTo>
                    <a:pt x="1511" y="3276"/>
                  </a:lnTo>
                  <a:lnTo>
                    <a:pt x="2920" y="3949"/>
                  </a:lnTo>
                  <a:lnTo>
                    <a:pt x="3911" y="4991"/>
                  </a:lnTo>
                  <a:lnTo>
                    <a:pt x="5384" y="22580"/>
                  </a:lnTo>
                  <a:lnTo>
                    <a:pt x="4902" y="23583"/>
                  </a:lnTo>
                  <a:lnTo>
                    <a:pt x="1879" y="24320"/>
                  </a:lnTo>
                  <a:lnTo>
                    <a:pt x="1968" y="25374"/>
                  </a:lnTo>
                  <a:lnTo>
                    <a:pt x="10985" y="24612"/>
                  </a:lnTo>
                  <a:lnTo>
                    <a:pt x="10896" y="23571"/>
                  </a:lnTo>
                  <a:lnTo>
                    <a:pt x="7492" y="23139"/>
                  </a:lnTo>
                  <a:lnTo>
                    <a:pt x="7061" y="22504"/>
                  </a:lnTo>
                  <a:lnTo>
                    <a:pt x="5727" y="6807"/>
                  </a:lnTo>
                  <a:lnTo>
                    <a:pt x="20065" y="23850"/>
                  </a:lnTo>
                  <a:lnTo>
                    <a:pt x="22974" y="23596"/>
                  </a:lnTo>
                  <a:lnTo>
                    <a:pt x="21234" y="3047"/>
                  </a:lnTo>
                  <a:lnTo>
                    <a:pt x="21424" y="1816"/>
                  </a:lnTo>
                  <a:lnTo>
                    <a:pt x="24396" y="1054"/>
                  </a:lnTo>
                  <a:lnTo>
                    <a:pt x="24320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3" name="object 145">
              <a:extLst>
                <a:ext uri="{FF2B5EF4-FFF2-40B4-BE49-F238E27FC236}">
                  <a16:creationId xmlns:a16="http://schemas.microsoft.com/office/drawing/2014/main" id="{8FFFC039-C8A2-4FB8-B965-4464015D2847}"/>
                </a:ext>
              </a:extLst>
            </p:cNvPr>
            <p:cNvSpPr/>
            <p:nvPr/>
          </p:nvSpPr>
          <p:spPr>
            <a:xfrm>
              <a:off x="8016483" y="6117687"/>
              <a:ext cx="24765" cy="25400"/>
            </a:xfrm>
            <a:custGeom>
              <a:avLst/>
              <a:gdLst/>
              <a:ahLst/>
              <a:cxnLst/>
              <a:rect l="l" t="t" r="r" b="b"/>
              <a:pathLst>
                <a:path w="24765" h="25400">
                  <a:moveTo>
                    <a:pt x="20713" y="16636"/>
                  </a:moveTo>
                  <a:lnTo>
                    <a:pt x="19811" y="5994"/>
                  </a:lnTo>
                  <a:lnTo>
                    <a:pt x="19583" y="3289"/>
                  </a:lnTo>
                  <a:lnTo>
                    <a:pt x="19202" y="1777"/>
                  </a:lnTo>
                  <a:lnTo>
                    <a:pt x="16027" y="1752"/>
                  </a:lnTo>
                  <a:lnTo>
                    <a:pt x="15938" y="711"/>
                  </a:lnTo>
                  <a:lnTo>
                    <a:pt x="24320" y="0"/>
                  </a:lnTo>
                  <a:lnTo>
                    <a:pt x="24396" y="1054"/>
                  </a:lnTo>
                  <a:lnTo>
                    <a:pt x="21424" y="1816"/>
                  </a:lnTo>
                  <a:lnTo>
                    <a:pt x="21234" y="3047"/>
                  </a:lnTo>
                  <a:lnTo>
                    <a:pt x="21462" y="5854"/>
                  </a:lnTo>
                  <a:lnTo>
                    <a:pt x="22974" y="23596"/>
                  </a:lnTo>
                  <a:lnTo>
                    <a:pt x="20065" y="23850"/>
                  </a:lnTo>
                  <a:lnTo>
                    <a:pt x="5727" y="6807"/>
                  </a:lnTo>
                  <a:lnTo>
                    <a:pt x="6756" y="19037"/>
                  </a:lnTo>
                  <a:lnTo>
                    <a:pt x="7061" y="22504"/>
                  </a:lnTo>
                  <a:lnTo>
                    <a:pt x="7492" y="23139"/>
                  </a:lnTo>
                  <a:lnTo>
                    <a:pt x="10896" y="23571"/>
                  </a:lnTo>
                  <a:lnTo>
                    <a:pt x="10985" y="24612"/>
                  </a:lnTo>
                  <a:lnTo>
                    <a:pt x="1968" y="25374"/>
                  </a:lnTo>
                  <a:lnTo>
                    <a:pt x="1879" y="24320"/>
                  </a:lnTo>
                  <a:lnTo>
                    <a:pt x="4902" y="23583"/>
                  </a:lnTo>
                  <a:lnTo>
                    <a:pt x="5384" y="22580"/>
                  </a:lnTo>
                  <a:lnTo>
                    <a:pt x="88" y="3098"/>
                  </a:lnTo>
                  <a:lnTo>
                    <a:pt x="0" y="2044"/>
                  </a:lnTo>
                  <a:lnTo>
                    <a:pt x="8089" y="1371"/>
                  </a:lnTo>
                  <a:lnTo>
                    <a:pt x="20713" y="16636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4" name="object 146">
              <a:extLst>
                <a:ext uri="{FF2B5EF4-FFF2-40B4-BE49-F238E27FC236}">
                  <a16:creationId xmlns:a16="http://schemas.microsoft.com/office/drawing/2014/main" id="{DF962BB1-4E46-4227-9E8B-70DD22AE9814}"/>
                </a:ext>
              </a:extLst>
            </p:cNvPr>
            <p:cNvSpPr/>
            <p:nvPr/>
          </p:nvSpPr>
          <p:spPr>
            <a:xfrm>
              <a:off x="8042511" y="6117865"/>
              <a:ext cx="22860" cy="24765"/>
            </a:xfrm>
            <a:custGeom>
              <a:avLst/>
              <a:gdLst/>
              <a:ahLst/>
              <a:cxnLst/>
              <a:rect l="l" t="t" r="r" b="b"/>
              <a:pathLst>
                <a:path w="22859" h="24765">
                  <a:moveTo>
                    <a:pt x="1981" y="0"/>
                  </a:moveTo>
                  <a:lnTo>
                    <a:pt x="0" y="6273"/>
                  </a:lnTo>
                  <a:lnTo>
                    <a:pt x="1155" y="6680"/>
                  </a:lnTo>
                  <a:lnTo>
                    <a:pt x="3022" y="4203"/>
                  </a:lnTo>
                  <a:lnTo>
                    <a:pt x="5676" y="1879"/>
                  </a:lnTo>
                  <a:lnTo>
                    <a:pt x="8889" y="1714"/>
                  </a:lnTo>
                  <a:lnTo>
                    <a:pt x="7531" y="22072"/>
                  </a:lnTo>
                  <a:lnTo>
                    <a:pt x="6680" y="22720"/>
                  </a:lnTo>
                  <a:lnTo>
                    <a:pt x="4381" y="22555"/>
                  </a:lnTo>
                  <a:lnTo>
                    <a:pt x="4317" y="23609"/>
                  </a:lnTo>
                  <a:lnTo>
                    <a:pt x="15735" y="24371"/>
                  </a:lnTo>
                  <a:lnTo>
                    <a:pt x="15798" y="23329"/>
                  </a:lnTo>
                  <a:lnTo>
                    <a:pt x="13512" y="23177"/>
                  </a:lnTo>
                  <a:lnTo>
                    <a:pt x="12750" y="22415"/>
                  </a:lnTo>
                  <a:lnTo>
                    <a:pt x="14122" y="2057"/>
                  </a:lnTo>
                  <a:lnTo>
                    <a:pt x="17183" y="2336"/>
                  </a:lnTo>
                  <a:lnTo>
                    <a:pt x="19811" y="5524"/>
                  </a:lnTo>
                  <a:lnTo>
                    <a:pt x="21196" y="8013"/>
                  </a:lnTo>
                  <a:lnTo>
                    <a:pt x="22390" y="7772"/>
                  </a:lnTo>
                  <a:lnTo>
                    <a:pt x="21094" y="1282"/>
                  </a:lnTo>
                  <a:lnTo>
                    <a:pt x="1981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5" name="object 147">
              <a:extLst>
                <a:ext uri="{FF2B5EF4-FFF2-40B4-BE49-F238E27FC236}">
                  <a16:creationId xmlns:a16="http://schemas.microsoft.com/office/drawing/2014/main" id="{D61A7AE9-E3E6-48EE-9D7B-AB252B9A9E8C}"/>
                </a:ext>
              </a:extLst>
            </p:cNvPr>
            <p:cNvSpPr/>
            <p:nvPr/>
          </p:nvSpPr>
          <p:spPr>
            <a:xfrm>
              <a:off x="8042511" y="6117865"/>
              <a:ext cx="22860" cy="24765"/>
            </a:xfrm>
            <a:custGeom>
              <a:avLst/>
              <a:gdLst/>
              <a:ahLst/>
              <a:cxnLst/>
              <a:rect l="l" t="t" r="r" b="b"/>
              <a:pathLst>
                <a:path w="22859" h="24765">
                  <a:moveTo>
                    <a:pt x="21094" y="1282"/>
                  </a:moveTo>
                  <a:lnTo>
                    <a:pt x="22390" y="7772"/>
                  </a:lnTo>
                  <a:lnTo>
                    <a:pt x="21196" y="8013"/>
                  </a:lnTo>
                  <a:lnTo>
                    <a:pt x="19811" y="5524"/>
                  </a:lnTo>
                  <a:lnTo>
                    <a:pt x="17183" y="2336"/>
                  </a:lnTo>
                  <a:lnTo>
                    <a:pt x="14122" y="2057"/>
                  </a:lnTo>
                  <a:lnTo>
                    <a:pt x="12903" y="20180"/>
                  </a:lnTo>
                  <a:lnTo>
                    <a:pt x="12750" y="22415"/>
                  </a:lnTo>
                  <a:lnTo>
                    <a:pt x="13512" y="23177"/>
                  </a:lnTo>
                  <a:lnTo>
                    <a:pt x="15798" y="23329"/>
                  </a:lnTo>
                  <a:lnTo>
                    <a:pt x="15735" y="24371"/>
                  </a:lnTo>
                  <a:lnTo>
                    <a:pt x="4317" y="23609"/>
                  </a:lnTo>
                  <a:lnTo>
                    <a:pt x="4381" y="22555"/>
                  </a:lnTo>
                  <a:lnTo>
                    <a:pt x="6680" y="22720"/>
                  </a:lnTo>
                  <a:lnTo>
                    <a:pt x="7531" y="22072"/>
                  </a:lnTo>
                  <a:lnTo>
                    <a:pt x="7670" y="19837"/>
                  </a:lnTo>
                  <a:lnTo>
                    <a:pt x="8889" y="1714"/>
                  </a:lnTo>
                  <a:lnTo>
                    <a:pt x="5676" y="1879"/>
                  </a:lnTo>
                  <a:lnTo>
                    <a:pt x="3022" y="4203"/>
                  </a:lnTo>
                  <a:lnTo>
                    <a:pt x="1155" y="6680"/>
                  </a:lnTo>
                  <a:lnTo>
                    <a:pt x="0" y="6273"/>
                  </a:lnTo>
                  <a:lnTo>
                    <a:pt x="1981" y="0"/>
                  </a:lnTo>
                  <a:lnTo>
                    <a:pt x="21094" y="1282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6" name="object 148">
              <a:extLst>
                <a:ext uri="{FF2B5EF4-FFF2-40B4-BE49-F238E27FC236}">
                  <a16:creationId xmlns:a16="http://schemas.microsoft.com/office/drawing/2014/main" id="{282B12B3-C8E3-4F56-8072-E036713ECD72}"/>
                </a:ext>
              </a:extLst>
            </p:cNvPr>
            <p:cNvSpPr/>
            <p:nvPr/>
          </p:nvSpPr>
          <p:spPr>
            <a:xfrm>
              <a:off x="8070139" y="6121375"/>
              <a:ext cx="26670" cy="27940"/>
            </a:xfrm>
            <a:custGeom>
              <a:avLst/>
              <a:gdLst/>
              <a:ahLst/>
              <a:cxnLst/>
              <a:rect l="l" t="t" r="r" b="b"/>
              <a:pathLst>
                <a:path w="26670" h="27940">
                  <a:moveTo>
                    <a:pt x="9944" y="24320"/>
                  </a:moveTo>
                  <a:lnTo>
                    <a:pt x="9779" y="25565"/>
                  </a:lnTo>
                  <a:lnTo>
                    <a:pt x="16878" y="27470"/>
                  </a:lnTo>
                  <a:lnTo>
                    <a:pt x="18898" y="25819"/>
                  </a:lnTo>
                  <a:lnTo>
                    <a:pt x="15557" y="25819"/>
                  </a:lnTo>
                  <a:lnTo>
                    <a:pt x="9944" y="24320"/>
                  </a:lnTo>
                  <a:close/>
                </a:path>
                <a:path w="26670" h="27940">
                  <a:moveTo>
                    <a:pt x="17295" y="2158"/>
                  </a:moveTo>
                  <a:lnTo>
                    <a:pt x="12471" y="2158"/>
                  </a:lnTo>
                  <a:lnTo>
                    <a:pt x="19329" y="3987"/>
                  </a:lnTo>
                  <a:lnTo>
                    <a:pt x="21018" y="7327"/>
                  </a:lnTo>
                  <a:lnTo>
                    <a:pt x="17754" y="19494"/>
                  </a:lnTo>
                  <a:lnTo>
                    <a:pt x="15557" y="25819"/>
                  </a:lnTo>
                  <a:lnTo>
                    <a:pt x="18898" y="25819"/>
                  </a:lnTo>
                  <a:lnTo>
                    <a:pt x="22644" y="22758"/>
                  </a:lnTo>
                  <a:lnTo>
                    <a:pt x="26149" y="9690"/>
                  </a:lnTo>
                  <a:lnTo>
                    <a:pt x="23101" y="3721"/>
                  </a:lnTo>
                  <a:lnTo>
                    <a:pt x="17295" y="2158"/>
                  </a:lnTo>
                  <a:close/>
                </a:path>
                <a:path w="26670" h="27940">
                  <a:moveTo>
                    <a:pt x="9271" y="0"/>
                  </a:moveTo>
                  <a:lnTo>
                    <a:pt x="3594" y="4406"/>
                  </a:lnTo>
                  <a:lnTo>
                    <a:pt x="0" y="17779"/>
                  </a:lnTo>
                  <a:lnTo>
                    <a:pt x="3035" y="23761"/>
                  </a:lnTo>
                  <a:lnTo>
                    <a:pt x="9779" y="25565"/>
                  </a:lnTo>
                  <a:lnTo>
                    <a:pt x="9944" y="24320"/>
                  </a:lnTo>
                  <a:lnTo>
                    <a:pt x="6604" y="23431"/>
                  </a:lnTo>
                  <a:lnTo>
                    <a:pt x="5194" y="19900"/>
                  </a:lnTo>
                  <a:lnTo>
                    <a:pt x="9283" y="4673"/>
                  </a:lnTo>
                  <a:lnTo>
                    <a:pt x="12471" y="2158"/>
                  </a:lnTo>
                  <a:lnTo>
                    <a:pt x="17295" y="2158"/>
                  </a:lnTo>
                  <a:lnTo>
                    <a:pt x="9271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7" name="object 149">
              <a:extLst>
                <a:ext uri="{FF2B5EF4-FFF2-40B4-BE49-F238E27FC236}">
                  <a16:creationId xmlns:a16="http://schemas.microsoft.com/office/drawing/2014/main" id="{E942C7B4-C2D2-4D02-AA65-F13026068D57}"/>
                </a:ext>
              </a:extLst>
            </p:cNvPr>
            <p:cNvSpPr/>
            <p:nvPr/>
          </p:nvSpPr>
          <p:spPr>
            <a:xfrm>
              <a:off x="8070139" y="6121375"/>
              <a:ext cx="26670" cy="27940"/>
            </a:xfrm>
            <a:custGeom>
              <a:avLst/>
              <a:gdLst/>
              <a:ahLst/>
              <a:cxnLst/>
              <a:rect l="l" t="t" r="r" b="b"/>
              <a:pathLst>
                <a:path w="26670" h="27940">
                  <a:moveTo>
                    <a:pt x="9944" y="24320"/>
                  </a:moveTo>
                  <a:lnTo>
                    <a:pt x="6604" y="23431"/>
                  </a:lnTo>
                  <a:lnTo>
                    <a:pt x="5194" y="19900"/>
                  </a:lnTo>
                  <a:lnTo>
                    <a:pt x="7277" y="12153"/>
                  </a:lnTo>
                  <a:lnTo>
                    <a:pt x="9283" y="4673"/>
                  </a:lnTo>
                  <a:lnTo>
                    <a:pt x="12471" y="2158"/>
                  </a:lnTo>
                  <a:lnTo>
                    <a:pt x="16027" y="3111"/>
                  </a:lnTo>
                  <a:lnTo>
                    <a:pt x="19329" y="3987"/>
                  </a:lnTo>
                  <a:lnTo>
                    <a:pt x="21018" y="7327"/>
                  </a:lnTo>
                  <a:lnTo>
                    <a:pt x="18884" y="15290"/>
                  </a:lnTo>
                  <a:lnTo>
                    <a:pt x="17754" y="19494"/>
                  </a:lnTo>
                  <a:lnTo>
                    <a:pt x="15557" y="25819"/>
                  </a:lnTo>
                  <a:lnTo>
                    <a:pt x="9944" y="24320"/>
                  </a:lnTo>
                  <a:lnTo>
                    <a:pt x="9779" y="25565"/>
                  </a:lnTo>
                  <a:lnTo>
                    <a:pt x="16878" y="27470"/>
                  </a:lnTo>
                  <a:lnTo>
                    <a:pt x="22644" y="22758"/>
                  </a:lnTo>
                  <a:lnTo>
                    <a:pt x="24320" y="16509"/>
                  </a:lnTo>
                  <a:lnTo>
                    <a:pt x="26149" y="9690"/>
                  </a:lnTo>
                  <a:lnTo>
                    <a:pt x="23101" y="3721"/>
                  </a:lnTo>
                  <a:lnTo>
                    <a:pt x="16154" y="1854"/>
                  </a:lnTo>
                  <a:lnTo>
                    <a:pt x="9271" y="0"/>
                  </a:lnTo>
                  <a:lnTo>
                    <a:pt x="3594" y="4406"/>
                  </a:lnTo>
                  <a:lnTo>
                    <a:pt x="1828" y="10985"/>
                  </a:lnTo>
                  <a:lnTo>
                    <a:pt x="0" y="17779"/>
                  </a:lnTo>
                  <a:lnTo>
                    <a:pt x="3035" y="23761"/>
                  </a:lnTo>
                  <a:lnTo>
                    <a:pt x="9779" y="25565"/>
                  </a:lnTo>
                  <a:lnTo>
                    <a:pt x="9944" y="24320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8" name="object 150">
              <a:extLst>
                <a:ext uri="{FF2B5EF4-FFF2-40B4-BE49-F238E27FC236}">
                  <a16:creationId xmlns:a16="http://schemas.microsoft.com/office/drawing/2014/main" id="{E33BB11C-0904-4237-81B3-92A43FF2371F}"/>
                </a:ext>
              </a:extLst>
            </p:cNvPr>
            <p:cNvSpPr/>
            <p:nvPr/>
          </p:nvSpPr>
          <p:spPr>
            <a:xfrm>
              <a:off x="8090814" y="6127865"/>
              <a:ext cx="26670" cy="26034"/>
            </a:xfrm>
            <a:custGeom>
              <a:avLst/>
              <a:gdLst/>
              <a:ahLst/>
              <a:cxnLst/>
              <a:rect l="l" t="t" r="r" b="b"/>
              <a:pathLst>
                <a:path w="26670" h="26034">
                  <a:moveTo>
                    <a:pt x="9207" y="0"/>
                  </a:moveTo>
                  <a:lnTo>
                    <a:pt x="8788" y="965"/>
                  </a:lnTo>
                  <a:lnTo>
                    <a:pt x="10909" y="1879"/>
                  </a:lnTo>
                  <a:lnTo>
                    <a:pt x="11366" y="2844"/>
                  </a:lnTo>
                  <a:lnTo>
                    <a:pt x="3530" y="21120"/>
                  </a:lnTo>
                  <a:lnTo>
                    <a:pt x="2527" y="21450"/>
                  </a:lnTo>
                  <a:lnTo>
                    <a:pt x="406" y="20548"/>
                  </a:lnTo>
                  <a:lnTo>
                    <a:pt x="0" y="21513"/>
                  </a:lnTo>
                  <a:lnTo>
                    <a:pt x="10553" y="26035"/>
                  </a:lnTo>
                  <a:lnTo>
                    <a:pt x="10960" y="25069"/>
                  </a:lnTo>
                  <a:lnTo>
                    <a:pt x="8839" y="24155"/>
                  </a:lnTo>
                  <a:lnTo>
                    <a:pt x="8356" y="23177"/>
                  </a:lnTo>
                  <a:lnTo>
                    <a:pt x="12064" y="14516"/>
                  </a:lnTo>
                  <a:lnTo>
                    <a:pt x="15976" y="16192"/>
                  </a:lnTo>
                  <a:lnTo>
                    <a:pt x="16941" y="17856"/>
                  </a:lnTo>
                  <a:lnTo>
                    <a:pt x="16116" y="20599"/>
                  </a:lnTo>
                  <a:lnTo>
                    <a:pt x="17259" y="21082"/>
                  </a:lnTo>
                  <a:lnTo>
                    <a:pt x="20916" y="12560"/>
                  </a:lnTo>
                  <a:lnTo>
                    <a:pt x="19761" y="12065"/>
                  </a:lnTo>
                  <a:lnTo>
                    <a:pt x="18059" y="14262"/>
                  </a:lnTo>
                  <a:lnTo>
                    <a:pt x="16573" y="14808"/>
                  </a:lnTo>
                  <a:lnTo>
                    <a:pt x="12661" y="13131"/>
                  </a:lnTo>
                  <a:lnTo>
                    <a:pt x="16192" y="4902"/>
                  </a:lnTo>
                  <a:lnTo>
                    <a:pt x="16573" y="4508"/>
                  </a:lnTo>
                  <a:lnTo>
                    <a:pt x="22097" y="6870"/>
                  </a:lnTo>
                  <a:lnTo>
                    <a:pt x="24104" y="10452"/>
                  </a:lnTo>
                  <a:lnTo>
                    <a:pt x="24714" y="13906"/>
                  </a:lnTo>
                  <a:lnTo>
                    <a:pt x="25882" y="13957"/>
                  </a:lnTo>
                  <a:lnTo>
                    <a:pt x="26669" y="7480"/>
                  </a:lnTo>
                  <a:lnTo>
                    <a:pt x="9207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9" name="object 151">
              <a:extLst>
                <a:ext uri="{FF2B5EF4-FFF2-40B4-BE49-F238E27FC236}">
                  <a16:creationId xmlns:a16="http://schemas.microsoft.com/office/drawing/2014/main" id="{8ED5A204-680C-4327-96C3-0DCE28F7A35C}"/>
                </a:ext>
              </a:extLst>
            </p:cNvPr>
            <p:cNvSpPr/>
            <p:nvPr/>
          </p:nvSpPr>
          <p:spPr>
            <a:xfrm>
              <a:off x="8090814" y="6127865"/>
              <a:ext cx="26670" cy="26034"/>
            </a:xfrm>
            <a:custGeom>
              <a:avLst/>
              <a:gdLst/>
              <a:ahLst/>
              <a:cxnLst/>
              <a:rect l="l" t="t" r="r" b="b"/>
              <a:pathLst>
                <a:path w="26670" h="26034">
                  <a:moveTo>
                    <a:pt x="12661" y="13131"/>
                  </a:moveTo>
                  <a:lnTo>
                    <a:pt x="14071" y="13741"/>
                  </a:lnTo>
                  <a:lnTo>
                    <a:pt x="16573" y="14808"/>
                  </a:lnTo>
                  <a:lnTo>
                    <a:pt x="18059" y="14262"/>
                  </a:lnTo>
                  <a:lnTo>
                    <a:pt x="19761" y="12065"/>
                  </a:lnTo>
                  <a:lnTo>
                    <a:pt x="20916" y="12560"/>
                  </a:lnTo>
                  <a:lnTo>
                    <a:pt x="17259" y="21082"/>
                  </a:lnTo>
                  <a:lnTo>
                    <a:pt x="16116" y="20599"/>
                  </a:lnTo>
                  <a:lnTo>
                    <a:pt x="16941" y="17856"/>
                  </a:lnTo>
                  <a:lnTo>
                    <a:pt x="15976" y="16192"/>
                  </a:lnTo>
                  <a:lnTo>
                    <a:pt x="13754" y="15227"/>
                  </a:lnTo>
                  <a:lnTo>
                    <a:pt x="12064" y="14516"/>
                  </a:lnTo>
                  <a:lnTo>
                    <a:pt x="9232" y="21132"/>
                  </a:lnTo>
                  <a:lnTo>
                    <a:pt x="8356" y="23177"/>
                  </a:lnTo>
                  <a:lnTo>
                    <a:pt x="8839" y="24155"/>
                  </a:lnTo>
                  <a:lnTo>
                    <a:pt x="10960" y="25069"/>
                  </a:lnTo>
                  <a:lnTo>
                    <a:pt x="10553" y="26035"/>
                  </a:lnTo>
                  <a:lnTo>
                    <a:pt x="0" y="21513"/>
                  </a:lnTo>
                  <a:lnTo>
                    <a:pt x="406" y="20548"/>
                  </a:lnTo>
                  <a:lnTo>
                    <a:pt x="2527" y="21450"/>
                  </a:lnTo>
                  <a:lnTo>
                    <a:pt x="3530" y="21120"/>
                  </a:lnTo>
                  <a:lnTo>
                    <a:pt x="4419" y="19062"/>
                  </a:lnTo>
                  <a:lnTo>
                    <a:pt x="10490" y="4889"/>
                  </a:lnTo>
                  <a:lnTo>
                    <a:pt x="11366" y="2844"/>
                  </a:lnTo>
                  <a:lnTo>
                    <a:pt x="10909" y="1879"/>
                  </a:lnTo>
                  <a:lnTo>
                    <a:pt x="8788" y="965"/>
                  </a:lnTo>
                  <a:lnTo>
                    <a:pt x="9207" y="0"/>
                  </a:lnTo>
                  <a:lnTo>
                    <a:pt x="26669" y="7480"/>
                  </a:lnTo>
                  <a:lnTo>
                    <a:pt x="25882" y="13957"/>
                  </a:lnTo>
                  <a:lnTo>
                    <a:pt x="24714" y="13906"/>
                  </a:lnTo>
                  <a:lnTo>
                    <a:pt x="24104" y="10452"/>
                  </a:lnTo>
                  <a:lnTo>
                    <a:pt x="22097" y="6870"/>
                  </a:lnTo>
                  <a:lnTo>
                    <a:pt x="18745" y="5435"/>
                  </a:lnTo>
                  <a:lnTo>
                    <a:pt x="16573" y="4508"/>
                  </a:lnTo>
                  <a:lnTo>
                    <a:pt x="16192" y="4902"/>
                  </a:lnTo>
                  <a:lnTo>
                    <a:pt x="15341" y="6870"/>
                  </a:lnTo>
                  <a:lnTo>
                    <a:pt x="12661" y="13131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0" name="object 152">
              <a:extLst>
                <a:ext uri="{FF2B5EF4-FFF2-40B4-BE49-F238E27FC236}">
                  <a16:creationId xmlns:a16="http://schemas.microsoft.com/office/drawing/2014/main" id="{FE0DA1D4-0026-4F9B-9008-4ADD05252B27}"/>
                </a:ext>
              </a:extLst>
            </p:cNvPr>
            <p:cNvSpPr/>
            <p:nvPr/>
          </p:nvSpPr>
          <p:spPr>
            <a:xfrm>
              <a:off x="8116591" y="6142200"/>
              <a:ext cx="29845" cy="30480"/>
            </a:xfrm>
            <a:custGeom>
              <a:avLst/>
              <a:gdLst/>
              <a:ahLst/>
              <a:cxnLst/>
              <a:rect l="l" t="t" r="r" b="b"/>
              <a:pathLst>
                <a:path w="29845" h="30479">
                  <a:moveTo>
                    <a:pt x="13423" y="0"/>
                  </a:moveTo>
                  <a:lnTo>
                    <a:pt x="12814" y="863"/>
                  </a:lnTo>
                  <a:lnTo>
                    <a:pt x="14706" y="2184"/>
                  </a:lnTo>
                  <a:lnTo>
                    <a:pt x="14960" y="3225"/>
                  </a:lnTo>
                  <a:lnTo>
                    <a:pt x="3556" y="19519"/>
                  </a:lnTo>
                  <a:lnTo>
                    <a:pt x="2501" y="19634"/>
                  </a:lnTo>
                  <a:lnTo>
                    <a:pt x="609" y="18313"/>
                  </a:lnTo>
                  <a:lnTo>
                    <a:pt x="0" y="19177"/>
                  </a:lnTo>
                  <a:lnTo>
                    <a:pt x="15798" y="30238"/>
                  </a:lnTo>
                  <a:lnTo>
                    <a:pt x="21183" y="26746"/>
                  </a:lnTo>
                  <a:lnTo>
                    <a:pt x="20726" y="25869"/>
                  </a:lnTo>
                  <a:lnTo>
                    <a:pt x="17018" y="26835"/>
                  </a:lnTo>
                  <a:lnTo>
                    <a:pt x="12827" y="26631"/>
                  </a:lnTo>
                  <a:lnTo>
                    <a:pt x="7708" y="23050"/>
                  </a:lnTo>
                  <a:lnTo>
                    <a:pt x="8280" y="21920"/>
                  </a:lnTo>
                  <a:lnTo>
                    <a:pt x="13208" y="14871"/>
                  </a:lnTo>
                  <a:lnTo>
                    <a:pt x="16344" y="17081"/>
                  </a:lnTo>
                  <a:lnTo>
                    <a:pt x="17272" y="18605"/>
                  </a:lnTo>
                  <a:lnTo>
                    <a:pt x="16129" y="21755"/>
                  </a:lnTo>
                  <a:lnTo>
                    <a:pt x="17145" y="22466"/>
                  </a:lnTo>
                  <a:lnTo>
                    <a:pt x="22440" y="14897"/>
                  </a:lnTo>
                  <a:lnTo>
                    <a:pt x="21424" y="14173"/>
                  </a:lnTo>
                  <a:lnTo>
                    <a:pt x="18669" y="16205"/>
                  </a:lnTo>
                  <a:lnTo>
                    <a:pt x="17208" y="15836"/>
                  </a:lnTo>
                  <a:lnTo>
                    <a:pt x="14071" y="13639"/>
                  </a:lnTo>
                  <a:lnTo>
                    <a:pt x="19545" y="5803"/>
                  </a:lnTo>
                  <a:lnTo>
                    <a:pt x="24866" y="9525"/>
                  </a:lnTo>
                  <a:lnTo>
                    <a:pt x="26238" y="13373"/>
                  </a:lnTo>
                  <a:lnTo>
                    <a:pt x="26390" y="16891"/>
                  </a:lnTo>
                  <a:lnTo>
                    <a:pt x="27444" y="17106"/>
                  </a:lnTo>
                  <a:lnTo>
                    <a:pt x="29222" y="11061"/>
                  </a:lnTo>
                  <a:lnTo>
                    <a:pt x="13423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1" name="object 153">
              <a:extLst>
                <a:ext uri="{FF2B5EF4-FFF2-40B4-BE49-F238E27FC236}">
                  <a16:creationId xmlns:a16="http://schemas.microsoft.com/office/drawing/2014/main" id="{6F3C28FB-CEFC-4241-A4D5-8A37ED150899}"/>
                </a:ext>
              </a:extLst>
            </p:cNvPr>
            <p:cNvSpPr/>
            <p:nvPr/>
          </p:nvSpPr>
          <p:spPr>
            <a:xfrm>
              <a:off x="8116591" y="6142200"/>
              <a:ext cx="29845" cy="30480"/>
            </a:xfrm>
            <a:custGeom>
              <a:avLst/>
              <a:gdLst/>
              <a:ahLst/>
              <a:cxnLst/>
              <a:rect l="l" t="t" r="r" b="b"/>
              <a:pathLst>
                <a:path w="29845" h="30479">
                  <a:moveTo>
                    <a:pt x="609" y="18313"/>
                  </a:moveTo>
                  <a:lnTo>
                    <a:pt x="2501" y="19634"/>
                  </a:lnTo>
                  <a:lnTo>
                    <a:pt x="3556" y="19519"/>
                  </a:lnTo>
                  <a:lnTo>
                    <a:pt x="4838" y="17678"/>
                  </a:lnTo>
                  <a:lnTo>
                    <a:pt x="13677" y="5054"/>
                  </a:lnTo>
                  <a:lnTo>
                    <a:pt x="14960" y="3225"/>
                  </a:lnTo>
                  <a:lnTo>
                    <a:pt x="14706" y="2184"/>
                  </a:lnTo>
                  <a:lnTo>
                    <a:pt x="12814" y="863"/>
                  </a:lnTo>
                  <a:lnTo>
                    <a:pt x="13423" y="0"/>
                  </a:lnTo>
                  <a:lnTo>
                    <a:pt x="29222" y="11061"/>
                  </a:lnTo>
                  <a:lnTo>
                    <a:pt x="27444" y="17106"/>
                  </a:lnTo>
                  <a:lnTo>
                    <a:pt x="26390" y="16891"/>
                  </a:lnTo>
                  <a:lnTo>
                    <a:pt x="26238" y="13373"/>
                  </a:lnTo>
                  <a:lnTo>
                    <a:pt x="24866" y="9525"/>
                  </a:lnTo>
                  <a:lnTo>
                    <a:pt x="21882" y="7442"/>
                  </a:lnTo>
                  <a:lnTo>
                    <a:pt x="19545" y="5803"/>
                  </a:lnTo>
                  <a:lnTo>
                    <a:pt x="18999" y="6591"/>
                  </a:lnTo>
                  <a:lnTo>
                    <a:pt x="17640" y="8534"/>
                  </a:lnTo>
                  <a:lnTo>
                    <a:pt x="14071" y="13639"/>
                  </a:lnTo>
                  <a:lnTo>
                    <a:pt x="14592" y="14008"/>
                  </a:lnTo>
                  <a:lnTo>
                    <a:pt x="17208" y="15836"/>
                  </a:lnTo>
                  <a:lnTo>
                    <a:pt x="18669" y="16205"/>
                  </a:lnTo>
                  <a:lnTo>
                    <a:pt x="21424" y="14173"/>
                  </a:lnTo>
                  <a:lnTo>
                    <a:pt x="22440" y="14897"/>
                  </a:lnTo>
                  <a:lnTo>
                    <a:pt x="17145" y="22466"/>
                  </a:lnTo>
                  <a:lnTo>
                    <a:pt x="16129" y="21755"/>
                  </a:lnTo>
                  <a:lnTo>
                    <a:pt x="17272" y="18605"/>
                  </a:lnTo>
                  <a:lnTo>
                    <a:pt x="16344" y="17081"/>
                  </a:lnTo>
                  <a:lnTo>
                    <a:pt x="13779" y="15278"/>
                  </a:lnTo>
                  <a:lnTo>
                    <a:pt x="13208" y="14871"/>
                  </a:lnTo>
                  <a:lnTo>
                    <a:pt x="9334" y="20396"/>
                  </a:lnTo>
                  <a:lnTo>
                    <a:pt x="8280" y="21920"/>
                  </a:lnTo>
                  <a:lnTo>
                    <a:pt x="7708" y="23050"/>
                  </a:lnTo>
                  <a:lnTo>
                    <a:pt x="9575" y="24345"/>
                  </a:lnTo>
                  <a:lnTo>
                    <a:pt x="12827" y="26631"/>
                  </a:lnTo>
                  <a:lnTo>
                    <a:pt x="17018" y="26835"/>
                  </a:lnTo>
                  <a:lnTo>
                    <a:pt x="20726" y="25869"/>
                  </a:lnTo>
                  <a:lnTo>
                    <a:pt x="21183" y="26746"/>
                  </a:lnTo>
                  <a:lnTo>
                    <a:pt x="15798" y="30238"/>
                  </a:lnTo>
                  <a:lnTo>
                    <a:pt x="0" y="19177"/>
                  </a:lnTo>
                  <a:lnTo>
                    <a:pt x="609" y="18313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2" name="object 154">
              <a:extLst>
                <a:ext uri="{FF2B5EF4-FFF2-40B4-BE49-F238E27FC236}">
                  <a16:creationId xmlns:a16="http://schemas.microsoft.com/office/drawing/2014/main" id="{DC881582-3FB4-4FE0-882F-5775F8AC4C48}"/>
                </a:ext>
              </a:extLst>
            </p:cNvPr>
            <p:cNvSpPr/>
            <p:nvPr/>
          </p:nvSpPr>
          <p:spPr>
            <a:xfrm>
              <a:off x="8134746" y="6157304"/>
              <a:ext cx="34290" cy="31750"/>
            </a:xfrm>
            <a:custGeom>
              <a:avLst/>
              <a:gdLst/>
              <a:ahLst/>
              <a:cxnLst/>
              <a:rect l="l" t="t" r="r" b="b"/>
              <a:pathLst>
                <a:path w="34290" h="31750">
                  <a:moveTo>
                    <a:pt x="16370" y="0"/>
                  </a:moveTo>
                  <a:lnTo>
                    <a:pt x="15633" y="749"/>
                  </a:lnTo>
                  <a:lnTo>
                    <a:pt x="16433" y="1943"/>
                  </a:lnTo>
                  <a:lnTo>
                    <a:pt x="16840" y="3441"/>
                  </a:lnTo>
                  <a:lnTo>
                    <a:pt x="16687" y="4876"/>
                  </a:lnTo>
                  <a:lnTo>
                    <a:pt x="4343" y="17487"/>
                  </a:lnTo>
                  <a:lnTo>
                    <a:pt x="3263" y="17767"/>
                  </a:lnTo>
                  <a:lnTo>
                    <a:pt x="736" y="15976"/>
                  </a:lnTo>
                  <a:lnTo>
                    <a:pt x="0" y="16725"/>
                  </a:lnTo>
                  <a:lnTo>
                    <a:pt x="6464" y="23050"/>
                  </a:lnTo>
                  <a:lnTo>
                    <a:pt x="7200" y="22288"/>
                  </a:lnTo>
                  <a:lnTo>
                    <a:pt x="5295" y="19443"/>
                  </a:lnTo>
                  <a:lnTo>
                    <a:pt x="5486" y="18694"/>
                  </a:lnTo>
                  <a:lnTo>
                    <a:pt x="16510" y="7429"/>
                  </a:lnTo>
                  <a:lnTo>
                    <a:pt x="12979" y="29425"/>
                  </a:lnTo>
                  <a:lnTo>
                    <a:pt x="15062" y="31457"/>
                  </a:lnTo>
                  <a:lnTo>
                    <a:pt x="29489" y="16713"/>
                  </a:lnTo>
                  <a:lnTo>
                    <a:pt x="30543" y="16052"/>
                  </a:lnTo>
                  <a:lnTo>
                    <a:pt x="33070" y="17805"/>
                  </a:lnTo>
                  <a:lnTo>
                    <a:pt x="33807" y="17056"/>
                  </a:lnTo>
                  <a:lnTo>
                    <a:pt x="27787" y="11176"/>
                  </a:lnTo>
                  <a:lnTo>
                    <a:pt x="27051" y="11925"/>
                  </a:lnTo>
                  <a:lnTo>
                    <a:pt x="29108" y="14351"/>
                  </a:lnTo>
                  <a:lnTo>
                    <a:pt x="28219" y="15621"/>
                  </a:lnTo>
                  <a:lnTo>
                    <a:pt x="18859" y="25196"/>
                  </a:lnTo>
                  <a:lnTo>
                    <a:pt x="22174" y="5676"/>
                  </a:lnTo>
                  <a:lnTo>
                    <a:pt x="16370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3" name="object 155">
              <a:extLst>
                <a:ext uri="{FF2B5EF4-FFF2-40B4-BE49-F238E27FC236}">
                  <a16:creationId xmlns:a16="http://schemas.microsoft.com/office/drawing/2014/main" id="{F6FF1699-30E8-4CD7-9AAB-6796AFFFEAFF}"/>
                </a:ext>
              </a:extLst>
            </p:cNvPr>
            <p:cNvSpPr/>
            <p:nvPr/>
          </p:nvSpPr>
          <p:spPr>
            <a:xfrm>
              <a:off x="8134746" y="6157304"/>
              <a:ext cx="34290" cy="31750"/>
            </a:xfrm>
            <a:custGeom>
              <a:avLst/>
              <a:gdLst/>
              <a:ahLst/>
              <a:cxnLst/>
              <a:rect l="l" t="t" r="r" b="b"/>
              <a:pathLst>
                <a:path w="34290" h="31750">
                  <a:moveTo>
                    <a:pt x="18859" y="25196"/>
                  </a:moveTo>
                  <a:lnTo>
                    <a:pt x="26327" y="17564"/>
                  </a:lnTo>
                  <a:lnTo>
                    <a:pt x="28219" y="15621"/>
                  </a:lnTo>
                  <a:lnTo>
                    <a:pt x="29108" y="14351"/>
                  </a:lnTo>
                  <a:lnTo>
                    <a:pt x="27051" y="11925"/>
                  </a:lnTo>
                  <a:lnTo>
                    <a:pt x="27787" y="11176"/>
                  </a:lnTo>
                  <a:lnTo>
                    <a:pt x="33807" y="17056"/>
                  </a:lnTo>
                  <a:lnTo>
                    <a:pt x="33070" y="17805"/>
                  </a:lnTo>
                  <a:lnTo>
                    <a:pt x="30543" y="16052"/>
                  </a:lnTo>
                  <a:lnTo>
                    <a:pt x="29489" y="16713"/>
                  </a:lnTo>
                  <a:lnTo>
                    <a:pt x="27508" y="18732"/>
                  </a:lnTo>
                  <a:lnTo>
                    <a:pt x="15062" y="31457"/>
                  </a:lnTo>
                  <a:lnTo>
                    <a:pt x="12979" y="29425"/>
                  </a:lnTo>
                  <a:lnTo>
                    <a:pt x="16510" y="7429"/>
                  </a:lnTo>
                  <a:lnTo>
                    <a:pt x="7937" y="16205"/>
                  </a:lnTo>
                  <a:lnTo>
                    <a:pt x="5486" y="18694"/>
                  </a:lnTo>
                  <a:lnTo>
                    <a:pt x="5295" y="19443"/>
                  </a:lnTo>
                  <a:lnTo>
                    <a:pt x="7200" y="22288"/>
                  </a:lnTo>
                  <a:lnTo>
                    <a:pt x="6464" y="23050"/>
                  </a:lnTo>
                  <a:lnTo>
                    <a:pt x="0" y="16725"/>
                  </a:lnTo>
                  <a:lnTo>
                    <a:pt x="736" y="15976"/>
                  </a:lnTo>
                  <a:lnTo>
                    <a:pt x="3263" y="17767"/>
                  </a:lnTo>
                  <a:lnTo>
                    <a:pt x="4343" y="17487"/>
                  </a:lnTo>
                  <a:lnTo>
                    <a:pt x="6413" y="15392"/>
                  </a:lnTo>
                  <a:lnTo>
                    <a:pt x="16687" y="4876"/>
                  </a:lnTo>
                  <a:lnTo>
                    <a:pt x="16840" y="3441"/>
                  </a:lnTo>
                  <a:lnTo>
                    <a:pt x="16433" y="1943"/>
                  </a:lnTo>
                  <a:lnTo>
                    <a:pt x="15633" y="749"/>
                  </a:lnTo>
                  <a:lnTo>
                    <a:pt x="16370" y="0"/>
                  </a:lnTo>
                  <a:lnTo>
                    <a:pt x="22174" y="5676"/>
                  </a:lnTo>
                  <a:lnTo>
                    <a:pt x="18859" y="25196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4" name="object 156">
              <a:extLst>
                <a:ext uri="{FF2B5EF4-FFF2-40B4-BE49-F238E27FC236}">
                  <a16:creationId xmlns:a16="http://schemas.microsoft.com/office/drawing/2014/main" id="{F9DB3AC8-5FAB-4310-AC04-35831CBA7664}"/>
                </a:ext>
              </a:extLst>
            </p:cNvPr>
            <p:cNvSpPr/>
            <p:nvPr/>
          </p:nvSpPr>
          <p:spPr>
            <a:xfrm>
              <a:off x="8152048" y="6177175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18783" y="0"/>
                  </a:moveTo>
                  <a:lnTo>
                    <a:pt x="17932" y="622"/>
                  </a:lnTo>
                  <a:lnTo>
                    <a:pt x="19304" y="2476"/>
                  </a:lnTo>
                  <a:lnTo>
                    <a:pt x="19227" y="3530"/>
                  </a:lnTo>
                  <a:lnTo>
                    <a:pt x="3263" y="15405"/>
                  </a:lnTo>
                  <a:lnTo>
                    <a:pt x="2222" y="15176"/>
                  </a:lnTo>
                  <a:lnTo>
                    <a:pt x="850" y="13335"/>
                  </a:lnTo>
                  <a:lnTo>
                    <a:pt x="0" y="13957"/>
                  </a:lnTo>
                  <a:lnTo>
                    <a:pt x="11506" y="29438"/>
                  </a:lnTo>
                  <a:lnTo>
                    <a:pt x="17716" y="27813"/>
                  </a:lnTo>
                  <a:lnTo>
                    <a:pt x="17551" y="26847"/>
                  </a:lnTo>
                  <a:lnTo>
                    <a:pt x="13728" y="26581"/>
                  </a:lnTo>
                  <a:lnTo>
                    <a:pt x="9817" y="25069"/>
                  </a:lnTo>
                  <a:lnTo>
                    <a:pt x="6108" y="20066"/>
                  </a:lnTo>
                  <a:lnTo>
                    <a:pt x="6985" y="19177"/>
                  </a:lnTo>
                  <a:lnTo>
                    <a:pt x="13881" y="14033"/>
                  </a:lnTo>
                  <a:lnTo>
                    <a:pt x="16179" y="17119"/>
                  </a:lnTo>
                  <a:lnTo>
                    <a:pt x="16560" y="18859"/>
                  </a:lnTo>
                  <a:lnTo>
                    <a:pt x="14490" y="21475"/>
                  </a:lnTo>
                  <a:lnTo>
                    <a:pt x="15227" y="22491"/>
                  </a:lnTo>
                  <a:lnTo>
                    <a:pt x="22644" y="16967"/>
                  </a:lnTo>
                  <a:lnTo>
                    <a:pt x="21894" y="15963"/>
                  </a:lnTo>
                  <a:lnTo>
                    <a:pt x="18656" y="17030"/>
                  </a:lnTo>
                  <a:lnTo>
                    <a:pt x="17386" y="16217"/>
                  </a:lnTo>
                  <a:lnTo>
                    <a:pt x="15087" y="13144"/>
                  </a:lnTo>
                  <a:lnTo>
                    <a:pt x="22758" y="7442"/>
                  </a:lnTo>
                  <a:lnTo>
                    <a:pt x="26644" y="12636"/>
                  </a:lnTo>
                  <a:lnTo>
                    <a:pt x="26720" y="16725"/>
                  </a:lnTo>
                  <a:lnTo>
                    <a:pt x="25768" y="20104"/>
                  </a:lnTo>
                  <a:lnTo>
                    <a:pt x="26695" y="20650"/>
                  </a:lnTo>
                  <a:lnTo>
                    <a:pt x="30289" y="15468"/>
                  </a:lnTo>
                  <a:lnTo>
                    <a:pt x="18783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5" name="object 157">
              <a:extLst>
                <a:ext uri="{FF2B5EF4-FFF2-40B4-BE49-F238E27FC236}">
                  <a16:creationId xmlns:a16="http://schemas.microsoft.com/office/drawing/2014/main" id="{5CDD13A3-6AD6-4DFA-BF04-B6A7AD8ED131}"/>
                </a:ext>
              </a:extLst>
            </p:cNvPr>
            <p:cNvSpPr/>
            <p:nvPr/>
          </p:nvSpPr>
          <p:spPr>
            <a:xfrm>
              <a:off x="8152048" y="6177175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850" y="13335"/>
                  </a:moveTo>
                  <a:lnTo>
                    <a:pt x="2222" y="15176"/>
                  </a:lnTo>
                  <a:lnTo>
                    <a:pt x="3263" y="15405"/>
                  </a:lnTo>
                  <a:lnTo>
                    <a:pt x="5067" y="14071"/>
                  </a:lnTo>
                  <a:lnTo>
                    <a:pt x="17424" y="4864"/>
                  </a:lnTo>
                  <a:lnTo>
                    <a:pt x="19227" y="3530"/>
                  </a:lnTo>
                  <a:lnTo>
                    <a:pt x="19304" y="2476"/>
                  </a:lnTo>
                  <a:lnTo>
                    <a:pt x="17932" y="622"/>
                  </a:lnTo>
                  <a:lnTo>
                    <a:pt x="18783" y="0"/>
                  </a:lnTo>
                  <a:lnTo>
                    <a:pt x="30289" y="15468"/>
                  </a:lnTo>
                  <a:lnTo>
                    <a:pt x="26695" y="20650"/>
                  </a:lnTo>
                  <a:lnTo>
                    <a:pt x="25768" y="20104"/>
                  </a:lnTo>
                  <a:lnTo>
                    <a:pt x="26720" y="16725"/>
                  </a:lnTo>
                  <a:lnTo>
                    <a:pt x="26644" y="12636"/>
                  </a:lnTo>
                  <a:lnTo>
                    <a:pt x="24460" y="9715"/>
                  </a:lnTo>
                  <a:lnTo>
                    <a:pt x="22758" y="7442"/>
                  </a:lnTo>
                  <a:lnTo>
                    <a:pt x="21996" y="8013"/>
                  </a:lnTo>
                  <a:lnTo>
                    <a:pt x="20091" y="9423"/>
                  </a:lnTo>
                  <a:lnTo>
                    <a:pt x="15087" y="13144"/>
                  </a:lnTo>
                  <a:lnTo>
                    <a:pt x="15468" y="13652"/>
                  </a:lnTo>
                  <a:lnTo>
                    <a:pt x="17386" y="16217"/>
                  </a:lnTo>
                  <a:lnTo>
                    <a:pt x="18656" y="17030"/>
                  </a:lnTo>
                  <a:lnTo>
                    <a:pt x="21894" y="15963"/>
                  </a:lnTo>
                  <a:lnTo>
                    <a:pt x="22644" y="16967"/>
                  </a:lnTo>
                  <a:lnTo>
                    <a:pt x="15227" y="22491"/>
                  </a:lnTo>
                  <a:lnTo>
                    <a:pt x="14490" y="21475"/>
                  </a:lnTo>
                  <a:lnTo>
                    <a:pt x="16560" y="18859"/>
                  </a:lnTo>
                  <a:lnTo>
                    <a:pt x="16179" y="17119"/>
                  </a:lnTo>
                  <a:lnTo>
                    <a:pt x="14300" y="14605"/>
                  </a:lnTo>
                  <a:lnTo>
                    <a:pt x="13881" y="14033"/>
                  </a:lnTo>
                  <a:lnTo>
                    <a:pt x="8470" y="18059"/>
                  </a:lnTo>
                  <a:lnTo>
                    <a:pt x="6985" y="19177"/>
                  </a:lnTo>
                  <a:lnTo>
                    <a:pt x="6108" y="20066"/>
                  </a:lnTo>
                  <a:lnTo>
                    <a:pt x="7454" y="21894"/>
                  </a:lnTo>
                  <a:lnTo>
                    <a:pt x="9817" y="25069"/>
                  </a:lnTo>
                  <a:lnTo>
                    <a:pt x="13728" y="26581"/>
                  </a:lnTo>
                  <a:lnTo>
                    <a:pt x="17551" y="26847"/>
                  </a:lnTo>
                  <a:lnTo>
                    <a:pt x="17716" y="27813"/>
                  </a:lnTo>
                  <a:lnTo>
                    <a:pt x="11506" y="29438"/>
                  </a:lnTo>
                  <a:lnTo>
                    <a:pt x="0" y="13957"/>
                  </a:lnTo>
                  <a:lnTo>
                    <a:pt x="850" y="13335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6" name="object 158">
              <a:extLst>
                <a:ext uri="{FF2B5EF4-FFF2-40B4-BE49-F238E27FC236}">
                  <a16:creationId xmlns:a16="http://schemas.microsoft.com/office/drawing/2014/main" id="{FA3149F8-7B49-4F12-BF58-D54DAA2A3672}"/>
                </a:ext>
              </a:extLst>
            </p:cNvPr>
            <p:cNvSpPr/>
            <p:nvPr/>
          </p:nvSpPr>
          <p:spPr>
            <a:xfrm>
              <a:off x="8165053" y="6197715"/>
              <a:ext cx="29845" cy="32384"/>
            </a:xfrm>
            <a:custGeom>
              <a:avLst/>
              <a:gdLst/>
              <a:ahLst/>
              <a:cxnLst/>
              <a:rect l="l" t="t" r="r" b="b"/>
              <a:pathLst>
                <a:path w="29845" h="32384">
                  <a:moveTo>
                    <a:pt x="15087" y="12395"/>
                  </a:moveTo>
                  <a:lnTo>
                    <a:pt x="13755" y="13096"/>
                  </a:lnTo>
                  <a:lnTo>
                    <a:pt x="14389" y="14287"/>
                  </a:lnTo>
                  <a:lnTo>
                    <a:pt x="14655" y="15544"/>
                  </a:lnTo>
                  <a:lnTo>
                    <a:pt x="9232" y="22694"/>
                  </a:lnTo>
                  <a:lnTo>
                    <a:pt x="8661" y="23520"/>
                  </a:lnTo>
                  <a:lnTo>
                    <a:pt x="7988" y="24307"/>
                  </a:lnTo>
                  <a:lnTo>
                    <a:pt x="7505" y="25171"/>
                  </a:lnTo>
                  <a:lnTo>
                    <a:pt x="11188" y="32156"/>
                  </a:lnTo>
                  <a:lnTo>
                    <a:pt x="12115" y="31661"/>
                  </a:lnTo>
                  <a:lnTo>
                    <a:pt x="11010" y="29146"/>
                  </a:lnTo>
                  <a:lnTo>
                    <a:pt x="13645" y="25171"/>
                  </a:lnTo>
                  <a:lnTo>
                    <a:pt x="16600" y="21031"/>
                  </a:lnTo>
                  <a:lnTo>
                    <a:pt x="17310" y="20116"/>
                  </a:lnTo>
                  <a:lnTo>
                    <a:pt x="17437" y="18923"/>
                  </a:lnTo>
                  <a:lnTo>
                    <a:pt x="28696" y="18923"/>
                  </a:lnTo>
                  <a:lnTo>
                    <a:pt x="28866" y="18211"/>
                  </a:lnTo>
                  <a:lnTo>
                    <a:pt x="20104" y="18211"/>
                  </a:lnTo>
                  <a:lnTo>
                    <a:pt x="17818" y="17602"/>
                  </a:lnTo>
                  <a:lnTo>
                    <a:pt x="15087" y="12395"/>
                  </a:lnTo>
                  <a:close/>
                </a:path>
                <a:path w="29845" h="32384">
                  <a:moveTo>
                    <a:pt x="28696" y="18923"/>
                  </a:moveTo>
                  <a:lnTo>
                    <a:pt x="17437" y="18923"/>
                  </a:lnTo>
                  <a:lnTo>
                    <a:pt x="19380" y="21374"/>
                  </a:lnTo>
                  <a:lnTo>
                    <a:pt x="22301" y="23342"/>
                  </a:lnTo>
                  <a:lnTo>
                    <a:pt x="28409" y="20116"/>
                  </a:lnTo>
                  <a:lnTo>
                    <a:pt x="28696" y="18923"/>
                  </a:lnTo>
                  <a:close/>
                </a:path>
                <a:path w="29845" h="32384">
                  <a:moveTo>
                    <a:pt x="927" y="10414"/>
                  </a:moveTo>
                  <a:lnTo>
                    <a:pt x="0" y="10909"/>
                  </a:lnTo>
                  <a:lnTo>
                    <a:pt x="5321" y="21031"/>
                  </a:lnTo>
                  <a:lnTo>
                    <a:pt x="6261" y="20548"/>
                  </a:lnTo>
                  <a:lnTo>
                    <a:pt x="5194" y="18516"/>
                  </a:lnTo>
                  <a:lnTo>
                    <a:pt x="5435" y="17475"/>
                  </a:lnTo>
                  <a:lnTo>
                    <a:pt x="13755" y="13096"/>
                  </a:lnTo>
                  <a:lnTo>
                    <a:pt x="14239" y="12839"/>
                  </a:lnTo>
                  <a:lnTo>
                    <a:pt x="2997" y="12839"/>
                  </a:lnTo>
                  <a:lnTo>
                    <a:pt x="2006" y="12458"/>
                  </a:lnTo>
                  <a:lnTo>
                    <a:pt x="927" y="10414"/>
                  </a:lnTo>
                  <a:close/>
                </a:path>
                <a:path w="29845" h="32384">
                  <a:moveTo>
                    <a:pt x="24939" y="8051"/>
                  </a:moveTo>
                  <a:lnTo>
                    <a:pt x="23533" y="8051"/>
                  </a:lnTo>
                  <a:lnTo>
                    <a:pt x="26051" y="12839"/>
                  </a:lnTo>
                  <a:lnTo>
                    <a:pt x="26017" y="14287"/>
                  </a:lnTo>
                  <a:lnTo>
                    <a:pt x="25958" y="15125"/>
                  </a:lnTo>
                  <a:lnTo>
                    <a:pt x="20104" y="18211"/>
                  </a:lnTo>
                  <a:lnTo>
                    <a:pt x="28866" y="18211"/>
                  </a:lnTo>
                  <a:lnTo>
                    <a:pt x="29311" y="16357"/>
                  </a:lnTo>
                  <a:lnTo>
                    <a:pt x="24939" y="8051"/>
                  </a:lnTo>
                  <a:close/>
                </a:path>
                <a:path w="29845" h="32384">
                  <a:moveTo>
                    <a:pt x="20700" y="0"/>
                  </a:moveTo>
                  <a:lnTo>
                    <a:pt x="19773" y="495"/>
                  </a:lnTo>
                  <a:lnTo>
                    <a:pt x="20840" y="2540"/>
                  </a:lnTo>
                  <a:lnTo>
                    <a:pt x="20599" y="3568"/>
                  </a:lnTo>
                  <a:lnTo>
                    <a:pt x="2997" y="12839"/>
                  </a:lnTo>
                  <a:lnTo>
                    <a:pt x="14239" y="12839"/>
                  </a:lnTo>
                  <a:lnTo>
                    <a:pt x="22783" y="8343"/>
                  </a:lnTo>
                  <a:lnTo>
                    <a:pt x="23533" y="8051"/>
                  </a:lnTo>
                  <a:lnTo>
                    <a:pt x="24939" y="8051"/>
                  </a:lnTo>
                  <a:lnTo>
                    <a:pt x="20700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7" name="object 159">
              <a:extLst>
                <a:ext uri="{FF2B5EF4-FFF2-40B4-BE49-F238E27FC236}">
                  <a16:creationId xmlns:a16="http://schemas.microsoft.com/office/drawing/2014/main" id="{B50C4FF5-EAFE-454A-88B0-C5169644965E}"/>
                </a:ext>
              </a:extLst>
            </p:cNvPr>
            <p:cNvSpPr/>
            <p:nvPr/>
          </p:nvSpPr>
          <p:spPr>
            <a:xfrm>
              <a:off x="8165053" y="6197715"/>
              <a:ext cx="29845" cy="32384"/>
            </a:xfrm>
            <a:custGeom>
              <a:avLst/>
              <a:gdLst/>
              <a:ahLst/>
              <a:cxnLst/>
              <a:rect l="l" t="t" r="r" b="b"/>
              <a:pathLst>
                <a:path w="29845" h="32384">
                  <a:moveTo>
                    <a:pt x="15087" y="12395"/>
                  </a:moveTo>
                  <a:lnTo>
                    <a:pt x="21170" y="9194"/>
                  </a:lnTo>
                  <a:lnTo>
                    <a:pt x="22783" y="8343"/>
                  </a:lnTo>
                  <a:lnTo>
                    <a:pt x="23533" y="8051"/>
                  </a:lnTo>
                  <a:lnTo>
                    <a:pt x="24510" y="9918"/>
                  </a:lnTo>
                  <a:lnTo>
                    <a:pt x="26111" y="12954"/>
                  </a:lnTo>
                  <a:lnTo>
                    <a:pt x="25958" y="15125"/>
                  </a:lnTo>
                  <a:lnTo>
                    <a:pt x="23101" y="16624"/>
                  </a:lnTo>
                  <a:lnTo>
                    <a:pt x="20104" y="18211"/>
                  </a:lnTo>
                  <a:lnTo>
                    <a:pt x="17818" y="17602"/>
                  </a:lnTo>
                  <a:lnTo>
                    <a:pt x="15366" y="12928"/>
                  </a:lnTo>
                  <a:lnTo>
                    <a:pt x="15087" y="12395"/>
                  </a:lnTo>
                  <a:lnTo>
                    <a:pt x="13754" y="13093"/>
                  </a:lnTo>
                  <a:lnTo>
                    <a:pt x="14389" y="14287"/>
                  </a:lnTo>
                  <a:lnTo>
                    <a:pt x="14655" y="15544"/>
                  </a:lnTo>
                  <a:lnTo>
                    <a:pt x="11899" y="19164"/>
                  </a:lnTo>
                  <a:lnTo>
                    <a:pt x="9232" y="22694"/>
                  </a:lnTo>
                  <a:lnTo>
                    <a:pt x="8661" y="23520"/>
                  </a:lnTo>
                  <a:lnTo>
                    <a:pt x="7988" y="24307"/>
                  </a:lnTo>
                  <a:lnTo>
                    <a:pt x="7505" y="25171"/>
                  </a:lnTo>
                  <a:lnTo>
                    <a:pt x="11188" y="32156"/>
                  </a:lnTo>
                  <a:lnTo>
                    <a:pt x="12115" y="31661"/>
                  </a:lnTo>
                  <a:lnTo>
                    <a:pt x="11010" y="29146"/>
                  </a:lnTo>
                  <a:lnTo>
                    <a:pt x="12255" y="27254"/>
                  </a:lnTo>
                  <a:lnTo>
                    <a:pt x="13627" y="25196"/>
                  </a:lnTo>
                  <a:lnTo>
                    <a:pt x="15874" y="22059"/>
                  </a:lnTo>
                  <a:lnTo>
                    <a:pt x="16560" y="21082"/>
                  </a:lnTo>
                  <a:lnTo>
                    <a:pt x="17310" y="20116"/>
                  </a:lnTo>
                  <a:lnTo>
                    <a:pt x="17437" y="18923"/>
                  </a:lnTo>
                  <a:lnTo>
                    <a:pt x="19380" y="21374"/>
                  </a:lnTo>
                  <a:lnTo>
                    <a:pt x="22301" y="23342"/>
                  </a:lnTo>
                  <a:lnTo>
                    <a:pt x="25399" y="21704"/>
                  </a:lnTo>
                  <a:lnTo>
                    <a:pt x="28409" y="20116"/>
                  </a:lnTo>
                  <a:lnTo>
                    <a:pt x="29311" y="16357"/>
                  </a:lnTo>
                  <a:lnTo>
                    <a:pt x="27114" y="12166"/>
                  </a:lnTo>
                  <a:lnTo>
                    <a:pt x="20700" y="0"/>
                  </a:lnTo>
                  <a:lnTo>
                    <a:pt x="19773" y="495"/>
                  </a:lnTo>
                  <a:lnTo>
                    <a:pt x="20840" y="2540"/>
                  </a:lnTo>
                  <a:lnTo>
                    <a:pt x="20599" y="3568"/>
                  </a:lnTo>
                  <a:lnTo>
                    <a:pt x="18618" y="4610"/>
                  </a:lnTo>
                  <a:lnTo>
                    <a:pt x="4978" y="11785"/>
                  </a:lnTo>
                  <a:lnTo>
                    <a:pt x="2997" y="12839"/>
                  </a:lnTo>
                  <a:lnTo>
                    <a:pt x="2006" y="12458"/>
                  </a:lnTo>
                  <a:lnTo>
                    <a:pt x="927" y="10414"/>
                  </a:lnTo>
                  <a:lnTo>
                    <a:pt x="0" y="10909"/>
                  </a:lnTo>
                  <a:lnTo>
                    <a:pt x="5321" y="21031"/>
                  </a:lnTo>
                  <a:lnTo>
                    <a:pt x="6261" y="20548"/>
                  </a:lnTo>
                  <a:lnTo>
                    <a:pt x="5194" y="18516"/>
                  </a:lnTo>
                  <a:lnTo>
                    <a:pt x="5435" y="17475"/>
                  </a:lnTo>
                  <a:lnTo>
                    <a:pt x="7416" y="16433"/>
                  </a:lnTo>
                  <a:lnTo>
                    <a:pt x="13754" y="13093"/>
                  </a:lnTo>
                  <a:lnTo>
                    <a:pt x="15087" y="12395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8" name="object 160">
              <a:extLst>
                <a:ext uri="{FF2B5EF4-FFF2-40B4-BE49-F238E27FC236}">
                  <a16:creationId xmlns:a16="http://schemas.microsoft.com/office/drawing/2014/main" id="{C9D7A577-59E7-4E3A-9D58-386D140C1381}"/>
                </a:ext>
              </a:extLst>
            </p:cNvPr>
            <p:cNvSpPr/>
            <p:nvPr/>
          </p:nvSpPr>
          <p:spPr>
            <a:xfrm>
              <a:off x="8176283" y="6222693"/>
              <a:ext cx="27940" cy="24765"/>
            </a:xfrm>
            <a:custGeom>
              <a:avLst/>
              <a:gdLst/>
              <a:ahLst/>
              <a:cxnLst/>
              <a:rect l="l" t="t" r="r" b="b"/>
              <a:pathLst>
                <a:path w="27940" h="24765">
                  <a:moveTo>
                    <a:pt x="15570" y="0"/>
                  </a:moveTo>
                  <a:lnTo>
                    <a:pt x="2946" y="4330"/>
                  </a:lnTo>
                  <a:lnTo>
                    <a:pt x="0" y="9905"/>
                  </a:lnTo>
                  <a:lnTo>
                    <a:pt x="2781" y="18033"/>
                  </a:lnTo>
                  <a:lnTo>
                    <a:pt x="6007" y="22517"/>
                  </a:lnTo>
                  <a:lnTo>
                    <a:pt x="6756" y="24625"/>
                  </a:lnTo>
                  <a:lnTo>
                    <a:pt x="13538" y="22301"/>
                  </a:lnTo>
                  <a:lnTo>
                    <a:pt x="14325" y="22326"/>
                  </a:lnTo>
                  <a:lnTo>
                    <a:pt x="15443" y="24714"/>
                  </a:lnTo>
                  <a:lnTo>
                    <a:pt x="16624" y="24307"/>
                  </a:lnTo>
                  <a:lnTo>
                    <a:pt x="13106" y="14058"/>
                  </a:lnTo>
                  <a:lnTo>
                    <a:pt x="11937" y="14465"/>
                  </a:lnTo>
                  <a:lnTo>
                    <a:pt x="12585" y="16840"/>
                  </a:lnTo>
                  <a:lnTo>
                    <a:pt x="12585" y="17551"/>
                  </a:lnTo>
                  <a:lnTo>
                    <a:pt x="7289" y="19367"/>
                  </a:lnTo>
                  <a:lnTo>
                    <a:pt x="4673" y="19697"/>
                  </a:lnTo>
                  <a:lnTo>
                    <a:pt x="2374" y="13004"/>
                  </a:lnTo>
                  <a:lnTo>
                    <a:pt x="4419" y="9702"/>
                  </a:lnTo>
                  <a:lnTo>
                    <a:pt x="19697" y="4470"/>
                  </a:lnTo>
                  <a:lnTo>
                    <a:pt x="23482" y="6553"/>
                  </a:lnTo>
                  <a:lnTo>
                    <a:pt x="25412" y="12179"/>
                  </a:lnTo>
                  <a:lnTo>
                    <a:pt x="24091" y="14731"/>
                  </a:lnTo>
                  <a:lnTo>
                    <a:pt x="21399" y="18719"/>
                  </a:lnTo>
                  <a:lnTo>
                    <a:pt x="22110" y="19596"/>
                  </a:lnTo>
                  <a:lnTo>
                    <a:pt x="27889" y="15557"/>
                  </a:lnTo>
                  <a:lnTo>
                    <a:pt x="27241" y="15036"/>
                  </a:lnTo>
                  <a:lnTo>
                    <a:pt x="26415" y="14096"/>
                  </a:lnTo>
                  <a:lnTo>
                    <a:pt x="25958" y="12776"/>
                  </a:lnTo>
                  <a:lnTo>
                    <a:pt x="25882" y="9715"/>
                  </a:lnTo>
                  <a:lnTo>
                    <a:pt x="23304" y="2184"/>
                  </a:lnTo>
                  <a:lnTo>
                    <a:pt x="15570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9" name="object 161">
              <a:extLst>
                <a:ext uri="{FF2B5EF4-FFF2-40B4-BE49-F238E27FC236}">
                  <a16:creationId xmlns:a16="http://schemas.microsoft.com/office/drawing/2014/main" id="{5A6A2AF2-6A38-40E1-A59D-89396A4CD4DF}"/>
                </a:ext>
              </a:extLst>
            </p:cNvPr>
            <p:cNvSpPr/>
            <p:nvPr/>
          </p:nvSpPr>
          <p:spPr>
            <a:xfrm>
              <a:off x="8176283" y="6222693"/>
              <a:ext cx="27940" cy="24765"/>
            </a:xfrm>
            <a:custGeom>
              <a:avLst/>
              <a:gdLst/>
              <a:ahLst/>
              <a:cxnLst/>
              <a:rect l="l" t="t" r="r" b="b"/>
              <a:pathLst>
                <a:path w="27940" h="24765">
                  <a:moveTo>
                    <a:pt x="22110" y="19596"/>
                  </a:moveTo>
                  <a:lnTo>
                    <a:pt x="21399" y="18719"/>
                  </a:lnTo>
                  <a:lnTo>
                    <a:pt x="24091" y="14731"/>
                  </a:lnTo>
                  <a:lnTo>
                    <a:pt x="25412" y="12179"/>
                  </a:lnTo>
                  <a:lnTo>
                    <a:pt x="24472" y="9448"/>
                  </a:lnTo>
                  <a:lnTo>
                    <a:pt x="23482" y="6553"/>
                  </a:lnTo>
                  <a:lnTo>
                    <a:pt x="19697" y="4470"/>
                  </a:lnTo>
                  <a:lnTo>
                    <a:pt x="12014" y="7099"/>
                  </a:lnTo>
                  <a:lnTo>
                    <a:pt x="4419" y="9702"/>
                  </a:lnTo>
                  <a:lnTo>
                    <a:pt x="2374" y="13004"/>
                  </a:lnTo>
                  <a:lnTo>
                    <a:pt x="3530" y="16370"/>
                  </a:lnTo>
                  <a:lnTo>
                    <a:pt x="4673" y="19697"/>
                  </a:lnTo>
                  <a:lnTo>
                    <a:pt x="7289" y="19367"/>
                  </a:lnTo>
                  <a:lnTo>
                    <a:pt x="10109" y="18402"/>
                  </a:lnTo>
                  <a:lnTo>
                    <a:pt x="12585" y="17551"/>
                  </a:lnTo>
                  <a:lnTo>
                    <a:pt x="12585" y="16840"/>
                  </a:lnTo>
                  <a:lnTo>
                    <a:pt x="11937" y="14465"/>
                  </a:lnTo>
                  <a:lnTo>
                    <a:pt x="13106" y="14058"/>
                  </a:lnTo>
                  <a:lnTo>
                    <a:pt x="16624" y="24307"/>
                  </a:lnTo>
                  <a:lnTo>
                    <a:pt x="15443" y="24714"/>
                  </a:lnTo>
                  <a:lnTo>
                    <a:pt x="14325" y="22326"/>
                  </a:lnTo>
                  <a:lnTo>
                    <a:pt x="13538" y="22301"/>
                  </a:lnTo>
                  <a:lnTo>
                    <a:pt x="11239" y="23088"/>
                  </a:lnTo>
                  <a:lnTo>
                    <a:pt x="6756" y="24625"/>
                  </a:lnTo>
                  <a:lnTo>
                    <a:pt x="6007" y="22517"/>
                  </a:lnTo>
                  <a:lnTo>
                    <a:pt x="0" y="9905"/>
                  </a:lnTo>
                  <a:lnTo>
                    <a:pt x="2946" y="4330"/>
                  </a:lnTo>
                  <a:lnTo>
                    <a:pt x="9423" y="2108"/>
                  </a:lnTo>
                  <a:lnTo>
                    <a:pt x="15570" y="0"/>
                  </a:lnTo>
                  <a:lnTo>
                    <a:pt x="23304" y="2184"/>
                  </a:lnTo>
                  <a:lnTo>
                    <a:pt x="25577" y="8813"/>
                  </a:lnTo>
                  <a:lnTo>
                    <a:pt x="25882" y="9715"/>
                  </a:lnTo>
                  <a:lnTo>
                    <a:pt x="25933" y="10540"/>
                  </a:lnTo>
                  <a:lnTo>
                    <a:pt x="25958" y="11315"/>
                  </a:lnTo>
                  <a:lnTo>
                    <a:pt x="25958" y="12090"/>
                  </a:lnTo>
                  <a:lnTo>
                    <a:pt x="25958" y="12776"/>
                  </a:lnTo>
                  <a:lnTo>
                    <a:pt x="26149" y="13309"/>
                  </a:lnTo>
                  <a:lnTo>
                    <a:pt x="26415" y="14096"/>
                  </a:lnTo>
                  <a:lnTo>
                    <a:pt x="27241" y="15036"/>
                  </a:lnTo>
                  <a:lnTo>
                    <a:pt x="27889" y="15557"/>
                  </a:lnTo>
                  <a:lnTo>
                    <a:pt x="22110" y="19596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0" name="object 162">
              <a:extLst>
                <a:ext uri="{FF2B5EF4-FFF2-40B4-BE49-F238E27FC236}">
                  <a16:creationId xmlns:a16="http://schemas.microsoft.com/office/drawing/2014/main" id="{CDB432E0-3350-4F8E-B305-52EA64D16F42}"/>
                </a:ext>
              </a:extLst>
            </p:cNvPr>
            <p:cNvSpPr/>
            <p:nvPr/>
          </p:nvSpPr>
          <p:spPr>
            <a:xfrm>
              <a:off x="8183139" y="6242350"/>
              <a:ext cx="26670" cy="24130"/>
            </a:xfrm>
            <a:custGeom>
              <a:avLst/>
              <a:gdLst/>
              <a:ahLst/>
              <a:cxnLst/>
              <a:rect l="l" t="t" r="r" b="b"/>
              <a:pathLst>
                <a:path w="26670" h="24129">
                  <a:moveTo>
                    <a:pt x="21843" y="0"/>
                  </a:moveTo>
                  <a:lnTo>
                    <a:pt x="20802" y="203"/>
                  </a:lnTo>
                  <a:lnTo>
                    <a:pt x="20840" y="1943"/>
                  </a:lnTo>
                  <a:lnTo>
                    <a:pt x="20446" y="2616"/>
                  </a:lnTo>
                  <a:lnTo>
                    <a:pt x="10502" y="11620"/>
                  </a:lnTo>
                  <a:lnTo>
                    <a:pt x="1892" y="13246"/>
                  </a:lnTo>
                  <a:lnTo>
                    <a:pt x="1638" y="12217"/>
                  </a:lnTo>
                  <a:lnTo>
                    <a:pt x="1028" y="10223"/>
                  </a:lnTo>
                  <a:lnTo>
                    <a:pt x="0" y="10414"/>
                  </a:lnTo>
                  <a:lnTo>
                    <a:pt x="2133" y="21729"/>
                  </a:lnTo>
                  <a:lnTo>
                    <a:pt x="3174" y="21526"/>
                  </a:lnTo>
                  <a:lnTo>
                    <a:pt x="2717" y="19138"/>
                  </a:lnTo>
                  <a:lnTo>
                    <a:pt x="3441" y="18326"/>
                  </a:lnTo>
                  <a:lnTo>
                    <a:pt x="25298" y="23952"/>
                  </a:lnTo>
                  <a:lnTo>
                    <a:pt x="26327" y="23749"/>
                  </a:lnTo>
                  <a:lnTo>
                    <a:pt x="24739" y="15303"/>
                  </a:lnTo>
                  <a:lnTo>
                    <a:pt x="23698" y="15494"/>
                  </a:lnTo>
                  <a:lnTo>
                    <a:pt x="23787" y="16611"/>
                  </a:lnTo>
                  <a:lnTo>
                    <a:pt x="23990" y="18084"/>
                  </a:lnTo>
                  <a:lnTo>
                    <a:pt x="21856" y="18478"/>
                  </a:lnTo>
                  <a:lnTo>
                    <a:pt x="21018" y="18211"/>
                  </a:lnTo>
                  <a:lnTo>
                    <a:pt x="13842" y="15481"/>
                  </a:lnTo>
                  <a:lnTo>
                    <a:pt x="20751" y="9359"/>
                  </a:lnTo>
                  <a:lnTo>
                    <a:pt x="22034" y="9105"/>
                  </a:lnTo>
                  <a:lnTo>
                    <a:pt x="22440" y="9486"/>
                  </a:lnTo>
                  <a:lnTo>
                    <a:pt x="22859" y="11074"/>
                  </a:lnTo>
                  <a:lnTo>
                    <a:pt x="23901" y="10871"/>
                  </a:lnTo>
                  <a:lnTo>
                    <a:pt x="21843" y="0"/>
                  </a:lnTo>
                  <a:close/>
                </a:path>
              </a:pathLst>
            </a:custGeom>
            <a:solidFill>
              <a:srgbClr val="675A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1" name="object 163">
              <a:extLst>
                <a:ext uri="{FF2B5EF4-FFF2-40B4-BE49-F238E27FC236}">
                  <a16:creationId xmlns:a16="http://schemas.microsoft.com/office/drawing/2014/main" id="{FA8D3FBA-8ADC-4610-8710-F429600B3582}"/>
                </a:ext>
              </a:extLst>
            </p:cNvPr>
            <p:cNvSpPr/>
            <p:nvPr/>
          </p:nvSpPr>
          <p:spPr>
            <a:xfrm>
              <a:off x="8183139" y="6242350"/>
              <a:ext cx="26670" cy="24130"/>
            </a:xfrm>
            <a:custGeom>
              <a:avLst/>
              <a:gdLst/>
              <a:ahLst/>
              <a:cxnLst/>
              <a:rect l="l" t="t" r="r" b="b"/>
              <a:pathLst>
                <a:path w="26670" h="24129">
                  <a:moveTo>
                    <a:pt x="23901" y="10871"/>
                  </a:moveTo>
                  <a:lnTo>
                    <a:pt x="22859" y="11074"/>
                  </a:lnTo>
                  <a:lnTo>
                    <a:pt x="22440" y="9486"/>
                  </a:lnTo>
                  <a:lnTo>
                    <a:pt x="22034" y="9105"/>
                  </a:lnTo>
                  <a:lnTo>
                    <a:pt x="21310" y="9245"/>
                  </a:lnTo>
                  <a:lnTo>
                    <a:pt x="20751" y="9359"/>
                  </a:lnTo>
                  <a:lnTo>
                    <a:pt x="20408" y="9639"/>
                  </a:lnTo>
                  <a:lnTo>
                    <a:pt x="20027" y="10007"/>
                  </a:lnTo>
                  <a:lnTo>
                    <a:pt x="13842" y="15481"/>
                  </a:lnTo>
                  <a:lnTo>
                    <a:pt x="20421" y="17970"/>
                  </a:lnTo>
                  <a:lnTo>
                    <a:pt x="21018" y="18211"/>
                  </a:lnTo>
                  <a:lnTo>
                    <a:pt x="21856" y="18478"/>
                  </a:lnTo>
                  <a:lnTo>
                    <a:pt x="22517" y="18364"/>
                  </a:lnTo>
                  <a:lnTo>
                    <a:pt x="23990" y="18084"/>
                  </a:lnTo>
                  <a:lnTo>
                    <a:pt x="23787" y="16611"/>
                  </a:lnTo>
                  <a:lnTo>
                    <a:pt x="23698" y="15494"/>
                  </a:lnTo>
                  <a:lnTo>
                    <a:pt x="24739" y="15303"/>
                  </a:lnTo>
                  <a:lnTo>
                    <a:pt x="26327" y="23749"/>
                  </a:lnTo>
                  <a:lnTo>
                    <a:pt x="25298" y="23952"/>
                  </a:lnTo>
                  <a:lnTo>
                    <a:pt x="24625" y="21729"/>
                  </a:lnTo>
                  <a:lnTo>
                    <a:pt x="23621" y="21107"/>
                  </a:lnTo>
                  <a:lnTo>
                    <a:pt x="21602" y="20218"/>
                  </a:lnTo>
                  <a:lnTo>
                    <a:pt x="20789" y="19888"/>
                  </a:lnTo>
                  <a:lnTo>
                    <a:pt x="12484" y="16573"/>
                  </a:lnTo>
                  <a:lnTo>
                    <a:pt x="5486" y="17907"/>
                  </a:lnTo>
                  <a:lnTo>
                    <a:pt x="3441" y="18326"/>
                  </a:lnTo>
                  <a:lnTo>
                    <a:pt x="2717" y="19138"/>
                  </a:lnTo>
                  <a:lnTo>
                    <a:pt x="3174" y="21526"/>
                  </a:lnTo>
                  <a:lnTo>
                    <a:pt x="2133" y="21729"/>
                  </a:lnTo>
                  <a:lnTo>
                    <a:pt x="0" y="10414"/>
                  </a:lnTo>
                  <a:lnTo>
                    <a:pt x="1028" y="10223"/>
                  </a:lnTo>
                  <a:lnTo>
                    <a:pt x="1638" y="12217"/>
                  </a:lnTo>
                  <a:lnTo>
                    <a:pt x="1892" y="13246"/>
                  </a:lnTo>
                  <a:lnTo>
                    <a:pt x="4508" y="12750"/>
                  </a:lnTo>
                  <a:lnTo>
                    <a:pt x="10502" y="11620"/>
                  </a:lnTo>
                  <a:lnTo>
                    <a:pt x="19138" y="3771"/>
                  </a:lnTo>
                  <a:lnTo>
                    <a:pt x="20446" y="2616"/>
                  </a:lnTo>
                  <a:lnTo>
                    <a:pt x="20840" y="1943"/>
                  </a:lnTo>
                  <a:lnTo>
                    <a:pt x="20802" y="203"/>
                  </a:lnTo>
                  <a:lnTo>
                    <a:pt x="21843" y="0"/>
                  </a:lnTo>
                  <a:lnTo>
                    <a:pt x="23901" y="10871"/>
                  </a:lnTo>
                  <a:close/>
                </a:path>
              </a:pathLst>
            </a:custGeom>
            <a:ln w="3175">
              <a:solidFill>
                <a:srgbClr val="675A2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2" name="object 164">
              <a:extLst>
                <a:ext uri="{FF2B5EF4-FFF2-40B4-BE49-F238E27FC236}">
                  <a16:creationId xmlns:a16="http://schemas.microsoft.com/office/drawing/2014/main" id="{D01A3AE8-2DD6-445D-80D1-E7EBBCB9454F}"/>
                </a:ext>
              </a:extLst>
            </p:cNvPr>
            <p:cNvSpPr/>
            <p:nvPr/>
          </p:nvSpPr>
          <p:spPr>
            <a:xfrm>
              <a:off x="7873966" y="6285042"/>
              <a:ext cx="25400" cy="24765"/>
            </a:xfrm>
            <a:custGeom>
              <a:avLst/>
              <a:gdLst/>
              <a:ahLst/>
              <a:cxnLst/>
              <a:rect l="l" t="t" r="r" b="b"/>
              <a:pathLst>
                <a:path w="25400" h="24765">
                  <a:moveTo>
                    <a:pt x="23393" y="0"/>
                  </a:moveTo>
                  <a:lnTo>
                    <a:pt x="22339" y="88"/>
                  </a:lnTo>
                  <a:lnTo>
                    <a:pt x="22529" y="2387"/>
                  </a:lnTo>
                  <a:lnTo>
                    <a:pt x="21882" y="3238"/>
                  </a:lnTo>
                  <a:lnTo>
                    <a:pt x="2616" y="4813"/>
                  </a:lnTo>
                  <a:lnTo>
                    <a:pt x="0" y="8204"/>
                  </a:lnTo>
                  <a:lnTo>
                    <a:pt x="1028" y="20751"/>
                  </a:lnTo>
                  <a:lnTo>
                    <a:pt x="4152" y="22936"/>
                  </a:lnTo>
                  <a:lnTo>
                    <a:pt x="23367" y="21374"/>
                  </a:lnTo>
                  <a:lnTo>
                    <a:pt x="24129" y="22110"/>
                  </a:lnTo>
                  <a:lnTo>
                    <a:pt x="24320" y="24409"/>
                  </a:lnTo>
                  <a:lnTo>
                    <a:pt x="25374" y="24320"/>
                  </a:lnTo>
                  <a:lnTo>
                    <a:pt x="24739" y="16484"/>
                  </a:lnTo>
                  <a:lnTo>
                    <a:pt x="23685" y="16560"/>
                  </a:lnTo>
                  <a:lnTo>
                    <a:pt x="23875" y="18859"/>
                  </a:lnTo>
                  <a:lnTo>
                    <a:pt x="23228" y="19710"/>
                  </a:lnTo>
                  <a:lnTo>
                    <a:pt x="5156" y="21196"/>
                  </a:lnTo>
                  <a:lnTo>
                    <a:pt x="2209" y="19989"/>
                  </a:lnTo>
                  <a:lnTo>
                    <a:pt x="1549" y="11925"/>
                  </a:lnTo>
                  <a:lnTo>
                    <a:pt x="3086" y="9931"/>
                  </a:lnTo>
                  <a:lnTo>
                    <a:pt x="8864" y="9563"/>
                  </a:lnTo>
                  <a:lnTo>
                    <a:pt x="22313" y="8470"/>
                  </a:lnTo>
                  <a:lnTo>
                    <a:pt x="23075" y="9207"/>
                  </a:lnTo>
                  <a:lnTo>
                    <a:pt x="23266" y="11506"/>
                  </a:lnTo>
                  <a:lnTo>
                    <a:pt x="24320" y="11417"/>
                  </a:lnTo>
                  <a:lnTo>
                    <a:pt x="23393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3" name="object 165">
              <a:extLst>
                <a:ext uri="{FF2B5EF4-FFF2-40B4-BE49-F238E27FC236}">
                  <a16:creationId xmlns:a16="http://schemas.microsoft.com/office/drawing/2014/main" id="{467888EA-419E-4DBE-9253-A47B5264536F}"/>
                </a:ext>
              </a:extLst>
            </p:cNvPr>
            <p:cNvSpPr/>
            <p:nvPr/>
          </p:nvSpPr>
          <p:spPr>
            <a:xfrm>
              <a:off x="7873966" y="6285042"/>
              <a:ext cx="25400" cy="24765"/>
            </a:xfrm>
            <a:custGeom>
              <a:avLst/>
              <a:gdLst/>
              <a:ahLst/>
              <a:cxnLst/>
              <a:rect l="l" t="t" r="r" b="b"/>
              <a:pathLst>
                <a:path w="25400" h="24765">
                  <a:moveTo>
                    <a:pt x="8864" y="9563"/>
                  </a:moveTo>
                  <a:lnTo>
                    <a:pt x="3086" y="9931"/>
                  </a:lnTo>
                  <a:lnTo>
                    <a:pt x="1549" y="11925"/>
                  </a:lnTo>
                  <a:lnTo>
                    <a:pt x="1828" y="15366"/>
                  </a:lnTo>
                  <a:lnTo>
                    <a:pt x="2209" y="19989"/>
                  </a:lnTo>
                  <a:lnTo>
                    <a:pt x="5156" y="21196"/>
                  </a:lnTo>
                  <a:lnTo>
                    <a:pt x="9817" y="20815"/>
                  </a:lnTo>
                  <a:lnTo>
                    <a:pt x="21005" y="19900"/>
                  </a:lnTo>
                  <a:lnTo>
                    <a:pt x="23228" y="19710"/>
                  </a:lnTo>
                  <a:lnTo>
                    <a:pt x="23875" y="18859"/>
                  </a:lnTo>
                  <a:lnTo>
                    <a:pt x="23685" y="16560"/>
                  </a:lnTo>
                  <a:lnTo>
                    <a:pt x="24739" y="16484"/>
                  </a:lnTo>
                  <a:lnTo>
                    <a:pt x="25374" y="24320"/>
                  </a:lnTo>
                  <a:lnTo>
                    <a:pt x="24320" y="24409"/>
                  </a:lnTo>
                  <a:lnTo>
                    <a:pt x="24129" y="22110"/>
                  </a:lnTo>
                  <a:lnTo>
                    <a:pt x="23367" y="21374"/>
                  </a:lnTo>
                  <a:lnTo>
                    <a:pt x="21132" y="21551"/>
                  </a:lnTo>
                  <a:lnTo>
                    <a:pt x="9690" y="22491"/>
                  </a:lnTo>
                  <a:lnTo>
                    <a:pt x="4152" y="22936"/>
                  </a:lnTo>
                  <a:lnTo>
                    <a:pt x="1028" y="20751"/>
                  </a:lnTo>
                  <a:lnTo>
                    <a:pt x="520" y="14541"/>
                  </a:lnTo>
                  <a:lnTo>
                    <a:pt x="0" y="8204"/>
                  </a:lnTo>
                  <a:lnTo>
                    <a:pt x="2616" y="4813"/>
                  </a:lnTo>
                  <a:lnTo>
                    <a:pt x="7543" y="4406"/>
                  </a:lnTo>
                  <a:lnTo>
                    <a:pt x="19659" y="3416"/>
                  </a:lnTo>
                  <a:lnTo>
                    <a:pt x="21882" y="3238"/>
                  </a:lnTo>
                  <a:lnTo>
                    <a:pt x="22529" y="2387"/>
                  </a:lnTo>
                  <a:lnTo>
                    <a:pt x="22339" y="88"/>
                  </a:lnTo>
                  <a:lnTo>
                    <a:pt x="23393" y="0"/>
                  </a:lnTo>
                  <a:lnTo>
                    <a:pt x="24320" y="11417"/>
                  </a:lnTo>
                  <a:lnTo>
                    <a:pt x="23266" y="11506"/>
                  </a:lnTo>
                  <a:lnTo>
                    <a:pt x="23075" y="9207"/>
                  </a:lnTo>
                  <a:lnTo>
                    <a:pt x="22313" y="8470"/>
                  </a:lnTo>
                  <a:lnTo>
                    <a:pt x="20091" y="8648"/>
                  </a:lnTo>
                  <a:lnTo>
                    <a:pt x="8864" y="9563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4" name="object 166">
              <a:extLst>
                <a:ext uri="{FF2B5EF4-FFF2-40B4-BE49-F238E27FC236}">
                  <a16:creationId xmlns:a16="http://schemas.microsoft.com/office/drawing/2014/main" id="{84032F53-29AA-4E43-82A6-A981DBB0DBFB}"/>
                </a:ext>
              </a:extLst>
            </p:cNvPr>
            <p:cNvSpPr/>
            <p:nvPr/>
          </p:nvSpPr>
          <p:spPr>
            <a:xfrm>
              <a:off x="7877141" y="6311498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22580" y="0"/>
                  </a:moveTo>
                  <a:lnTo>
                    <a:pt x="21564" y="279"/>
                  </a:lnTo>
                  <a:lnTo>
                    <a:pt x="21653" y="1714"/>
                  </a:lnTo>
                  <a:lnTo>
                    <a:pt x="21234" y="3225"/>
                  </a:lnTo>
                  <a:lnTo>
                    <a:pt x="20396" y="4381"/>
                  </a:lnTo>
                  <a:lnTo>
                    <a:pt x="3365" y="9029"/>
                  </a:lnTo>
                  <a:lnTo>
                    <a:pt x="2285" y="8724"/>
                  </a:lnTo>
                  <a:lnTo>
                    <a:pt x="1015" y="5892"/>
                  </a:lnTo>
                  <a:lnTo>
                    <a:pt x="0" y="6172"/>
                  </a:lnTo>
                  <a:lnTo>
                    <a:pt x="2387" y="14897"/>
                  </a:lnTo>
                  <a:lnTo>
                    <a:pt x="3403" y="14617"/>
                  </a:lnTo>
                  <a:lnTo>
                    <a:pt x="3200" y="11201"/>
                  </a:lnTo>
                  <a:lnTo>
                    <a:pt x="3746" y="10655"/>
                  </a:lnTo>
                  <a:lnTo>
                    <a:pt x="18948" y="6502"/>
                  </a:lnTo>
                  <a:lnTo>
                    <a:pt x="4787" y="23685"/>
                  </a:lnTo>
                  <a:lnTo>
                    <a:pt x="5549" y="26492"/>
                  </a:lnTo>
                  <a:lnTo>
                    <a:pt x="25450" y="21056"/>
                  </a:lnTo>
                  <a:lnTo>
                    <a:pt x="26695" y="21018"/>
                  </a:lnTo>
                  <a:lnTo>
                    <a:pt x="27990" y="23812"/>
                  </a:lnTo>
                  <a:lnTo>
                    <a:pt x="29006" y="23545"/>
                  </a:lnTo>
                  <a:lnTo>
                    <a:pt x="26796" y="15417"/>
                  </a:lnTo>
                  <a:lnTo>
                    <a:pt x="25768" y="15697"/>
                  </a:lnTo>
                  <a:lnTo>
                    <a:pt x="26327" y="18834"/>
                  </a:lnTo>
                  <a:lnTo>
                    <a:pt x="24917" y="19481"/>
                  </a:lnTo>
                  <a:lnTo>
                    <a:pt x="11988" y="23012"/>
                  </a:lnTo>
                  <a:lnTo>
                    <a:pt x="24714" y="7835"/>
                  </a:lnTo>
                  <a:lnTo>
                    <a:pt x="22580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5" name="object 167">
              <a:extLst>
                <a:ext uri="{FF2B5EF4-FFF2-40B4-BE49-F238E27FC236}">
                  <a16:creationId xmlns:a16="http://schemas.microsoft.com/office/drawing/2014/main" id="{19BF5754-8EDB-4BAB-A6A8-2DF5C9716E70}"/>
                </a:ext>
              </a:extLst>
            </p:cNvPr>
            <p:cNvSpPr/>
            <p:nvPr/>
          </p:nvSpPr>
          <p:spPr>
            <a:xfrm>
              <a:off x="7877141" y="6311498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11988" y="23012"/>
                  </a:moveTo>
                  <a:lnTo>
                    <a:pt x="22288" y="20205"/>
                  </a:lnTo>
                  <a:lnTo>
                    <a:pt x="24917" y="19481"/>
                  </a:lnTo>
                  <a:lnTo>
                    <a:pt x="26327" y="18834"/>
                  </a:lnTo>
                  <a:lnTo>
                    <a:pt x="25768" y="15697"/>
                  </a:lnTo>
                  <a:lnTo>
                    <a:pt x="26796" y="15417"/>
                  </a:lnTo>
                  <a:lnTo>
                    <a:pt x="29006" y="23545"/>
                  </a:lnTo>
                  <a:lnTo>
                    <a:pt x="27990" y="23812"/>
                  </a:lnTo>
                  <a:lnTo>
                    <a:pt x="26695" y="21018"/>
                  </a:lnTo>
                  <a:lnTo>
                    <a:pt x="25450" y="21056"/>
                  </a:lnTo>
                  <a:lnTo>
                    <a:pt x="22732" y="21805"/>
                  </a:lnTo>
                  <a:lnTo>
                    <a:pt x="5549" y="26492"/>
                  </a:lnTo>
                  <a:lnTo>
                    <a:pt x="4787" y="23685"/>
                  </a:lnTo>
                  <a:lnTo>
                    <a:pt x="18948" y="6502"/>
                  </a:lnTo>
                  <a:lnTo>
                    <a:pt x="7099" y="9728"/>
                  </a:lnTo>
                  <a:lnTo>
                    <a:pt x="3746" y="10655"/>
                  </a:lnTo>
                  <a:lnTo>
                    <a:pt x="3200" y="11201"/>
                  </a:lnTo>
                  <a:lnTo>
                    <a:pt x="3403" y="14617"/>
                  </a:lnTo>
                  <a:lnTo>
                    <a:pt x="2387" y="14897"/>
                  </a:lnTo>
                  <a:lnTo>
                    <a:pt x="0" y="6172"/>
                  </a:lnTo>
                  <a:lnTo>
                    <a:pt x="1015" y="5892"/>
                  </a:lnTo>
                  <a:lnTo>
                    <a:pt x="2285" y="8724"/>
                  </a:lnTo>
                  <a:lnTo>
                    <a:pt x="3365" y="9029"/>
                  </a:lnTo>
                  <a:lnTo>
                    <a:pt x="6210" y="8255"/>
                  </a:lnTo>
                  <a:lnTo>
                    <a:pt x="20396" y="4381"/>
                  </a:lnTo>
                  <a:lnTo>
                    <a:pt x="21234" y="3225"/>
                  </a:lnTo>
                  <a:lnTo>
                    <a:pt x="21653" y="1714"/>
                  </a:lnTo>
                  <a:lnTo>
                    <a:pt x="21564" y="279"/>
                  </a:lnTo>
                  <a:lnTo>
                    <a:pt x="22580" y="0"/>
                  </a:lnTo>
                  <a:lnTo>
                    <a:pt x="24714" y="7835"/>
                  </a:lnTo>
                  <a:lnTo>
                    <a:pt x="11988" y="23012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6" name="object 168">
              <a:extLst>
                <a:ext uri="{FF2B5EF4-FFF2-40B4-BE49-F238E27FC236}">
                  <a16:creationId xmlns:a16="http://schemas.microsoft.com/office/drawing/2014/main" id="{EE453EAE-0773-4C76-ABB9-E15238EC4638}"/>
                </a:ext>
              </a:extLst>
            </p:cNvPr>
            <p:cNvSpPr/>
            <p:nvPr/>
          </p:nvSpPr>
          <p:spPr>
            <a:xfrm>
              <a:off x="7885834" y="6337023"/>
              <a:ext cx="26034" cy="20320"/>
            </a:xfrm>
            <a:custGeom>
              <a:avLst/>
              <a:gdLst/>
              <a:ahLst/>
              <a:cxnLst/>
              <a:rect l="l" t="t" r="r" b="b"/>
              <a:pathLst>
                <a:path w="26034" h="20320">
                  <a:moveTo>
                    <a:pt x="21501" y="0"/>
                  </a:moveTo>
                  <a:lnTo>
                    <a:pt x="20523" y="419"/>
                  </a:lnTo>
                  <a:lnTo>
                    <a:pt x="21437" y="2527"/>
                  </a:lnTo>
                  <a:lnTo>
                    <a:pt x="21107" y="3543"/>
                  </a:lnTo>
                  <a:lnTo>
                    <a:pt x="19050" y="4432"/>
                  </a:lnTo>
                  <a:lnTo>
                    <a:pt x="2844" y="11417"/>
                  </a:lnTo>
                  <a:lnTo>
                    <a:pt x="1879" y="10960"/>
                  </a:lnTo>
                  <a:lnTo>
                    <a:pt x="965" y="8851"/>
                  </a:lnTo>
                  <a:lnTo>
                    <a:pt x="0" y="9270"/>
                  </a:lnTo>
                  <a:lnTo>
                    <a:pt x="4533" y="19773"/>
                  </a:lnTo>
                  <a:lnTo>
                    <a:pt x="5499" y="19354"/>
                  </a:lnTo>
                  <a:lnTo>
                    <a:pt x="4584" y="17246"/>
                  </a:lnTo>
                  <a:lnTo>
                    <a:pt x="4914" y="16230"/>
                  </a:lnTo>
                  <a:lnTo>
                    <a:pt x="23190" y="8356"/>
                  </a:lnTo>
                  <a:lnTo>
                    <a:pt x="24142" y="8813"/>
                  </a:lnTo>
                  <a:lnTo>
                    <a:pt x="25057" y="10934"/>
                  </a:lnTo>
                  <a:lnTo>
                    <a:pt x="26022" y="10515"/>
                  </a:lnTo>
                  <a:lnTo>
                    <a:pt x="21501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7" name="object 169">
              <a:extLst>
                <a:ext uri="{FF2B5EF4-FFF2-40B4-BE49-F238E27FC236}">
                  <a16:creationId xmlns:a16="http://schemas.microsoft.com/office/drawing/2014/main" id="{CAE568AA-6669-408C-BF70-3FC46F3E6234}"/>
                </a:ext>
              </a:extLst>
            </p:cNvPr>
            <p:cNvSpPr/>
            <p:nvPr/>
          </p:nvSpPr>
          <p:spPr>
            <a:xfrm>
              <a:off x="7885834" y="6337023"/>
              <a:ext cx="26034" cy="20320"/>
            </a:xfrm>
            <a:custGeom>
              <a:avLst/>
              <a:gdLst/>
              <a:ahLst/>
              <a:cxnLst/>
              <a:rect l="l" t="t" r="r" b="b"/>
              <a:pathLst>
                <a:path w="26034" h="20320">
                  <a:moveTo>
                    <a:pt x="19050" y="4432"/>
                  </a:moveTo>
                  <a:lnTo>
                    <a:pt x="21107" y="3543"/>
                  </a:lnTo>
                  <a:lnTo>
                    <a:pt x="21437" y="2527"/>
                  </a:lnTo>
                  <a:lnTo>
                    <a:pt x="20523" y="419"/>
                  </a:lnTo>
                  <a:lnTo>
                    <a:pt x="21501" y="0"/>
                  </a:lnTo>
                  <a:lnTo>
                    <a:pt x="26022" y="10515"/>
                  </a:lnTo>
                  <a:lnTo>
                    <a:pt x="25057" y="10934"/>
                  </a:lnTo>
                  <a:lnTo>
                    <a:pt x="24142" y="8813"/>
                  </a:lnTo>
                  <a:lnTo>
                    <a:pt x="23190" y="8356"/>
                  </a:lnTo>
                  <a:lnTo>
                    <a:pt x="21132" y="9245"/>
                  </a:lnTo>
                  <a:lnTo>
                    <a:pt x="6972" y="15354"/>
                  </a:lnTo>
                  <a:lnTo>
                    <a:pt x="4914" y="16230"/>
                  </a:lnTo>
                  <a:lnTo>
                    <a:pt x="4584" y="17246"/>
                  </a:lnTo>
                  <a:lnTo>
                    <a:pt x="5499" y="19354"/>
                  </a:lnTo>
                  <a:lnTo>
                    <a:pt x="4533" y="19773"/>
                  </a:lnTo>
                  <a:lnTo>
                    <a:pt x="0" y="9270"/>
                  </a:lnTo>
                  <a:lnTo>
                    <a:pt x="965" y="8851"/>
                  </a:lnTo>
                  <a:lnTo>
                    <a:pt x="1879" y="10960"/>
                  </a:lnTo>
                  <a:lnTo>
                    <a:pt x="2844" y="11417"/>
                  </a:lnTo>
                  <a:lnTo>
                    <a:pt x="4902" y="10528"/>
                  </a:lnTo>
                  <a:lnTo>
                    <a:pt x="19050" y="4432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8" name="object 170">
              <a:extLst>
                <a:ext uri="{FF2B5EF4-FFF2-40B4-BE49-F238E27FC236}">
                  <a16:creationId xmlns:a16="http://schemas.microsoft.com/office/drawing/2014/main" id="{87A95BA7-06FE-4A7A-A024-B5DA4A2019D8}"/>
                </a:ext>
              </a:extLst>
            </p:cNvPr>
            <p:cNvSpPr/>
            <p:nvPr/>
          </p:nvSpPr>
          <p:spPr>
            <a:xfrm>
              <a:off x="7894249" y="6349362"/>
              <a:ext cx="27940" cy="25400"/>
            </a:xfrm>
            <a:custGeom>
              <a:avLst/>
              <a:gdLst/>
              <a:ahLst/>
              <a:cxnLst/>
              <a:rect l="l" t="t" r="r" b="b"/>
              <a:pathLst>
                <a:path w="27940" h="25400">
                  <a:moveTo>
                    <a:pt x="18275" y="0"/>
                  </a:moveTo>
                  <a:lnTo>
                    <a:pt x="11950" y="1854"/>
                  </a:lnTo>
                  <a:lnTo>
                    <a:pt x="12268" y="3035"/>
                  </a:lnTo>
                  <a:lnTo>
                    <a:pt x="15367" y="3200"/>
                  </a:lnTo>
                  <a:lnTo>
                    <a:pt x="18770" y="4102"/>
                  </a:lnTo>
                  <a:lnTo>
                    <a:pt x="20713" y="6680"/>
                  </a:lnTo>
                  <a:lnTo>
                    <a:pt x="3086" y="16941"/>
                  </a:lnTo>
                  <a:lnTo>
                    <a:pt x="2070" y="16598"/>
                  </a:lnTo>
                  <a:lnTo>
                    <a:pt x="914" y="14605"/>
                  </a:lnTo>
                  <a:lnTo>
                    <a:pt x="0" y="15138"/>
                  </a:lnTo>
                  <a:lnTo>
                    <a:pt x="5753" y="25031"/>
                  </a:lnTo>
                  <a:lnTo>
                    <a:pt x="6667" y="24498"/>
                  </a:lnTo>
                  <a:lnTo>
                    <a:pt x="5511" y="22517"/>
                  </a:lnTo>
                  <a:lnTo>
                    <a:pt x="5715" y="21463"/>
                  </a:lnTo>
                  <a:lnTo>
                    <a:pt x="23355" y="11201"/>
                  </a:lnTo>
                  <a:lnTo>
                    <a:pt x="24841" y="13881"/>
                  </a:lnTo>
                  <a:lnTo>
                    <a:pt x="23672" y="17856"/>
                  </a:lnTo>
                  <a:lnTo>
                    <a:pt x="22377" y="20396"/>
                  </a:lnTo>
                  <a:lnTo>
                    <a:pt x="23241" y="21259"/>
                  </a:lnTo>
                  <a:lnTo>
                    <a:pt x="27901" y="16548"/>
                  </a:lnTo>
                  <a:lnTo>
                    <a:pt x="18275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9" name="object 171">
              <a:extLst>
                <a:ext uri="{FF2B5EF4-FFF2-40B4-BE49-F238E27FC236}">
                  <a16:creationId xmlns:a16="http://schemas.microsoft.com/office/drawing/2014/main" id="{55F70102-7F47-4CE5-91DB-72F583F3D978}"/>
                </a:ext>
              </a:extLst>
            </p:cNvPr>
            <p:cNvSpPr/>
            <p:nvPr/>
          </p:nvSpPr>
          <p:spPr>
            <a:xfrm>
              <a:off x="7894249" y="6349362"/>
              <a:ext cx="27940" cy="25400"/>
            </a:xfrm>
            <a:custGeom>
              <a:avLst/>
              <a:gdLst/>
              <a:ahLst/>
              <a:cxnLst/>
              <a:rect l="l" t="t" r="r" b="b"/>
              <a:pathLst>
                <a:path w="27940" h="25400">
                  <a:moveTo>
                    <a:pt x="27901" y="16548"/>
                  </a:moveTo>
                  <a:lnTo>
                    <a:pt x="23241" y="21259"/>
                  </a:lnTo>
                  <a:lnTo>
                    <a:pt x="22377" y="20396"/>
                  </a:lnTo>
                  <a:lnTo>
                    <a:pt x="23672" y="17856"/>
                  </a:lnTo>
                  <a:lnTo>
                    <a:pt x="24841" y="13881"/>
                  </a:lnTo>
                  <a:lnTo>
                    <a:pt x="23355" y="11201"/>
                  </a:lnTo>
                  <a:lnTo>
                    <a:pt x="7658" y="20345"/>
                  </a:lnTo>
                  <a:lnTo>
                    <a:pt x="5715" y="21463"/>
                  </a:lnTo>
                  <a:lnTo>
                    <a:pt x="5511" y="22517"/>
                  </a:lnTo>
                  <a:lnTo>
                    <a:pt x="6667" y="24498"/>
                  </a:lnTo>
                  <a:lnTo>
                    <a:pt x="5753" y="25031"/>
                  </a:lnTo>
                  <a:lnTo>
                    <a:pt x="0" y="15138"/>
                  </a:lnTo>
                  <a:lnTo>
                    <a:pt x="914" y="14605"/>
                  </a:lnTo>
                  <a:lnTo>
                    <a:pt x="2070" y="16598"/>
                  </a:lnTo>
                  <a:lnTo>
                    <a:pt x="3086" y="16941"/>
                  </a:lnTo>
                  <a:lnTo>
                    <a:pt x="5016" y="15798"/>
                  </a:lnTo>
                  <a:lnTo>
                    <a:pt x="20713" y="6680"/>
                  </a:lnTo>
                  <a:lnTo>
                    <a:pt x="18770" y="4102"/>
                  </a:lnTo>
                  <a:lnTo>
                    <a:pt x="15367" y="3200"/>
                  </a:lnTo>
                  <a:lnTo>
                    <a:pt x="12268" y="3035"/>
                  </a:lnTo>
                  <a:lnTo>
                    <a:pt x="11950" y="1854"/>
                  </a:lnTo>
                  <a:lnTo>
                    <a:pt x="18275" y="0"/>
                  </a:lnTo>
                  <a:lnTo>
                    <a:pt x="27901" y="16548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0" name="object 172">
              <a:extLst>
                <a:ext uri="{FF2B5EF4-FFF2-40B4-BE49-F238E27FC236}">
                  <a16:creationId xmlns:a16="http://schemas.microsoft.com/office/drawing/2014/main" id="{A2D1C353-0D94-424F-90A5-31C2989DD1E0}"/>
                </a:ext>
              </a:extLst>
            </p:cNvPr>
            <p:cNvSpPr/>
            <p:nvPr/>
          </p:nvSpPr>
          <p:spPr>
            <a:xfrm>
              <a:off x="7905570" y="6368277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18122" y="0"/>
                  </a:moveTo>
                  <a:lnTo>
                    <a:pt x="17297" y="660"/>
                  </a:lnTo>
                  <a:lnTo>
                    <a:pt x="18757" y="2438"/>
                  </a:lnTo>
                  <a:lnTo>
                    <a:pt x="18719" y="3505"/>
                  </a:lnTo>
                  <a:lnTo>
                    <a:pt x="3327" y="16090"/>
                  </a:lnTo>
                  <a:lnTo>
                    <a:pt x="2273" y="15913"/>
                  </a:lnTo>
                  <a:lnTo>
                    <a:pt x="812" y="14135"/>
                  </a:lnTo>
                  <a:lnTo>
                    <a:pt x="0" y="14808"/>
                  </a:lnTo>
                  <a:lnTo>
                    <a:pt x="12191" y="29730"/>
                  </a:lnTo>
                  <a:lnTo>
                    <a:pt x="18313" y="27825"/>
                  </a:lnTo>
                  <a:lnTo>
                    <a:pt x="18122" y="26873"/>
                  </a:lnTo>
                  <a:lnTo>
                    <a:pt x="14287" y="26784"/>
                  </a:lnTo>
                  <a:lnTo>
                    <a:pt x="10312" y="25450"/>
                  </a:lnTo>
                  <a:lnTo>
                    <a:pt x="6362" y="20624"/>
                  </a:lnTo>
                  <a:lnTo>
                    <a:pt x="7213" y="19684"/>
                  </a:lnTo>
                  <a:lnTo>
                    <a:pt x="13868" y="14249"/>
                  </a:lnTo>
                  <a:lnTo>
                    <a:pt x="16294" y="17221"/>
                  </a:lnTo>
                  <a:lnTo>
                    <a:pt x="16763" y="18948"/>
                  </a:lnTo>
                  <a:lnTo>
                    <a:pt x="14795" y="21653"/>
                  </a:lnTo>
                  <a:lnTo>
                    <a:pt x="15595" y="22618"/>
                  </a:lnTo>
                  <a:lnTo>
                    <a:pt x="22745" y="16776"/>
                  </a:lnTo>
                  <a:lnTo>
                    <a:pt x="21958" y="15811"/>
                  </a:lnTo>
                  <a:lnTo>
                    <a:pt x="18770" y="17005"/>
                  </a:lnTo>
                  <a:lnTo>
                    <a:pt x="17462" y="16255"/>
                  </a:lnTo>
                  <a:lnTo>
                    <a:pt x="15024" y="13296"/>
                  </a:lnTo>
                  <a:lnTo>
                    <a:pt x="22428" y="7238"/>
                  </a:lnTo>
                  <a:lnTo>
                    <a:pt x="26542" y="12280"/>
                  </a:lnTo>
                  <a:lnTo>
                    <a:pt x="26809" y="16344"/>
                  </a:lnTo>
                  <a:lnTo>
                    <a:pt x="26009" y="19761"/>
                  </a:lnTo>
                  <a:lnTo>
                    <a:pt x="26962" y="20269"/>
                  </a:lnTo>
                  <a:lnTo>
                    <a:pt x="30314" y="14922"/>
                  </a:lnTo>
                  <a:lnTo>
                    <a:pt x="18122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1" name="object 173">
              <a:extLst>
                <a:ext uri="{FF2B5EF4-FFF2-40B4-BE49-F238E27FC236}">
                  <a16:creationId xmlns:a16="http://schemas.microsoft.com/office/drawing/2014/main" id="{62D63A42-0F1F-435A-B673-6BF9B29A5A7D}"/>
                </a:ext>
              </a:extLst>
            </p:cNvPr>
            <p:cNvSpPr/>
            <p:nvPr/>
          </p:nvSpPr>
          <p:spPr>
            <a:xfrm>
              <a:off x="7905570" y="6368277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812" y="14135"/>
                  </a:moveTo>
                  <a:lnTo>
                    <a:pt x="2273" y="15913"/>
                  </a:lnTo>
                  <a:lnTo>
                    <a:pt x="3327" y="16090"/>
                  </a:lnTo>
                  <a:lnTo>
                    <a:pt x="5054" y="14681"/>
                  </a:lnTo>
                  <a:lnTo>
                    <a:pt x="16992" y="4927"/>
                  </a:lnTo>
                  <a:lnTo>
                    <a:pt x="18719" y="3505"/>
                  </a:lnTo>
                  <a:lnTo>
                    <a:pt x="18757" y="2438"/>
                  </a:lnTo>
                  <a:lnTo>
                    <a:pt x="17297" y="660"/>
                  </a:lnTo>
                  <a:lnTo>
                    <a:pt x="18122" y="0"/>
                  </a:lnTo>
                  <a:lnTo>
                    <a:pt x="30314" y="14922"/>
                  </a:lnTo>
                  <a:lnTo>
                    <a:pt x="26962" y="20269"/>
                  </a:lnTo>
                  <a:lnTo>
                    <a:pt x="26009" y="19761"/>
                  </a:lnTo>
                  <a:lnTo>
                    <a:pt x="26809" y="16344"/>
                  </a:lnTo>
                  <a:lnTo>
                    <a:pt x="26542" y="12280"/>
                  </a:lnTo>
                  <a:lnTo>
                    <a:pt x="24231" y="9448"/>
                  </a:lnTo>
                  <a:lnTo>
                    <a:pt x="22428" y="7238"/>
                  </a:lnTo>
                  <a:lnTo>
                    <a:pt x="21691" y="7848"/>
                  </a:lnTo>
                  <a:lnTo>
                    <a:pt x="19862" y="9347"/>
                  </a:lnTo>
                  <a:lnTo>
                    <a:pt x="15024" y="13296"/>
                  </a:lnTo>
                  <a:lnTo>
                    <a:pt x="15430" y="13792"/>
                  </a:lnTo>
                  <a:lnTo>
                    <a:pt x="17462" y="16255"/>
                  </a:lnTo>
                  <a:lnTo>
                    <a:pt x="18770" y="17005"/>
                  </a:lnTo>
                  <a:lnTo>
                    <a:pt x="21958" y="15811"/>
                  </a:lnTo>
                  <a:lnTo>
                    <a:pt x="22745" y="16776"/>
                  </a:lnTo>
                  <a:lnTo>
                    <a:pt x="15595" y="22618"/>
                  </a:lnTo>
                  <a:lnTo>
                    <a:pt x="14795" y="21653"/>
                  </a:lnTo>
                  <a:lnTo>
                    <a:pt x="16763" y="18948"/>
                  </a:lnTo>
                  <a:lnTo>
                    <a:pt x="16294" y="17221"/>
                  </a:lnTo>
                  <a:lnTo>
                    <a:pt x="14312" y="14795"/>
                  </a:lnTo>
                  <a:lnTo>
                    <a:pt x="13868" y="14249"/>
                  </a:lnTo>
                  <a:lnTo>
                    <a:pt x="8648" y="18503"/>
                  </a:lnTo>
                  <a:lnTo>
                    <a:pt x="7213" y="19684"/>
                  </a:lnTo>
                  <a:lnTo>
                    <a:pt x="6362" y="20624"/>
                  </a:lnTo>
                  <a:lnTo>
                    <a:pt x="7797" y="22390"/>
                  </a:lnTo>
                  <a:lnTo>
                    <a:pt x="10312" y="25450"/>
                  </a:lnTo>
                  <a:lnTo>
                    <a:pt x="14287" y="26784"/>
                  </a:lnTo>
                  <a:lnTo>
                    <a:pt x="18122" y="26873"/>
                  </a:lnTo>
                  <a:lnTo>
                    <a:pt x="18313" y="27825"/>
                  </a:lnTo>
                  <a:lnTo>
                    <a:pt x="12191" y="29730"/>
                  </a:lnTo>
                  <a:lnTo>
                    <a:pt x="0" y="14808"/>
                  </a:lnTo>
                  <a:lnTo>
                    <a:pt x="812" y="14135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2" name="object 174">
              <a:extLst>
                <a:ext uri="{FF2B5EF4-FFF2-40B4-BE49-F238E27FC236}">
                  <a16:creationId xmlns:a16="http://schemas.microsoft.com/office/drawing/2014/main" id="{3DDA3E62-1C80-4018-8976-FF9702CFCF23}"/>
                </a:ext>
              </a:extLst>
            </p:cNvPr>
            <p:cNvSpPr/>
            <p:nvPr/>
          </p:nvSpPr>
          <p:spPr>
            <a:xfrm>
              <a:off x="7921863" y="6385165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5">
                  <a:moveTo>
                    <a:pt x="9169" y="23977"/>
                  </a:moveTo>
                  <a:lnTo>
                    <a:pt x="8318" y="24891"/>
                  </a:lnTo>
                  <a:lnTo>
                    <a:pt x="9842" y="26238"/>
                  </a:lnTo>
                  <a:lnTo>
                    <a:pt x="11341" y="27355"/>
                  </a:lnTo>
                  <a:lnTo>
                    <a:pt x="16941" y="29425"/>
                  </a:lnTo>
                  <a:lnTo>
                    <a:pt x="21843" y="28574"/>
                  </a:lnTo>
                  <a:lnTo>
                    <a:pt x="23302" y="26936"/>
                  </a:lnTo>
                  <a:lnTo>
                    <a:pt x="15862" y="26936"/>
                  </a:lnTo>
                  <a:lnTo>
                    <a:pt x="12153" y="26631"/>
                  </a:lnTo>
                  <a:lnTo>
                    <a:pt x="9169" y="23977"/>
                  </a:lnTo>
                  <a:close/>
                </a:path>
                <a:path w="29845" h="29845">
                  <a:moveTo>
                    <a:pt x="22837" y="6476"/>
                  </a:moveTo>
                  <a:lnTo>
                    <a:pt x="20967" y="6476"/>
                  </a:lnTo>
                  <a:lnTo>
                    <a:pt x="26047" y="10998"/>
                  </a:lnTo>
                  <a:lnTo>
                    <a:pt x="26936" y="14477"/>
                  </a:lnTo>
                  <a:lnTo>
                    <a:pt x="15862" y="26936"/>
                  </a:lnTo>
                  <a:lnTo>
                    <a:pt x="23302" y="26936"/>
                  </a:lnTo>
                  <a:lnTo>
                    <a:pt x="29070" y="20459"/>
                  </a:lnTo>
                  <a:lnTo>
                    <a:pt x="29349" y="15608"/>
                  </a:lnTo>
                  <a:lnTo>
                    <a:pt x="27355" y="11645"/>
                  </a:lnTo>
                  <a:lnTo>
                    <a:pt x="26542" y="10071"/>
                  </a:lnTo>
                  <a:lnTo>
                    <a:pt x="25349" y="8712"/>
                  </a:lnTo>
                  <a:lnTo>
                    <a:pt x="22837" y="6476"/>
                  </a:lnTo>
                  <a:close/>
                </a:path>
                <a:path w="29845" h="29845">
                  <a:moveTo>
                    <a:pt x="698" y="16700"/>
                  </a:moveTo>
                  <a:lnTo>
                    <a:pt x="0" y="17487"/>
                  </a:lnTo>
                  <a:lnTo>
                    <a:pt x="8318" y="24891"/>
                  </a:lnTo>
                  <a:lnTo>
                    <a:pt x="9169" y="23977"/>
                  </a:lnTo>
                  <a:lnTo>
                    <a:pt x="7073" y="22110"/>
                  </a:lnTo>
                  <a:lnTo>
                    <a:pt x="10516" y="18237"/>
                  </a:lnTo>
                  <a:lnTo>
                    <a:pt x="2425" y="18237"/>
                  </a:lnTo>
                  <a:lnTo>
                    <a:pt x="698" y="16700"/>
                  </a:lnTo>
                  <a:close/>
                </a:path>
                <a:path w="29845" h="29845">
                  <a:moveTo>
                    <a:pt x="15557" y="0"/>
                  </a:moveTo>
                  <a:lnTo>
                    <a:pt x="14846" y="787"/>
                  </a:lnTo>
                  <a:lnTo>
                    <a:pt x="16573" y="2324"/>
                  </a:lnTo>
                  <a:lnTo>
                    <a:pt x="16700" y="3378"/>
                  </a:lnTo>
                  <a:lnTo>
                    <a:pt x="3479" y="18237"/>
                  </a:lnTo>
                  <a:lnTo>
                    <a:pt x="10516" y="18237"/>
                  </a:lnTo>
                  <a:lnTo>
                    <a:pt x="20967" y="6476"/>
                  </a:lnTo>
                  <a:lnTo>
                    <a:pt x="22837" y="6476"/>
                  </a:lnTo>
                  <a:lnTo>
                    <a:pt x="15557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3" name="object 175">
              <a:extLst>
                <a:ext uri="{FF2B5EF4-FFF2-40B4-BE49-F238E27FC236}">
                  <a16:creationId xmlns:a16="http://schemas.microsoft.com/office/drawing/2014/main" id="{7C4F86E9-84B8-48E8-B12E-AE6598491787}"/>
                </a:ext>
              </a:extLst>
            </p:cNvPr>
            <p:cNvSpPr/>
            <p:nvPr/>
          </p:nvSpPr>
          <p:spPr>
            <a:xfrm>
              <a:off x="7921863" y="6385165"/>
              <a:ext cx="29845" cy="29845"/>
            </a:xfrm>
            <a:custGeom>
              <a:avLst/>
              <a:gdLst/>
              <a:ahLst/>
              <a:cxnLst/>
              <a:rect l="l" t="t" r="r" b="b"/>
              <a:pathLst>
                <a:path w="29845" h="29845">
                  <a:moveTo>
                    <a:pt x="9169" y="23977"/>
                  </a:moveTo>
                  <a:lnTo>
                    <a:pt x="7073" y="22110"/>
                  </a:lnTo>
                  <a:lnTo>
                    <a:pt x="7531" y="21577"/>
                  </a:lnTo>
                  <a:lnTo>
                    <a:pt x="9131" y="19786"/>
                  </a:lnTo>
                  <a:lnTo>
                    <a:pt x="18986" y="8699"/>
                  </a:lnTo>
                  <a:lnTo>
                    <a:pt x="20319" y="7200"/>
                  </a:lnTo>
                  <a:lnTo>
                    <a:pt x="20967" y="6476"/>
                  </a:lnTo>
                  <a:lnTo>
                    <a:pt x="22796" y="8115"/>
                  </a:lnTo>
                  <a:lnTo>
                    <a:pt x="26047" y="10998"/>
                  </a:lnTo>
                  <a:lnTo>
                    <a:pt x="26936" y="14477"/>
                  </a:lnTo>
                  <a:lnTo>
                    <a:pt x="21704" y="20358"/>
                  </a:lnTo>
                  <a:lnTo>
                    <a:pt x="15862" y="26936"/>
                  </a:lnTo>
                  <a:lnTo>
                    <a:pt x="12153" y="26631"/>
                  </a:lnTo>
                  <a:lnTo>
                    <a:pt x="9169" y="23977"/>
                  </a:lnTo>
                  <a:lnTo>
                    <a:pt x="8318" y="24891"/>
                  </a:lnTo>
                  <a:lnTo>
                    <a:pt x="9842" y="26238"/>
                  </a:lnTo>
                  <a:lnTo>
                    <a:pt x="11341" y="27355"/>
                  </a:lnTo>
                  <a:lnTo>
                    <a:pt x="13055" y="27978"/>
                  </a:lnTo>
                  <a:lnTo>
                    <a:pt x="16941" y="29425"/>
                  </a:lnTo>
                  <a:lnTo>
                    <a:pt x="21843" y="28574"/>
                  </a:lnTo>
                  <a:lnTo>
                    <a:pt x="25311" y="24676"/>
                  </a:lnTo>
                  <a:lnTo>
                    <a:pt x="29070" y="20459"/>
                  </a:lnTo>
                  <a:lnTo>
                    <a:pt x="23863" y="7391"/>
                  </a:lnTo>
                  <a:lnTo>
                    <a:pt x="15557" y="0"/>
                  </a:lnTo>
                  <a:lnTo>
                    <a:pt x="14846" y="787"/>
                  </a:lnTo>
                  <a:lnTo>
                    <a:pt x="16573" y="2324"/>
                  </a:lnTo>
                  <a:lnTo>
                    <a:pt x="16700" y="3378"/>
                  </a:lnTo>
                  <a:lnTo>
                    <a:pt x="15214" y="5054"/>
                  </a:lnTo>
                  <a:lnTo>
                    <a:pt x="4978" y="16573"/>
                  </a:lnTo>
                  <a:lnTo>
                    <a:pt x="3479" y="18237"/>
                  </a:lnTo>
                  <a:lnTo>
                    <a:pt x="2425" y="18237"/>
                  </a:lnTo>
                  <a:lnTo>
                    <a:pt x="698" y="16700"/>
                  </a:lnTo>
                  <a:lnTo>
                    <a:pt x="0" y="17487"/>
                  </a:lnTo>
                  <a:lnTo>
                    <a:pt x="8318" y="24891"/>
                  </a:lnTo>
                  <a:lnTo>
                    <a:pt x="9169" y="23977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4" name="object 176">
              <a:extLst>
                <a:ext uri="{FF2B5EF4-FFF2-40B4-BE49-F238E27FC236}">
                  <a16:creationId xmlns:a16="http://schemas.microsoft.com/office/drawing/2014/main" id="{A82E374D-5B6E-4267-BF43-6B2CF32E96BB}"/>
                </a:ext>
              </a:extLst>
            </p:cNvPr>
            <p:cNvSpPr/>
            <p:nvPr/>
          </p:nvSpPr>
          <p:spPr>
            <a:xfrm>
              <a:off x="7948182" y="6405007"/>
              <a:ext cx="24130" cy="26670"/>
            </a:xfrm>
            <a:custGeom>
              <a:avLst/>
              <a:gdLst/>
              <a:ahLst/>
              <a:cxnLst/>
              <a:rect l="l" t="t" r="r" b="b"/>
              <a:pathLst>
                <a:path w="24129" h="26670">
                  <a:moveTo>
                    <a:pt x="14312" y="0"/>
                  </a:moveTo>
                  <a:lnTo>
                    <a:pt x="10160" y="596"/>
                  </a:lnTo>
                  <a:lnTo>
                    <a:pt x="5181" y="8674"/>
                  </a:lnTo>
                  <a:lnTo>
                    <a:pt x="8902" y="12839"/>
                  </a:lnTo>
                  <a:lnTo>
                    <a:pt x="14960" y="19875"/>
                  </a:lnTo>
                  <a:lnTo>
                    <a:pt x="12306" y="24206"/>
                  </a:lnTo>
                  <a:lnTo>
                    <a:pt x="9436" y="24358"/>
                  </a:lnTo>
                  <a:lnTo>
                    <a:pt x="4178" y="21120"/>
                  </a:lnTo>
                  <a:lnTo>
                    <a:pt x="3390" y="16484"/>
                  </a:lnTo>
                  <a:lnTo>
                    <a:pt x="3378" y="12903"/>
                  </a:lnTo>
                  <a:lnTo>
                    <a:pt x="2095" y="12598"/>
                  </a:lnTo>
                  <a:lnTo>
                    <a:pt x="0" y="19977"/>
                  </a:lnTo>
                  <a:lnTo>
                    <a:pt x="2222" y="20231"/>
                  </a:lnTo>
                  <a:lnTo>
                    <a:pt x="2501" y="20319"/>
                  </a:lnTo>
                  <a:lnTo>
                    <a:pt x="3505" y="20942"/>
                  </a:lnTo>
                  <a:lnTo>
                    <a:pt x="3746" y="21272"/>
                  </a:lnTo>
                  <a:lnTo>
                    <a:pt x="5067" y="22796"/>
                  </a:lnTo>
                  <a:lnTo>
                    <a:pt x="6057" y="23748"/>
                  </a:lnTo>
                  <a:lnTo>
                    <a:pt x="10795" y="26657"/>
                  </a:lnTo>
                  <a:lnTo>
                    <a:pt x="15494" y="25984"/>
                  </a:lnTo>
                  <a:lnTo>
                    <a:pt x="20269" y="18211"/>
                  </a:lnTo>
                  <a:lnTo>
                    <a:pt x="17957" y="14655"/>
                  </a:lnTo>
                  <a:lnTo>
                    <a:pt x="12573" y="8381"/>
                  </a:lnTo>
                  <a:lnTo>
                    <a:pt x="10604" y="6349"/>
                  </a:lnTo>
                  <a:lnTo>
                    <a:pt x="13182" y="2146"/>
                  </a:lnTo>
                  <a:lnTo>
                    <a:pt x="15328" y="2082"/>
                  </a:lnTo>
                  <a:lnTo>
                    <a:pt x="19951" y="4927"/>
                  </a:lnTo>
                  <a:lnTo>
                    <a:pt x="20955" y="9397"/>
                  </a:lnTo>
                  <a:lnTo>
                    <a:pt x="20942" y="12407"/>
                  </a:lnTo>
                  <a:lnTo>
                    <a:pt x="22199" y="12687"/>
                  </a:lnTo>
                  <a:lnTo>
                    <a:pt x="24028" y="5702"/>
                  </a:lnTo>
                  <a:lnTo>
                    <a:pt x="23241" y="5867"/>
                  </a:lnTo>
                  <a:lnTo>
                    <a:pt x="21983" y="5841"/>
                  </a:lnTo>
                  <a:lnTo>
                    <a:pt x="20891" y="5168"/>
                  </a:lnTo>
                  <a:lnTo>
                    <a:pt x="19507" y="3454"/>
                  </a:lnTo>
                  <a:lnTo>
                    <a:pt x="18783" y="2743"/>
                  </a:lnTo>
                  <a:lnTo>
                    <a:pt x="14312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5" name="object 177">
              <a:extLst>
                <a:ext uri="{FF2B5EF4-FFF2-40B4-BE49-F238E27FC236}">
                  <a16:creationId xmlns:a16="http://schemas.microsoft.com/office/drawing/2014/main" id="{5740EF04-382D-4222-946F-3A01B4C0A7E2}"/>
                </a:ext>
              </a:extLst>
            </p:cNvPr>
            <p:cNvSpPr/>
            <p:nvPr/>
          </p:nvSpPr>
          <p:spPr>
            <a:xfrm>
              <a:off x="7948182" y="6405007"/>
              <a:ext cx="24130" cy="26670"/>
            </a:xfrm>
            <a:custGeom>
              <a:avLst/>
              <a:gdLst/>
              <a:ahLst/>
              <a:cxnLst/>
              <a:rect l="l" t="t" r="r" b="b"/>
              <a:pathLst>
                <a:path w="24129" h="26670">
                  <a:moveTo>
                    <a:pt x="22199" y="12687"/>
                  </a:moveTo>
                  <a:lnTo>
                    <a:pt x="20942" y="12407"/>
                  </a:lnTo>
                  <a:lnTo>
                    <a:pt x="20955" y="9397"/>
                  </a:lnTo>
                  <a:lnTo>
                    <a:pt x="19951" y="4927"/>
                  </a:lnTo>
                  <a:lnTo>
                    <a:pt x="17208" y="3238"/>
                  </a:lnTo>
                  <a:lnTo>
                    <a:pt x="15328" y="2082"/>
                  </a:lnTo>
                  <a:lnTo>
                    <a:pt x="13182" y="2146"/>
                  </a:lnTo>
                  <a:lnTo>
                    <a:pt x="11976" y="4114"/>
                  </a:lnTo>
                  <a:lnTo>
                    <a:pt x="10604" y="6349"/>
                  </a:lnTo>
                  <a:lnTo>
                    <a:pt x="20269" y="18211"/>
                  </a:lnTo>
                  <a:lnTo>
                    <a:pt x="17792" y="22250"/>
                  </a:lnTo>
                  <a:lnTo>
                    <a:pt x="15494" y="25984"/>
                  </a:lnTo>
                  <a:lnTo>
                    <a:pt x="10795" y="26657"/>
                  </a:lnTo>
                  <a:lnTo>
                    <a:pt x="7226" y="24472"/>
                  </a:lnTo>
                  <a:lnTo>
                    <a:pt x="3505" y="20942"/>
                  </a:lnTo>
                  <a:lnTo>
                    <a:pt x="2959" y="20612"/>
                  </a:lnTo>
                  <a:lnTo>
                    <a:pt x="2501" y="20319"/>
                  </a:lnTo>
                  <a:lnTo>
                    <a:pt x="2222" y="20231"/>
                  </a:lnTo>
                  <a:lnTo>
                    <a:pt x="0" y="19977"/>
                  </a:lnTo>
                  <a:lnTo>
                    <a:pt x="2095" y="12598"/>
                  </a:lnTo>
                  <a:lnTo>
                    <a:pt x="3378" y="12903"/>
                  </a:lnTo>
                  <a:lnTo>
                    <a:pt x="3390" y="16484"/>
                  </a:lnTo>
                  <a:lnTo>
                    <a:pt x="4178" y="21120"/>
                  </a:lnTo>
                  <a:lnTo>
                    <a:pt x="7467" y="23152"/>
                  </a:lnTo>
                  <a:lnTo>
                    <a:pt x="9436" y="24358"/>
                  </a:lnTo>
                  <a:lnTo>
                    <a:pt x="12306" y="24206"/>
                  </a:lnTo>
                  <a:lnTo>
                    <a:pt x="13601" y="22110"/>
                  </a:lnTo>
                  <a:lnTo>
                    <a:pt x="14960" y="19875"/>
                  </a:lnTo>
                  <a:lnTo>
                    <a:pt x="13208" y="17856"/>
                  </a:lnTo>
                  <a:lnTo>
                    <a:pt x="11798" y="16243"/>
                  </a:lnTo>
                  <a:lnTo>
                    <a:pt x="8902" y="12839"/>
                  </a:lnTo>
                  <a:lnTo>
                    <a:pt x="5181" y="8674"/>
                  </a:lnTo>
                  <a:lnTo>
                    <a:pt x="8026" y="4051"/>
                  </a:lnTo>
                  <a:lnTo>
                    <a:pt x="10160" y="596"/>
                  </a:lnTo>
                  <a:lnTo>
                    <a:pt x="14312" y="0"/>
                  </a:lnTo>
                  <a:lnTo>
                    <a:pt x="17665" y="2057"/>
                  </a:lnTo>
                  <a:lnTo>
                    <a:pt x="18783" y="2743"/>
                  </a:lnTo>
                  <a:lnTo>
                    <a:pt x="19507" y="3454"/>
                  </a:lnTo>
                  <a:lnTo>
                    <a:pt x="20332" y="4444"/>
                  </a:lnTo>
                  <a:lnTo>
                    <a:pt x="20624" y="4813"/>
                  </a:lnTo>
                  <a:lnTo>
                    <a:pt x="20891" y="5168"/>
                  </a:lnTo>
                  <a:lnTo>
                    <a:pt x="21297" y="5422"/>
                  </a:lnTo>
                  <a:lnTo>
                    <a:pt x="21983" y="5841"/>
                  </a:lnTo>
                  <a:lnTo>
                    <a:pt x="23241" y="5867"/>
                  </a:lnTo>
                  <a:lnTo>
                    <a:pt x="24028" y="5702"/>
                  </a:lnTo>
                  <a:lnTo>
                    <a:pt x="22199" y="12687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6" name="object 178">
              <a:extLst>
                <a:ext uri="{FF2B5EF4-FFF2-40B4-BE49-F238E27FC236}">
                  <a16:creationId xmlns:a16="http://schemas.microsoft.com/office/drawing/2014/main" id="{4A8C035A-A7E9-46D4-B890-392733888847}"/>
                </a:ext>
              </a:extLst>
            </p:cNvPr>
            <p:cNvSpPr/>
            <p:nvPr/>
          </p:nvSpPr>
          <p:spPr>
            <a:xfrm>
              <a:off x="7969950" y="6413746"/>
              <a:ext cx="23495" cy="27940"/>
            </a:xfrm>
            <a:custGeom>
              <a:avLst/>
              <a:gdLst/>
              <a:ahLst/>
              <a:cxnLst/>
              <a:rect l="l" t="t" r="r" b="b"/>
              <a:pathLst>
                <a:path w="23495" h="27940">
                  <a:moveTo>
                    <a:pt x="5791" y="0"/>
                  </a:moveTo>
                  <a:lnTo>
                    <a:pt x="1790" y="5232"/>
                  </a:lnTo>
                  <a:lnTo>
                    <a:pt x="2755" y="5994"/>
                  </a:lnTo>
                  <a:lnTo>
                    <a:pt x="5346" y="4305"/>
                  </a:lnTo>
                  <a:lnTo>
                    <a:pt x="8623" y="3009"/>
                  </a:lnTo>
                  <a:lnTo>
                    <a:pt x="11709" y="3936"/>
                  </a:lnTo>
                  <a:lnTo>
                    <a:pt x="3543" y="22631"/>
                  </a:lnTo>
                  <a:lnTo>
                    <a:pt x="2539" y="22961"/>
                  </a:lnTo>
                  <a:lnTo>
                    <a:pt x="419" y="22034"/>
                  </a:lnTo>
                  <a:lnTo>
                    <a:pt x="0" y="22999"/>
                  </a:lnTo>
                  <a:lnTo>
                    <a:pt x="10490" y="27584"/>
                  </a:lnTo>
                  <a:lnTo>
                    <a:pt x="10909" y="26619"/>
                  </a:lnTo>
                  <a:lnTo>
                    <a:pt x="8801" y="25692"/>
                  </a:lnTo>
                  <a:lnTo>
                    <a:pt x="8356" y="24726"/>
                  </a:lnTo>
                  <a:lnTo>
                    <a:pt x="16509" y="6045"/>
                  </a:lnTo>
                  <a:lnTo>
                    <a:pt x="19303" y="7327"/>
                  </a:lnTo>
                  <a:lnTo>
                    <a:pt x="20700" y="11214"/>
                  </a:lnTo>
                  <a:lnTo>
                    <a:pt x="21158" y="14020"/>
                  </a:lnTo>
                  <a:lnTo>
                    <a:pt x="22364" y="14198"/>
                  </a:lnTo>
                  <a:lnTo>
                    <a:pt x="23342" y="7658"/>
                  </a:lnTo>
                  <a:lnTo>
                    <a:pt x="5791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7" name="object 179">
              <a:extLst>
                <a:ext uri="{FF2B5EF4-FFF2-40B4-BE49-F238E27FC236}">
                  <a16:creationId xmlns:a16="http://schemas.microsoft.com/office/drawing/2014/main" id="{4EDFF490-D73E-4359-BCAA-A6312B8ECCFE}"/>
                </a:ext>
              </a:extLst>
            </p:cNvPr>
            <p:cNvSpPr/>
            <p:nvPr/>
          </p:nvSpPr>
          <p:spPr>
            <a:xfrm>
              <a:off x="7969950" y="6413746"/>
              <a:ext cx="23495" cy="27940"/>
            </a:xfrm>
            <a:custGeom>
              <a:avLst/>
              <a:gdLst/>
              <a:ahLst/>
              <a:cxnLst/>
              <a:rect l="l" t="t" r="r" b="b"/>
              <a:pathLst>
                <a:path w="23495" h="27940">
                  <a:moveTo>
                    <a:pt x="23342" y="7658"/>
                  </a:moveTo>
                  <a:lnTo>
                    <a:pt x="22364" y="14198"/>
                  </a:lnTo>
                  <a:lnTo>
                    <a:pt x="21158" y="14020"/>
                  </a:lnTo>
                  <a:lnTo>
                    <a:pt x="20700" y="11214"/>
                  </a:lnTo>
                  <a:lnTo>
                    <a:pt x="19303" y="7327"/>
                  </a:lnTo>
                  <a:lnTo>
                    <a:pt x="16509" y="6045"/>
                  </a:lnTo>
                  <a:lnTo>
                    <a:pt x="9245" y="22682"/>
                  </a:lnTo>
                  <a:lnTo>
                    <a:pt x="8356" y="24726"/>
                  </a:lnTo>
                  <a:lnTo>
                    <a:pt x="8801" y="25692"/>
                  </a:lnTo>
                  <a:lnTo>
                    <a:pt x="10909" y="26619"/>
                  </a:lnTo>
                  <a:lnTo>
                    <a:pt x="10490" y="27584"/>
                  </a:lnTo>
                  <a:lnTo>
                    <a:pt x="0" y="22999"/>
                  </a:lnTo>
                  <a:lnTo>
                    <a:pt x="419" y="22034"/>
                  </a:lnTo>
                  <a:lnTo>
                    <a:pt x="2539" y="22961"/>
                  </a:lnTo>
                  <a:lnTo>
                    <a:pt x="3543" y="22631"/>
                  </a:lnTo>
                  <a:lnTo>
                    <a:pt x="4444" y="20586"/>
                  </a:lnTo>
                  <a:lnTo>
                    <a:pt x="11709" y="3936"/>
                  </a:lnTo>
                  <a:lnTo>
                    <a:pt x="8623" y="3009"/>
                  </a:lnTo>
                  <a:lnTo>
                    <a:pt x="5346" y="4305"/>
                  </a:lnTo>
                  <a:lnTo>
                    <a:pt x="2755" y="5994"/>
                  </a:lnTo>
                  <a:lnTo>
                    <a:pt x="1790" y="5232"/>
                  </a:lnTo>
                  <a:lnTo>
                    <a:pt x="5791" y="0"/>
                  </a:lnTo>
                  <a:lnTo>
                    <a:pt x="23342" y="7658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8" name="object 180">
              <a:extLst>
                <a:ext uri="{FF2B5EF4-FFF2-40B4-BE49-F238E27FC236}">
                  <a16:creationId xmlns:a16="http://schemas.microsoft.com/office/drawing/2014/main" id="{D916CC25-40F4-43E9-81D9-1B200E69AA0D}"/>
                </a:ext>
              </a:extLst>
            </p:cNvPr>
            <p:cNvSpPr/>
            <p:nvPr/>
          </p:nvSpPr>
          <p:spPr>
            <a:xfrm>
              <a:off x="7982902" y="6423778"/>
              <a:ext cx="24765" cy="26034"/>
            </a:xfrm>
            <a:custGeom>
              <a:avLst/>
              <a:gdLst/>
              <a:ahLst/>
              <a:cxnLst/>
              <a:rect l="l" t="t" r="r" b="b"/>
              <a:pathLst>
                <a:path w="24765" h="26034">
                  <a:moveTo>
                    <a:pt x="13868" y="21869"/>
                  </a:moveTo>
                  <a:lnTo>
                    <a:pt x="13563" y="22872"/>
                  </a:lnTo>
                  <a:lnTo>
                    <a:pt x="24333" y="26034"/>
                  </a:lnTo>
                  <a:lnTo>
                    <a:pt x="24625" y="25018"/>
                  </a:lnTo>
                  <a:lnTo>
                    <a:pt x="21882" y="24142"/>
                  </a:lnTo>
                  <a:lnTo>
                    <a:pt x="22045" y="22377"/>
                  </a:lnTo>
                  <a:lnTo>
                    <a:pt x="15849" y="22377"/>
                  </a:lnTo>
                  <a:lnTo>
                    <a:pt x="13868" y="21869"/>
                  </a:lnTo>
                  <a:close/>
                </a:path>
                <a:path w="24765" h="26034">
                  <a:moveTo>
                    <a:pt x="10007" y="11810"/>
                  </a:moveTo>
                  <a:lnTo>
                    <a:pt x="8978" y="13068"/>
                  </a:lnTo>
                  <a:lnTo>
                    <a:pt x="16802" y="15366"/>
                  </a:lnTo>
                  <a:lnTo>
                    <a:pt x="16865" y="20612"/>
                  </a:lnTo>
                  <a:lnTo>
                    <a:pt x="16421" y="22123"/>
                  </a:lnTo>
                  <a:lnTo>
                    <a:pt x="15849" y="22377"/>
                  </a:lnTo>
                  <a:lnTo>
                    <a:pt x="22045" y="22377"/>
                  </a:lnTo>
                  <a:lnTo>
                    <a:pt x="21914" y="13779"/>
                  </a:lnTo>
                  <a:lnTo>
                    <a:pt x="16725" y="13779"/>
                  </a:lnTo>
                  <a:lnTo>
                    <a:pt x="10007" y="11810"/>
                  </a:lnTo>
                  <a:close/>
                </a:path>
                <a:path w="24765" h="26034">
                  <a:moveTo>
                    <a:pt x="21704" y="0"/>
                  </a:moveTo>
                  <a:lnTo>
                    <a:pt x="16789" y="126"/>
                  </a:lnTo>
                  <a:lnTo>
                    <a:pt x="4445" y="16573"/>
                  </a:lnTo>
                  <a:lnTo>
                    <a:pt x="3378" y="17932"/>
                  </a:lnTo>
                  <a:lnTo>
                    <a:pt x="281" y="17932"/>
                  </a:lnTo>
                  <a:lnTo>
                    <a:pt x="0" y="18897"/>
                  </a:lnTo>
                  <a:lnTo>
                    <a:pt x="8166" y="21297"/>
                  </a:lnTo>
                  <a:lnTo>
                    <a:pt x="8458" y="20281"/>
                  </a:lnTo>
                  <a:lnTo>
                    <a:pt x="7137" y="19799"/>
                  </a:lnTo>
                  <a:lnTo>
                    <a:pt x="5905" y="18770"/>
                  </a:lnTo>
                  <a:lnTo>
                    <a:pt x="6151" y="17932"/>
                  </a:lnTo>
                  <a:lnTo>
                    <a:pt x="3378" y="17932"/>
                  </a:lnTo>
                  <a:lnTo>
                    <a:pt x="292" y="17894"/>
                  </a:lnTo>
                  <a:lnTo>
                    <a:pt x="6162" y="17894"/>
                  </a:lnTo>
                  <a:lnTo>
                    <a:pt x="6616" y="16344"/>
                  </a:lnTo>
                  <a:lnTo>
                    <a:pt x="8978" y="13068"/>
                  </a:lnTo>
                  <a:lnTo>
                    <a:pt x="10007" y="11810"/>
                  </a:lnTo>
                  <a:lnTo>
                    <a:pt x="16548" y="3022"/>
                  </a:lnTo>
                  <a:lnTo>
                    <a:pt x="21750" y="3022"/>
                  </a:lnTo>
                  <a:lnTo>
                    <a:pt x="21704" y="0"/>
                  </a:lnTo>
                  <a:close/>
                </a:path>
                <a:path w="24765" h="26034">
                  <a:moveTo>
                    <a:pt x="21750" y="3022"/>
                  </a:moveTo>
                  <a:lnTo>
                    <a:pt x="16548" y="3022"/>
                  </a:lnTo>
                  <a:lnTo>
                    <a:pt x="16725" y="13779"/>
                  </a:lnTo>
                  <a:lnTo>
                    <a:pt x="21914" y="13779"/>
                  </a:lnTo>
                  <a:lnTo>
                    <a:pt x="21750" y="3022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9" name="object 181">
              <a:extLst>
                <a:ext uri="{FF2B5EF4-FFF2-40B4-BE49-F238E27FC236}">
                  <a16:creationId xmlns:a16="http://schemas.microsoft.com/office/drawing/2014/main" id="{C764A71D-070B-4FF2-BB34-5DFC3791803C}"/>
                </a:ext>
              </a:extLst>
            </p:cNvPr>
            <p:cNvSpPr/>
            <p:nvPr/>
          </p:nvSpPr>
          <p:spPr>
            <a:xfrm>
              <a:off x="7982902" y="6423778"/>
              <a:ext cx="24765" cy="26034"/>
            </a:xfrm>
            <a:custGeom>
              <a:avLst/>
              <a:gdLst/>
              <a:ahLst/>
              <a:cxnLst/>
              <a:rect l="l" t="t" r="r" b="b"/>
              <a:pathLst>
                <a:path w="24765" h="26034">
                  <a:moveTo>
                    <a:pt x="10007" y="11810"/>
                  </a:moveTo>
                  <a:lnTo>
                    <a:pt x="16548" y="3022"/>
                  </a:lnTo>
                  <a:lnTo>
                    <a:pt x="16725" y="13779"/>
                  </a:lnTo>
                  <a:lnTo>
                    <a:pt x="10007" y="11810"/>
                  </a:lnTo>
                  <a:lnTo>
                    <a:pt x="8978" y="13068"/>
                  </a:lnTo>
                  <a:lnTo>
                    <a:pt x="16802" y="15366"/>
                  </a:lnTo>
                  <a:lnTo>
                    <a:pt x="16840" y="19303"/>
                  </a:lnTo>
                  <a:lnTo>
                    <a:pt x="16865" y="19913"/>
                  </a:lnTo>
                  <a:lnTo>
                    <a:pt x="16865" y="20612"/>
                  </a:lnTo>
                  <a:lnTo>
                    <a:pt x="16687" y="21196"/>
                  </a:lnTo>
                  <a:lnTo>
                    <a:pt x="16421" y="22123"/>
                  </a:lnTo>
                  <a:lnTo>
                    <a:pt x="15849" y="22377"/>
                  </a:lnTo>
                  <a:lnTo>
                    <a:pt x="13868" y="21869"/>
                  </a:lnTo>
                  <a:lnTo>
                    <a:pt x="13563" y="22872"/>
                  </a:lnTo>
                  <a:lnTo>
                    <a:pt x="24333" y="26034"/>
                  </a:lnTo>
                  <a:lnTo>
                    <a:pt x="24625" y="25018"/>
                  </a:lnTo>
                  <a:lnTo>
                    <a:pt x="21882" y="24142"/>
                  </a:lnTo>
                  <a:lnTo>
                    <a:pt x="22047" y="22466"/>
                  </a:lnTo>
                  <a:lnTo>
                    <a:pt x="22021" y="20053"/>
                  </a:lnTo>
                  <a:lnTo>
                    <a:pt x="21704" y="0"/>
                  </a:lnTo>
                  <a:lnTo>
                    <a:pt x="16789" y="126"/>
                  </a:lnTo>
                  <a:lnTo>
                    <a:pt x="6134" y="14338"/>
                  </a:lnTo>
                  <a:lnTo>
                    <a:pt x="4445" y="16573"/>
                  </a:lnTo>
                  <a:lnTo>
                    <a:pt x="3378" y="17932"/>
                  </a:lnTo>
                  <a:lnTo>
                    <a:pt x="292" y="17894"/>
                  </a:lnTo>
                  <a:lnTo>
                    <a:pt x="0" y="18897"/>
                  </a:lnTo>
                  <a:lnTo>
                    <a:pt x="8166" y="21297"/>
                  </a:lnTo>
                  <a:lnTo>
                    <a:pt x="8458" y="20281"/>
                  </a:lnTo>
                  <a:lnTo>
                    <a:pt x="7137" y="19799"/>
                  </a:lnTo>
                  <a:lnTo>
                    <a:pt x="5905" y="18770"/>
                  </a:lnTo>
                  <a:lnTo>
                    <a:pt x="6362" y="17208"/>
                  </a:lnTo>
                  <a:lnTo>
                    <a:pt x="6616" y="16344"/>
                  </a:lnTo>
                  <a:lnTo>
                    <a:pt x="7226" y="15519"/>
                  </a:lnTo>
                  <a:lnTo>
                    <a:pt x="7734" y="14808"/>
                  </a:lnTo>
                  <a:lnTo>
                    <a:pt x="8978" y="13068"/>
                  </a:lnTo>
                  <a:lnTo>
                    <a:pt x="10007" y="11810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0" name="object 182">
              <a:extLst>
                <a:ext uri="{FF2B5EF4-FFF2-40B4-BE49-F238E27FC236}">
                  <a16:creationId xmlns:a16="http://schemas.microsoft.com/office/drawing/2014/main" id="{F550A41D-ECF2-4D83-A380-BA32EC79E41D}"/>
                </a:ext>
              </a:extLst>
            </p:cNvPr>
            <p:cNvSpPr/>
            <p:nvPr/>
          </p:nvSpPr>
          <p:spPr>
            <a:xfrm>
              <a:off x="8007652" y="6426324"/>
              <a:ext cx="22225" cy="26034"/>
            </a:xfrm>
            <a:custGeom>
              <a:avLst/>
              <a:gdLst/>
              <a:ahLst/>
              <a:cxnLst/>
              <a:rect l="l" t="t" r="r" b="b"/>
              <a:pathLst>
                <a:path w="22225" h="26034">
                  <a:moveTo>
                    <a:pt x="2539" y="0"/>
                  </a:moveTo>
                  <a:lnTo>
                    <a:pt x="0" y="6083"/>
                  </a:lnTo>
                  <a:lnTo>
                    <a:pt x="1104" y="6578"/>
                  </a:lnTo>
                  <a:lnTo>
                    <a:pt x="3187" y="4279"/>
                  </a:lnTo>
                  <a:lnTo>
                    <a:pt x="6045" y="2197"/>
                  </a:lnTo>
                  <a:lnTo>
                    <a:pt x="9258" y="2324"/>
                  </a:lnTo>
                  <a:lnTo>
                    <a:pt x="6095" y="22478"/>
                  </a:lnTo>
                  <a:lnTo>
                    <a:pt x="5194" y="23037"/>
                  </a:lnTo>
                  <a:lnTo>
                    <a:pt x="2920" y="22694"/>
                  </a:lnTo>
                  <a:lnTo>
                    <a:pt x="2755" y="23736"/>
                  </a:lnTo>
                  <a:lnTo>
                    <a:pt x="14071" y="25501"/>
                  </a:lnTo>
                  <a:lnTo>
                    <a:pt x="14223" y="24460"/>
                  </a:lnTo>
                  <a:lnTo>
                    <a:pt x="11963" y="24104"/>
                  </a:lnTo>
                  <a:lnTo>
                    <a:pt x="11277" y="23291"/>
                  </a:lnTo>
                  <a:lnTo>
                    <a:pt x="14439" y="3136"/>
                  </a:lnTo>
                  <a:lnTo>
                    <a:pt x="17462" y="3670"/>
                  </a:lnTo>
                  <a:lnTo>
                    <a:pt x="19811" y="7086"/>
                  </a:lnTo>
                  <a:lnTo>
                    <a:pt x="20954" y="9690"/>
                  </a:lnTo>
                  <a:lnTo>
                    <a:pt x="22174" y="9563"/>
                  </a:lnTo>
                  <a:lnTo>
                    <a:pt x="21450" y="2971"/>
                  </a:lnTo>
                  <a:lnTo>
                    <a:pt x="2539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1" name="object 183">
              <a:extLst>
                <a:ext uri="{FF2B5EF4-FFF2-40B4-BE49-F238E27FC236}">
                  <a16:creationId xmlns:a16="http://schemas.microsoft.com/office/drawing/2014/main" id="{1BEB898A-C96B-43CC-B0FD-DEBB0693F8EC}"/>
                </a:ext>
              </a:extLst>
            </p:cNvPr>
            <p:cNvSpPr/>
            <p:nvPr/>
          </p:nvSpPr>
          <p:spPr>
            <a:xfrm>
              <a:off x="8007652" y="6426324"/>
              <a:ext cx="22225" cy="26034"/>
            </a:xfrm>
            <a:custGeom>
              <a:avLst/>
              <a:gdLst/>
              <a:ahLst/>
              <a:cxnLst/>
              <a:rect l="l" t="t" r="r" b="b"/>
              <a:pathLst>
                <a:path w="22225" h="26034">
                  <a:moveTo>
                    <a:pt x="21450" y="2971"/>
                  </a:moveTo>
                  <a:lnTo>
                    <a:pt x="22174" y="9563"/>
                  </a:lnTo>
                  <a:lnTo>
                    <a:pt x="20954" y="9690"/>
                  </a:lnTo>
                  <a:lnTo>
                    <a:pt x="19811" y="7086"/>
                  </a:lnTo>
                  <a:lnTo>
                    <a:pt x="17462" y="3670"/>
                  </a:lnTo>
                  <a:lnTo>
                    <a:pt x="14439" y="3136"/>
                  </a:lnTo>
                  <a:lnTo>
                    <a:pt x="11620" y="21081"/>
                  </a:lnTo>
                  <a:lnTo>
                    <a:pt x="11277" y="23291"/>
                  </a:lnTo>
                  <a:lnTo>
                    <a:pt x="11963" y="24104"/>
                  </a:lnTo>
                  <a:lnTo>
                    <a:pt x="14223" y="24460"/>
                  </a:lnTo>
                  <a:lnTo>
                    <a:pt x="14071" y="25501"/>
                  </a:lnTo>
                  <a:lnTo>
                    <a:pt x="2755" y="23736"/>
                  </a:lnTo>
                  <a:lnTo>
                    <a:pt x="2920" y="22694"/>
                  </a:lnTo>
                  <a:lnTo>
                    <a:pt x="5194" y="23037"/>
                  </a:lnTo>
                  <a:lnTo>
                    <a:pt x="6095" y="22478"/>
                  </a:lnTo>
                  <a:lnTo>
                    <a:pt x="6438" y="20256"/>
                  </a:lnTo>
                  <a:lnTo>
                    <a:pt x="9258" y="2324"/>
                  </a:lnTo>
                  <a:lnTo>
                    <a:pt x="6045" y="2197"/>
                  </a:lnTo>
                  <a:lnTo>
                    <a:pt x="3187" y="4279"/>
                  </a:lnTo>
                  <a:lnTo>
                    <a:pt x="1104" y="6578"/>
                  </a:lnTo>
                  <a:lnTo>
                    <a:pt x="0" y="6083"/>
                  </a:lnTo>
                  <a:lnTo>
                    <a:pt x="2539" y="0"/>
                  </a:lnTo>
                  <a:lnTo>
                    <a:pt x="21450" y="2971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2" name="object 184">
              <a:extLst>
                <a:ext uri="{FF2B5EF4-FFF2-40B4-BE49-F238E27FC236}">
                  <a16:creationId xmlns:a16="http://schemas.microsoft.com/office/drawing/2014/main" id="{60579AC5-D6C9-4501-AD1A-3EF981CD537B}"/>
                </a:ext>
              </a:extLst>
            </p:cNvPr>
            <p:cNvSpPr/>
            <p:nvPr/>
          </p:nvSpPr>
          <p:spPr>
            <a:xfrm>
              <a:off x="8031680" y="6429568"/>
              <a:ext cx="22225" cy="23495"/>
            </a:xfrm>
            <a:custGeom>
              <a:avLst/>
              <a:gdLst/>
              <a:ahLst/>
              <a:cxnLst/>
              <a:rect l="l" t="t" r="r" b="b"/>
              <a:pathLst>
                <a:path w="22225" h="23495">
                  <a:moveTo>
                    <a:pt x="19265" y="0"/>
                  </a:moveTo>
                  <a:lnTo>
                    <a:pt x="0" y="0"/>
                  </a:lnTo>
                  <a:lnTo>
                    <a:pt x="0" y="1054"/>
                  </a:lnTo>
                  <a:lnTo>
                    <a:pt x="2298" y="1054"/>
                  </a:lnTo>
                  <a:lnTo>
                    <a:pt x="3098" y="1765"/>
                  </a:lnTo>
                  <a:lnTo>
                    <a:pt x="3098" y="21653"/>
                  </a:lnTo>
                  <a:lnTo>
                    <a:pt x="2298" y="22351"/>
                  </a:lnTo>
                  <a:lnTo>
                    <a:pt x="0" y="22351"/>
                  </a:lnTo>
                  <a:lnTo>
                    <a:pt x="0" y="23406"/>
                  </a:lnTo>
                  <a:lnTo>
                    <a:pt x="19278" y="23406"/>
                  </a:lnTo>
                  <a:lnTo>
                    <a:pt x="21678" y="17449"/>
                  </a:lnTo>
                  <a:lnTo>
                    <a:pt x="20815" y="17005"/>
                  </a:lnTo>
                  <a:lnTo>
                    <a:pt x="18313" y="19913"/>
                  </a:lnTo>
                  <a:lnTo>
                    <a:pt x="14770" y="22148"/>
                  </a:lnTo>
                  <a:lnTo>
                    <a:pt x="8534" y="22148"/>
                  </a:lnTo>
                  <a:lnTo>
                    <a:pt x="8343" y="20904"/>
                  </a:lnTo>
                  <a:lnTo>
                    <a:pt x="8343" y="12306"/>
                  </a:lnTo>
                  <a:lnTo>
                    <a:pt x="12179" y="12306"/>
                  </a:lnTo>
                  <a:lnTo>
                    <a:pt x="13804" y="13042"/>
                  </a:lnTo>
                  <a:lnTo>
                    <a:pt x="14668" y="16268"/>
                  </a:lnTo>
                  <a:lnTo>
                    <a:pt x="15925" y="16268"/>
                  </a:lnTo>
                  <a:lnTo>
                    <a:pt x="15913" y="7035"/>
                  </a:lnTo>
                  <a:lnTo>
                    <a:pt x="14668" y="7035"/>
                  </a:lnTo>
                  <a:lnTo>
                    <a:pt x="13589" y="10261"/>
                  </a:lnTo>
                  <a:lnTo>
                    <a:pt x="12179" y="10807"/>
                  </a:lnTo>
                  <a:lnTo>
                    <a:pt x="8343" y="10807"/>
                  </a:lnTo>
                  <a:lnTo>
                    <a:pt x="8343" y="1244"/>
                  </a:lnTo>
                  <a:lnTo>
                    <a:pt x="14833" y="1244"/>
                  </a:lnTo>
                  <a:lnTo>
                    <a:pt x="18161" y="3606"/>
                  </a:lnTo>
                  <a:lnTo>
                    <a:pt x="20294" y="6388"/>
                  </a:lnTo>
                  <a:lnTo>
                    <a:pt x="21285" y="5968"/>
                  </a:lnTo>
                  <a:lnTo>
                    <a:pt x="19265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3" name="object 185">
              <a:extLst>
                <a:ext uri="{FF2B5EF4-FFF2-40B4-BE49-F238E27FC236}">
                  <a16:creationId xmlns:a16="http://schemas.microsoft.com/office/drawing/2014/main" id="{DBB6EFB0-8179-4CEE-9A13-3C8D0C452CA3}"/>
                </a:ext>
              </a:extLst>
            </p:cNvPr>
            <p:cNvSpPr/>
            <p:nvPr/>
          </p:nvSpPr>
          <p:spPr>
            <a:xfrm>
              <a:off x="8031680" y="6429568"/>
              <a:ext cx="22225" cy="23495"/>
            </a:xfrm>
            <a:custGeom>
              <a:avLst/>
              <a:gdLst/>
              <a:ahLst/>
              <a:cxnLst/>
              <a:rect l="l" t="t" r="r" b="b"/>
              <a:pathLst>
                <a:path w="22225" h="23495">
                  <a:moveTo>
                    <a:pt x="0" y="22351"/>
                  </a:moveTo>
                  <a:lnTo>
                    <a:pt x="2298" y="22351"/>
                  </a:lnTo>
                  <a:lnTo>
                    <a:pt x="3098" y="21653"/>
                  </a:lnTo>
                  <a:lnTo>
                    <a:pt x="3098" y="19405"/>
                  </a:lnTo>
                  <a:lnTo>
                    <a:pt x="3098" y="4000"/>
                  </a:lnTo>
                  <a:lnTo>
                    <a:pt x="3098" y="1765"/>
                  </a:lnTo>
                  <a:lnTo>
                    <a:pt x="2298" y="1054"/>
                  </a:lnTo>
                  <a:lnTo>
                    <a:pt x="0" y="1054"/>
                  </a:lnTo>
                  <a:lnTo>
                    <a:pt x="0" y="0"/>
                  </a:lnTo>
                  <a:lnTo>
                    <a:pt x="19265" y="0"/>
                  </a:lnTo>
                  <a:lnTo>
                    <a:pt x="21285" y="5968"/>
                  </a:lnTo>
                  <a:lnTo>
                    <a:pt x="20294" y="6388"/>
                  </a:lnTo>
                  <a:lnTo>
                    <a:pt x="18161" y="3606"/>
                  </a:lnTo>
                  <a:lnTo>
                    <a:pt x="14833" y="1244"/>
                  </a:lnTo>
                  <a:lnTo>
                    <a:pt x="11188" y="1244"/>
                  </a:lnTo>
                  <a:lnTo>
                    <a:pt x="8343" y="1244"/>
                  </a:lnTo>
                  <a:lnTo>
                    <a:pt x="8343" y="2209"/>
                  </a:lnTo>
                  <a:lnTo>
                    <a:pt x="8343" y="4571"/>
                  </a:lnTo>
                  <a:lnTo>
                    <a:pt x="8343" y="10807"/>
                  </a:lnTo>
                  <a:lnTo>
                    <a:pt x="8978" y="10807"/>
                  </a:lnTo>
                  <a:lnTo>
                    <a:pt x="12179" y="10807"/>
                  </a:lnTo>
                  <a:lnTo>
                    <a:pt x="13589" y="10261"/>
                  </a:lnTo>
                  <a:lnTo>
                    <a:pt x="14668" y="7035"/>
                  </a:lnTo>
                  <a:lnTo>
                    <a:pt x="15913" y="7035"/>
                  </a:lnTo>
                  <a:lnTo>
                    <a:pt x="15925" y="16268"/>
                  </a:lnTo>
                  <a:lnTo>
                    <a:pt x="14668" y="16268"/>
                  </a:lnTo>
                  <a:lnTo>
                    <a:pt x="13804" y="13042"/>
                  </a:lnTo>
                  <a:lnTo>
                    <a:pt x="12179" y="12306"/>
                  </a:lnTo>
                  <a:lnTo>
                    <a:pt x="9055" y="12306"/>
                  </a:lnTo>
                  <a:lnTo>
                    <a:pt x="8343" y="12306"/>
                  </a:lnTo>
                  <a:lnTo>
                    <a:pt x="8343" y="19049"/>
                  </a:lnTo>
                  <a:lnTo>
                    <a:pt x="8343" y="20904"/>
                  </a:lnTo>
                  <a:lnTo>
                    <a:pt x="8534" y="22148"/>
                  </a:lnTo>
                  <a:lnTo>
                    <a:pt x="10807" y="22148"/>
                  </a:lnTo>
                  <a:lnTo>
                    <a:pt x="14770" y="22148"/>
                  </a:lnTo>
                  <a:lnTo>
                    <a:pt x="18313" y="19913"/>
                  </a:lnTo>
                  <a:lnTo>
                    <a:pt x="20815" y="17005"/>
                  </a:lnTo>
                  <a:lnTo>
                    <a:pt x="21678" y="17449"/>
                  </a:lnTo>
                  <a:lnTo>
                    <a:pt x="19278" y="23406"/>
                  </a:lnTo>
                  <a:lnTo>
                    <a:pt x="0" y="23406"/>
                  </a:lnTo>
                  <a:lnTo>
                    <a:pt x="0" y="22351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4" name="object 186">
              <a:extLst>
                <a:ext uri="{FF2B5EF4-FFF2-40B4-BE49-F238E27FC236}">
                  <a16:creationId xmlns:a16="http://schemas.microsoft.com/office/drawing/2014/main" id="{69AD3BED-E8D6-41B9-B195-F33D058E0856}"/>
                </a:ext>
              </a:extLst>
            </p:cNvPr>
            <p:cNvSpPr/>
            <p:nvPr/>
          </p:nvSpPr>
          <p:spPr>
            <a:xfrm>
              <a:off x="8054461" y="6426532"/>
              <a:ext cx="20320" cy="26670"/>
            </a:xfrm>
            <a:custGeom>
              <a:avLst/>
              <a:gdLst/>
              <a:ahLst/>
              <a:cxnLst/>
              <a:rect l="l" t="t" r="r" b="b"/>
              <a:pathLst>
                <a:path w="20320" h="26670">
                  <a:moveTo>
                    <a:pt x="13919" y="0"/>
                  </a:moveTo>
                  <a:lnTo>
                    <a:pt x="13436" y="609"/>
                  </a:lnTo>
                  <a:lnTo>
                    <a:pt x="12445" y="1396"/>
                  </a:lnTo>
                  <a:lnTo>
                    <a:pt x="11175" y="1574"/>
                  </a:lnTo>
                  <a:lnTo>
                    <a:pt x="9016" y="1142"/>
                  </a:lnTo>
                  <a:lnTo>
                    <a:pt x="8000" y="1054"/>
                  </a:lnTo>
                  <a:lnTo>
                    <a:pt x="2819" y="1790"/>
                  </a:lnTo>
                  <a:lnTo>
                    <a:pt x="0" y="4902"/>
                  </a:lnTo>
                  <a:lnTo>
                    <a:pt x="1320" y="14300"/>
                  </a:lnTo>
                  <a:lnTo>
                    <a:pt x="6819" y="15138"/>
                  </a:lnTo>
                  <a:lnTo>
                    <a:pt x="15989" y="16687"/>
                  </a:lnTo>
                  <a:lnTo>
                    <a:pt x="16700" y="21716"/>
                  </a:lnTo>
                  <a:lnTo>
                    <a:pt x="14579" y="23672"/>
                  </a:lnTo>
                  <a:lnTo>
                    <a:pt x="8470" y="24523"/>
                  </a:lnTo>
                  <a:lnTo>
                    <a:pt x="4914" y="21450"/>
                  </a:lnTo>
                  <a:lnTo>
                    <a:pt x="2616" y="18707"/>
                  </a:lnTo>
                  <a:lnTo>
                    <a:pt x="1435" y="19278"/>
                  </a:lnTo>
                  <a:lnTo>
                    <a:pt x="4521" y="26314"/>
                  </a:lnTo>
                  <a:lnTo>
                    <a:pt x="6388" y="25082"/>
                  </a:lnTo>
                  <a:lnTo>
                    <a:pt x="6667" y="24980"/>
                  </a:lnTo>
                  <a:lnTo>
                    <a:pt x="7835" y="24803"/>
                  </a:lnTo>
                  <a:lnTo>
                    <a:pt x="8242" y="24917"/>
                  </a:lnTo>
                  <a:lnTo>
                    <a:pt x="10223" y="25247"/>
                  </a:lnTo>
                  <a:lnTo>
                    <a:pt x="11595" y="25349"/>
                  </a:lnTo>
                  <a:lnTo>
                    <a:pt x="17106" y="24574"/>
                  </a:lnTo>
                  <a:lnTo>
                    <a:pt x="20281" y="21056"/>
                  </a:lnTo>
                  <a:lnTo>
                    <a:pt x="19011" y="12039"/>
                  </a:lnTo>
                  <a:lnTo>
                    <a:pt x="14960" y="10756"/>
                  </a:lnTo>
                  <a:lnTo>
                    <a:pt x="6819" y="9359"/>
                  </a:lnTo>
                  <a:lnTo>
                    <a:pt x="4000" y="9042"/>
                  </a:lnTo>
                  <a:lnTo>
                    <a:pt x="3314" y="4165"/>
                  </a:lnTo>
                  <a:lnTo>
                    <a:pt x="4914" y="2755"/>
                  </a:lnTo>
                  <a:lnTo>
                    <a:pt x="10299" y="1993"/>
                  </a:lnTo>
                  <a:lnTo>
                    <a:pt x="13919" y="4800"/>
                  </a:lnTo>
                  <a:lnTo>
                    <a:pt x="15836" y="7111"/>
                  </a:lnTo>
                  <a:lnTo>
                    <a:pt x="16979" y="6540"/>
                  </a:lnTo>
                  <a:lnTo>
                    <a:pt x="13919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5" name="object 187">
              <a:extLst>
                <a:ext uri="{FF2B5EF4-FFF2-40B4-BE49-F238E27FC236}">
                  <a16:creationId xmlns:a16="http://schemas.microsoft.com/office/drawing/2014/main" id="{42F5585E-B5AA-4475-99A0-DB51371AF1B6}"/>
                </a:ext>
              </a:extLst>
            </p:cNvPr>
            <p:cNvSpPr/>
            <p:nvPr/>
          </p:nvSpPr>
          <p:spPr>
            <a:xfrm>
              <a:off x="8054461" y="6426532"/>
              <a:ext cx="20320" cy="26670"/>
            </a:xfrm>
            <a:custGeom>
              <a:avLst/>
              <a:gdLst/>
              <a:ahLst/>
              <a:cxnLst/>
              <a:rect l="l" t="t" r="r" b="b"/>
              <a:pathLst>
                <a:path w="20320" h="26670">
                  <a:moveTo>
                    <a:pt x="16979" y="6540"/>
                  </a:moveTo>
                  <a:lnTo>
                    <a:pt x="15836" y="7111"/>
                  </a:lnTo>
                  <a:lnTo>
                    <a:pt x="13919" y="4800"/>
                  </a:lnTo>
                  <a:lnTo>
                    <a:pt x="10299" y="1993"/>
                  </a:lnTo>
                  <a:lnTo>
                    <a:pt x="7111" y="2451"/>
                  </a:lnTo>
                  <a:lnTo>
                    <a:pt x="4914" y="2755"/>
                  </a:lnTo>
                  <a:lnTo>
                    <a:pt x="3314" y="4165"/>
                  </a:lnTo>
                  <a:lnTo>
                    <a:pt x="3632" y="6451"/>
                  </a:lnTo>
                  <a:lnTo>
                    <a:pt x="4000" y="9042"/>
                  </a:lnTo>
                  <a:lnTo>
                    <a:pt x="6819" y="9359"/>
                  </a:lnTo>
                  <a:lnTo>
                    <a:pt x="8940" y="9715"/>
                  </a:lnTo>
                  <a:lnTo>
                    <a:pt x="20281" y="21056"/>
                  </a:lnTo>
                  <a:lnTo>
                    <a:pt x="17106" y="24574"/>
                  </a:lnTo>
                  <a:lnTo>
                    <a:pt x="12953" y="25158"/>
                  </a:lnTo>
                  <a:lnTo>
                    <a:pt x="11595" y="25349"/>
                  </a:lnTo>
                  <a:lnTo>
                    <a:pt x="10223" y="25247"/>
                  </a:lnTo>
                  <a:lnTo>
                    <a:pt x="8864" y="25018"/>
                  </a:lnTo>
                  <a:lnTo>
                    <a:pt x="8242" y="24917"/>
                  </a:lnTo>
                  <a:lnTo>
                    <a:pt x="7835" y="24803"/>
                  </a:lnTo>
                  <a:lnTo>
                    <a:pt x="7200" y="24904"/>
                  </a:lnTo>
                  <a:lnTo>
                    <a:pt x="6667" y="24980"/>
                  </a:lnTo>
                  <a:lnTo>
                    <a:pt x="6388" y="25082"/>
                  </a:lnTo>
                  <a:lnTo>
                    <a:pt x="4521" y="26314"/>
                  </a:lnTo>
                  <a:lnTo>
                    <a:pt x="1435" y="19278"/>
                  </a:lnTo>
                  <a:lnTo>
                    <a:pt x="2616" y="18707"/>
                  </a:lnTo>
                  <a:lnTo>
                    <a:pt x="4914" y="21450"/>
                  </a:lnTo>
                  <a:lnTo>
                    <a:pt x="8470" y="24523"/>
                  </a:lnTo>
                  <a:lnTo>
                    <a:pt x="12306" y="23977"/>
                  </a:lnTo>
                  <a:lnTo>
                    <a:pt x="14579" y="23672"/>
                  </a:lnTo>
                  <a:lnTo>
                    <a:pt x="16700" y="21716"/>
                  </a:lnTo>
                  <a:lnTo>
                    <a:pt x="16357" y="19278"/>
                  </a:lnTo>
                  <a:lnTo>
                    <a:pt x="15989" y="16687"/>
                  </a:lnTo>
                  <a:lnTo>
                    <a:pt x="13347" y="16255"/>
                  </a:lnTo>
                  <a:lnTo>
                    <a:pt x="11239" y="15900"/>
                  </a:lnTo>
                  <a:lnTo>
                    <a:pt x="6819" y="15138"/>
                  </a:lnTo>
                  <a:lnTo>
                    <a:pt x="1320" y="14300"/>
                  </a:lnTo>
                  <a:lnTo>
                    <a:pt x="558" y="8915"/>
                  </a:lnTo>
                  <a:lnTo>
                    <a:pt x="0" y="4902"/>
                  </a:lnTo>
                  <a:lnTo>
                    <a:pt x="2819" y="1790"/>
                  </a:lnTo>
                  <a:lnTo>
                    <a:pt x="6705" y="1231"/>
                  </a:lnTo>
                  <a:lnTo>
                    <a:pt x="8000" y="1054"/>
                  </a:lnTo>
                  <a:lnTo>
                    <a:pt x="9016" y="1142"/>
                  </a:lnTo>
                  <a:lnTo>
                    <a:pt x="10286" y="1384"/>
                  </a:lnTo>
                  <a:lnTo>
                    <a:pt x="10744" y="1473"/>
                  </a:lnTo>
                  <a:lnTo>
                    <a:pt x="11175" y="1574"/>
                  </a:lnTo>
                  <a:lnTo>
                    <a:pt x="11658" y="1511"/>
                  </a:lnTo>
                  <a:lnTo>
                    <a:pt x="12445" y="1396"/>
                  </a:lnTo>
                  <a:lnTo>
                    <a:pt x="13436" y="609"/>
                  </a:lnTo>
                  <a:lnTo>
                    <a:pt x="13919" y="0"/>
                  </a:lnTo>
                  <a:lnTo>
                    <a:pt x="16979" y="6540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6" name="object 188">
              <a:extLst>
                <a:ext uri="{FF2B5EF4-FFF2-40B4-BE49-F238E27FC236}">
                  <a16:creationId xmlns:a16="http://schemas.microsoft.com/office/drawing/2014/main" id="{771BABC5-D425-45DD-B1CC-816DB42C7BE1}"/>
                </a:ext>
              </a:extLst>
            </p:cNvPr>
            <p:cNvSpPr/>
            <p:nvPr/>
          </p:nvSpPr>
          <p:spPr>
            <a:xfrm>
              <a:off x="8078920" y="6419317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5887" y="0"/>
                  </a:moveTo>
                  <a:lnTo>
                    <a:pt x="2298" y="4546"/>
                  </a:lnTo>
                  <a:lnTo>
                    <a:pt x="0" y="11353"/>
                  </a:lnTo>
                  <a:lnTo>
                    <a:pt x="4406" y="24485"/>
                  </a:lnTo>
                  <a:lnTo>
                    <a:pt x="10236" y="27787"/>
                  </a:lnTo>
                  <a:lnTo>
                    <a:pt x="16840" y="25577"/>
                  </a:lnTo>
                  <a:lnTo>
                    <a:pt x="13017" y="25539"/>
                  </a:lnTo>
                  <a:lnTo>
                    <a:pt x="9906" y="23380"/>
                  </a:lnTo>
                  <a:lnTo>
                    <a:pt x="4889" y="8432"/>
                  </a:lnTo>
                  <a:lnTo>
                    <a:pt x="6159" y="4571"/>
                  </a:lnTo>
                  <a:lnTo>
                    <a:pt x="12890" y="2311"/>
                  </a:lnTo>
                  <a:lnTo>
                    <a:pt x="19968" y="2311"/>
                  </a:lnTo>
                  <a:lnTo>
                    <a:pt x="15887" y="0"/>
                  </a:lnTo>
                  <a:close/>
                </a:path>
                <a:path w="26034" h="27940">
                  <a:moveTo>
                    <a:pt x="19968" y="2311"/>
                  </a:moveTo>
                  <a:lnTo>
                    <a:pt x="12890" y="2311"/>
                  </a:lnTo>
                  <a:lnTo>
                    <a:pt x="16129" y="4165"/>
                  </a:lnTo>
                  <a:lnTo>
                    <a:pt x="20148" y="16128"/>
                  </a:lnTo>
                  <a:lnTo>
                    <a:pt x="21818" y="22593"/>
                  </a:lnTo>
                  <a:lnTo>
                    <a:pt x="16294" y="24434"/>
                  </a:lnTo>
                  <a:lnTo>
                    <a:pt x="16840" y="25577"/>
                  </a:lnTo>
                  <a:lnTo>
                    <a:pt x="23812" y="23228"/>
                  </a:lnTo>
                  <a:lnTo>
                    <a:pt x="26009" y="16128"/>
                  </a:lnTo>
                  <a:lnTo>
                    <a:pt x="21717" y="3301"/>
                  </a:lnTo>
                  <a:lnTo>
                    <a:pt x="19968" y="2311"/>
                  </a:lnTo>
                  <a:close/>
                </a:path>
                <a:path w="26034" h="27940">
                  <a:moveTo>
                    <a:pt x="16294" y="24434"/>
                  </a:moveTo>
                  <a:lnTo>
                    <a:pt x="13017" y="25539"/>
                  </a:lnTo>
                  <a:lnTo>
                    <a:pt x="16821" y="25539"/>
                  </a:lnTo>
                  <a:lnTo>
                    <a:pt x="16294" y="24434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7" name="object 189">
              <a:extLst>
                <a:ext uri="{FF2B5EF4-FFF2-40B4-BE49-F238E27FC236}">
                  <a16:creationId xmlns:a16="http://schemas.microsoft.com/office/drawing/2014/main" id="{F7F8D7BF-5C81-4111-BB96-4A61EC29D133}"/>
                </a:ext>
              </a:extLst>
            </p:cNvPr>
            <p:cNvSpPr/>
            <p:nvPr/>
          </p:nvSpPr>
          <p:spPr>
            <a:xfrm>
              <a:off x="8078920" y="6419317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6294" y="24434"/>
                  </a:moveTo>
                  <a:lnTo>
                    <a:pt x="13017" y="25539"/>
                  </a:lnTo>
                  <a:lnTo>
                    <a:pt x="9906" y="23380"/>
                  </a:lnTo>
                  <a:lnTo>
                    <a:pt x="7353" y="15773"/>
                  </a:lnTo>
                  <a:lnTo>
                    <a:pt x="4889" y="8432"/>
                  </a:lnTo>
                  <a:lnTo>
                    <a:pt x="6159" y="4571"/>
                  </a:lnTo>
                  <a:lnTo>
                    <a:pt x="9639" y="3403"/>
                  </a:lnTo>
                  <a:lnTo>
                    <a:pt x="12890" y="2311"/>
                  </a:lnTo>
                  <a:lnTo>
                    <a:pt x="16129" y="4165"/>
                  </a:lnTo>
                  <a:lnTo>
                    <a:pt x="18757" y="11976"/>
                  </a:lnTo>
                  <a:lnTo>
                    <a:pt x="20142" y="16103"/>
                  </a:lnTo>
                  <a:lnTo>
                    <a:pt x="21818" y="22593"/>
                  </a:lnTo>
                  <a:lnTo>
                    <a:pt x="16294" y="24434"/>
                  </a:lnTo>
                  <a:lnTo>
                    <a:pt x="16840" y="25577"/>
                  </a:lnTo>
                  <a:lnTo>
                    <a:pt x="23812" y="23228"/>
                  </a:lnTo>
                  <a:lnTo>
                    <a:pt x="26009" y="16128"/>
                  </a:lnTo>
                  <a:lnTo>
                    <a:pt x="23964" y="9994"/>
                  </a:lnTo>
                  <a:lnTo>
                    <a:pt x="21717" y="3301"/>
                  </a:lnTo>
                  <a:lnTo>
                    <a:pt x="15887" y="0"/>
                  </a:lnTo>
                  <a:lnTo>
                    <a:pt x="9055" y="2285"/>
                  </a:lnTo>
                  <a:lnTo>
                    <a:pt x="2298" y="4546"/>
                  </a:lnTo>
                  <a:lnTo>
                    <a:pt x="0" y="11353"/>
                  </a:lnTo>
                  <a:lnTo>
                    <a:pt x="2171" y="17818"/>
                  </a:lnTo>
                  <a:lnTo>
                    <a:pt x="4406" y="24485"/>
                  </a:lnTo>
                  <a:lnTo>
                    <a:pt x="10236" y="27787"/>
                  </a:lnTo>
                  <a:lnTo>
                    <a:pt x="16840" y="25577"/>
                  </a:lnTo>
                  <a:lnTo>
                    <a:pt x="16294" y="24434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8" name="object 190">
              <a:extLst>
                <a:ext uri="{FF2B5EF4-FFF2-40B4-BE49-F238E27FC236}">
                  <a16:creationId xmlns:a16="http://schemas.microsoft.com/office/drawing/2014/main" id="{8AC8C848-3A15-4C97-8BA5-1FB308289DA6}"/>
                </a:ext>
              </a:extLst>
            </p:cNvPr>
            <p:cNvSpPr/>
            <p:nvPr/>
          </p:nvSpPr>
          <p:spPr>
            <a:xfrm>
              <a:off x="8097312" y="6410703"/>
              <a:ext cx="21590" cy="29845"/>
            </a:xfrm>
            <a:custGeom>
              <a:avLst/>
              <a:gdLst/>
              <a:ahLst/>
              <a:cxnLst/>
              <a:rect l="l" t="t" r="r" b="b"/>
              <a:pathLst>
                <a:path w="21590" h="29845">
                  <a:moveTo>
                    <a:pt x="17056" y="0"/>
                  </a:moveTo>
                  <a:lnTo>
                    <a:pt x="0" y="8369"/>
                  </a:lnTo>
                  <a:lnTo>
                    <a:pt x="469" y="9309"/>
                  </a:lnTo>
                  <a:lnTo>
                    <a:pt x="2539" y="8305"/>
                  </a:lnTo>
                  <a:lnTo>
                    <a:pt x="3568" y="8572"/>
                  </a:lnTo>
                  <a:lnTo>
                    <a:pt x="12318" y="26441"/>
                  </a:lnTo>
                  <a:lnTo>
                    <a:pt x="11912" y="27419"/>
                  </a:lnTo>
                  <a:lnTo>
                    <a:pt x="9842" y="28435"/>
                  </a:lnTo>
                  <a:lnTo>
                    <a:pt x="10312" y="29375"/>
                  </a:lnTo>
                  <a:lnTo>
                    <a:pt x="20612" y="24333"/>
                  </a:lnTo>
                  <a:lnTo>
                    <a:pt x="20142" y="23380"/>
                  </a:lnTo>
                  <a:lnTo>
                    <a:pt x="18084" y="24396"/>
                  </a:lnTo>
                  <a:lnTo>
                    <a:pt x="17030" y="24129"/>
                  </a:lnTo>
                  <a:lnTo>
                    <a:pt x="12877" y="15659"/>
                  </a:lnTo>
                  <a:lnTo>
                    <a:pt x="16700" y="13792"/>
                  </a:lnTo>
                  <a:lnTo>
                    <a:pt x="18580" y="14147"/>
                  </a:lnTo>
                  <a:lnTo>
                    <a:pt x="20116" y="16560"/>
                  </a:lnTo>
                  <a:lnTo>
                    <a:pt x="21234" y="16014"/>
                  </a:lnTo>
                  <a:lnTo>
                    <a:pt x="17157" y="7683"/>
                  </a:lnTo>
                  <a:lnTo>
                    <a:pt x="16040" y="8229"/>
                  </a:lnTo>
                  <a:lnTo>
                    <a:pt x="16586" y="10960"/>
                  </a:lnTo>
                  <a:lnTo>
                    <a:pt x="16027" y="12433"/>
                  </a:lnTo>
                  <a:lnTo>
                    <a:pt x="12217" y="14312"/>
                  </a:lnTo>
                  <a:lnTo>
                    <a:pt x="8280" y="6273"/>
                  </a:lnTo>
                  <a:lnTo>
                    <a:pt x="8216" y="5727"/>
                  </a:lnTo>
                  <a:lnTo>
                    <a:pt x="13614" y="3086"/>
                  </a:lnTo>
                  <a:lnTo>
                    <a:pt x="17640" y="3886"/>
                  </a:lnTo>
                  <a:lnTo>
                    <a:pt x="20662" y="5689"/>
                  </a:lnTo>
                  <a:lnTo>
                    <a:pt x="21450" y="4825"/>
                  </a:lnTo>
                  <a:lnTo>
                    <a:pt x="17056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9" name="object 191">
              <a:extLst>
                <a:ext uri="{FF2B5EF4-FFF2-40B4-BE49-F238E27FC236}">
                  <a16:creationId xmlns:a16="http://schemas.microsoft.com/office/drawing/2014/main" id="{4DE68371-B265-4CC7-9106-188893DEFD25}"/>
                </a:ext>
              </a:extLst>
            </p:cNvPr>
            <p:cNvSpPr/>
            <p:nvPr/>
          </p:nvSpPr>
          <p:spPr>
            <a:xfrm>
              <a:off x="8097312" y="6410703"/>
              <a:ext cx="21590" cy="29845"/>
            </a:xfrm>
            <a:custGeom>
              <a:avLst/>
              <a:gdLst/>
              <a:ahLst/>
              <a:cxnLst/>
              <a:rect l="l" t="t" r="r" b="b"/>
              <a:pathLst>
                <a:path w="21590" h="29845">
                  <a:moveTo>
                    <a:pt x="12217" y="14312"/>
                  </a:moveTo>
                  <a:lnTo>
                    <a:pt x="13588" y="13639"/>
                  </a:lnTo>
                  <a:lnTo>
                    <a:pt x="16027" y="12433"/>
                  </a:lnTo>
                  <a:lnTo>
                    <a:pt x="16586" y="10960"/>
                  </a:lnTo>
                  <a:lnTo>
                    <a:pt x="16040" y="8229"/>
                  </a:lnTo>
                  <a:lnTo>
                    <a:pt x="17157" y="7683"/>
                  </a:lnTo>
                  <a:lnTo>
                    <a:pt x="21234" y="16014"/>
                  </a:lnTo>
                  <a:lnTo>
                    <a:pt x="20116" y="16560"/>
                  </a:lnTo>
                  <a:lnTo>
                    <a:pt x="18580" y="14147"/>
                  </a:lnTo>
                  <a:lnTo>
                    <a:pt x="16700" y="13792"/>
                  </a:lnTo>
                  <a:lnTo>
                    <a:pt x="14503" y="14858"/>
                  </a:lnTo>
                  <a:lnTo>
                    <a:pt x="12877" y="15659"/>
                  </a:lnTo>
                  <a:lnTo>
                    <a:pt x="16040" y="22123"/>
                  </a:lnTo>
                  <a:lnTo>
                    <a:pt x="17030" y="24129"/>
                  </a:lnTo>
                  <a:lnTo>
                    <a:pt x="18084" y="24396"/>
                  </a:lnTo>
                  <a:lnTo>
                    <a:pt x="20142" y="23380"/>
                  </a:lnTo>
                  <a:lnTo>
                    <a:pt x="20612" y="24333"/>
                  </a:lnTo>
                  <a:lnTo>
                    <a:pt x="10312" y="29375"/>
                  </a:lnTo>
                  <a:lnTo>
                    <a:pt x="9842" y="28435"/>
                  </a:lnTo>
                  <a:lnTo>
                    <a:pt x="11912" y="27419"/>
                  </a:lnTo>
                  <a:lnTo>
                    <a:pt x="12318" y="26441"/>
                  </a:lnTo>
                  <a:lnTo>
                    <a:pt x="11328" y="24422"/>
                  </a:lnTo>
                  <a:lnTo>
                    <a:pt x="4546" y="10591"/>
                  </a:lnTo>
                  <a:lnTo>
                    <a:pt x="3568" y="8572"/>
                  </a:lnTo>
                  <a:lnTo>
                    <a:pt x="2539" y="8305"/>
                  </a:lnTo>
                  <a:lnTo>
                    <a:pt x="469" y="9309"/>
                  </a:lnTo>
                  <a:lnTo>
                    <a:pt x="0" y="8369"/>
                  </a:lnTo>
                  <a:lnTo>
                    <a:pt x="17056" y="0"/>
                  </a:lnTo>
                  <a:lnTo>
                    <a:pt x="21450" y="4825"/>
                  </a:lnTo>
                  <a:lnTo>
                    <a:pt x="20662" y="5689"/>
                  </a:lnTo>
                  <a:lnTo>
                    <a:pt x="17640" y="3886"/>
                  </a:lnTo>
                  <a:lnTo>
                    <a:pt x="13614" y="3086"/>
                  </a:lnTo>
                  <a:lnTo>
                    <a:pt x="10350" y="4686"/>
                  </a:lnTo>
                  <a:lnTo>
                    <a:pt x="8216" y="5727"/>
                  </a:lnTo>
                  <a:lnTo>
                    <a:pt x="8280" y="6273"/>
                  </a:lnTo>
                  <a:lnTo>
                    <a:pt x="9220" y="8204"/>
                  </a:lnTo>
                  <a:lnTo>
                    <a:pt x="12217" y="14312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0" name="object 192">
              <a:extLst>
                <a:ext uri="{FF2B5EF4-FFF2-40B4-BE49-F238E27FC236}">
                  <a16:creationId xmlns:a16="http://schemas.microsoft.com/office/drawing/2014/main" id="{28B4ED41-2616-4302-A38C-17ECB4982591}"/>
                </a:ext>
              </a:extLst>
            </p:cNvPr>
            <p:cNvSpPr/>
            <p:nvPr/>
          </p:nvSpPr>
          <p:spPr>
            <a:xfrm>
              <a:off x="8124942" y="6400518"/>
              <a:ext cx="25400" cy="29209"/>
            </a:xfrm>
            <a:custGeom>
              <a:avLst/>
              <a:gdLst/>
              <a:ahLst/>
              <a:cxnLst/>
              <a:rect l="l" t="t" r="r" b="b"/>
              <a:pathLst>
                <a:path w="25400" h="29209">
                  <a:moveTo>
                    <a:pt x="2921" y="0"/>
                  </a:moveTo>
                  <a:lnTo>
                    <a:pt x="0" y="3924"/>
                  </a:lnTo>
                  <a:lnTo>
                    <a:pt x="5335" y="24015"/>
                  </a:lnTo>
                  <a:lnTo>
                    <a:pt x="5689" y="25476"/>
                  </a:lnTo>
                  <a:lnTo>
                    <a:pt x="3759" y="27876"/>
                  </a:lnTo>
                  <a:lnTo>
                    <a:pt x="4368" y="28727"/>
                  </a:lnTo>
                  <a:lnTo>
                    <a:pt x="10987" y="24015"/>
                  </a:lnTo>
                  <a:lnTo>
                    <a:pt x="7912" y="24015"/>
                  </a:lnTo>
                  <a:lnTo>
                    <a:pt x="6438" y="21945"/>
                  </a:lnTo>
                  <a:lnTo>
                    <a:pt x="5334" y="18072"/>
                  </a:lnTo>
                  <a:lnTo>
                    <a:pt x="4989" y="16535"/>
                  </a:lnTo>
                  <a:lnTo>
                    <a:pt x="2120" y="5905"/>
                  </a:lnTo>
                  <a:lnTo>
                    <a:pt x="10679" y="5905"/>
                  </a:lnTo>
                  <a:lnTo>
                    <a:pt x="2921" y="0"/>
                  </a:lnTo>
                  <a:close/>
                </a:path>
                <a:path w="25400" h="29209">
                  <a:moveTo>
                    <a:pt x="10680" y="22936"/>
                  </a:moveTo>
                  <a:lnTo>
                    <a:pt x="9474" y="23672"/>
                  </a:lnTo>
                  <a:lnTo>
                    <a:pt x="7912" y="24015"/>
                  </a:lnTo>
                  <a:lnTo>
                    <a:pt x="10987" y="24015"/>
                  </a:lnTo>
                  <a:lnTo>
                    <a:pt x="11290" y="23799"/>
                  </a:lnTo>
                  <a:lnTo>
                    <a:pt x="10680" y="22936"/>
                  </a:lnTo>
                  <a:close/>
                </a:path>
                <a:path w="25400" h="29209">
                  <a:moveTo>
                    <a:pt x="20456" y="13347"/>
                  </a:moveTo>
                  <a:lnTo>
                    <a:pt x="11963" y="13347"/>
                  </a:lnTo>
                  <a:lnTo>
                    <a:pt x="15087" y="15748"/>
                  </a:lnTo>
                  <a:lnTo>
                    <a:pt x="15582" y="16103"/>
                  </a:lnTo>
                  <a:lnTo>
                    <a:pt x="16129" y="16535"/>
                  </a:lnTo>
                  <a:lnTo>
                    <a:pt x="17043" y="17818"/>
                  </a:lnTo>
                  <a:lnTo>
                    <a:pt x="16891" y="18427"/>
                  </a:lnTo>
                  <a:lnTo>
                    <a:pt x="15265" y="19672"/>
                  </a:lnTo>
                  <a:lnTo>
                    <a:pt x="15875" y="20535"/>
                  </a:lnTo>
                  <a:lnTo>
                    <a:pt x="23956" y="14770"/>
                  </a:lnTo>
                  <a:lnTo>
                    <a:pt x="22021" y="14770"/>
                  </a:lnTo>
                  <a:lnTo>
                    <a:pt x="20789" y="13601"/>
                  </a:lnTo>
                  <a:lnTo>
                    <a:pt x="20456" y="13347"/>
                  </a:lnTo>
                  <a:close/>
                </a:path>
                <a:path w="25400" h="29209">
                  <a:moveTo>
                    <a:pt x="10679" y="5905"/>
                  </a:moveTo>
                  <a:lnTo>
                    <a:pt x="2120" y="5905"/>
                  </a:lnTo>
                  <a:lnTo>
                    <a:pt x="10680" y="12407"/>
                  </a:lnTo>
                  <a:lnTo>
                    <a:pt x="4978" y="16484"/>
                  </a:lnTo>
                  <a:lnTo>
                    <a:pt x="5334" y="18072"/>
                  </a:lnTo>
                  <a:lnTo>
                    <a:pt x="11963" y="13347"/>
                  </a:lnTo>
                  <a:lnTo>
                    <a:pt x="20456" y="13347"/>
                  </a:lnTo>
                  <a:lnTo>
                    <a:pt x="10679" y="5905"/>
                  </a:lnTo>
                  <a:close/>
                </a:path>
                <a:path w="25400" h="29209">
                  <a:moveTo>
                    <a:pt x="24396" y="13157"/>
                  </a:moveTo>
                  <a:lnTo>
                    <a:pt x="22021" y="14770"/>
                  </a:lnTo>
                  <a:lnTo>
                    <a:pt x="23956" y="14770"/>
                  </a:lnTo>
                  <a:lnTo>
                    <a:pt x="25006" y="14020"/>
                  </a:lnTo>
                  <a:lnTo>
                    <a:pt x="24396" y="13157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1" name="object 193">
              <a:extLst>
                <a:ext uri="{FF2B5EF4-FFF2-40B4-BE49-F238E27FC236}">
                  <a16:creationId xmlns:a16="http://schemas.microsoft.com/office/drawing/2014/main" id="{378A7175-D8D9-4F71-ACE3-E2B8F3AEBCB5}"/>
                </a:ext>
              </a:extLst>
            </p:cNvPr>
            <p:cNvSpPr/>
            <p:nvPr/>
          </p:nvSpPr>
          <p:spPr>
            <a:xfrm>
              <a:off x="8124942" y="6400518"/>
              <a:ext cx="25400" cy="29209"/>
            </a:xfrm>
            <a:custGeom>
              <a:avLst/>
              <a:gdLst/>
              <a:ahLst/>
              <a:cxnLst/>
              <a:rect l="l" t="t" r="r" b="b"/>
              <a:pathLst>
                <a:path w="25400" h="29209">
                  <a:moveTo>
                    <a:pt x="4978" y="16484"/>
                  </a:moveTo>
                  <a:lnTo>
                    <a:pt x="2120" y="5905"/>
                  </a:lnTo>
                  <a:lnTo>
                    <a:pt x="10680" y="12407"/>
                  </a:lnTo>
                  <a:lnTo>
                    <a:pt x="4978" y="16484"/>
                  </a:lnTo>
                  <a:lnTo>
                    <a:pt x="5334" y="18072"/>
                  </a:lnTo>
                  <a:lnTo>
                    <a:pt x="11963" y="13347"/>
                  </a:lnTo>
                  <a:lnTo>
                    <a:pt x="15087" y="15748"/>
                  </a:lnTo>
                  <a:lnTo>
                    <a:pt x="15582" y="16103"/>
                  </a:lnTo>
                  <a:lnTo>
                    <a:pt x="16129" y="16535"/>
                  </a:lnTo>
                  <a:lnTo>
                    <a:pt x="16484" y="17030"/>
                  </a:lnTo>
                  <a:lnTo>
                    <a:pt x="17043" y="17818"/>
                  </a:lnTo>
                  <a:lnTo>
                    <a:pt x="16891" y="18427"/>
                  </a:lnTo>
                  <a:lnTo>
                    <a:pt x="15265" y="19672"/>
                  </a:lnTo>
                  <a:lnTo>
                    <a:pt x="15875" y="20535"/>
                  </a:lnTo>
                  <a:lnTo>
                    <a:pt x="25006" y="14020"/>
                  </a:lnTo>
                  <a:lnTo>
                    <a:pt x="24396" y="13157"/>
                  </a:lnTo>
                  <a:lnTo>
                    <a:pt x="22021" y="14770"/>
                  </a:lnTo>
                  <a:lnTo>
                    <a:pt x="20789" y="13601"/>
                  </a:lnTo>
                  <a:lnTo>
                    <a:pt x="18884" y="12141"/>
                  </a:lnTo>
                  <a:lnTo>
                    <a:pt x="2921" y="0"/>
                  </a:lnTo>
                  <a:lnTo>
                    <a:pt x="0" y="3924"/>
                  </a:lnTo>
                  <a:lnTo>
                    <a:pt x="4572" y="21094"/>
                  </a:lnTo>
                  <a:lnTo>
                    <a:pt x="5283" y="23799"/>
                  </a:lnTo>
                  <a:lnTo>
                    <a:pt x="5689" y="25476"/>
                  </a:lnTo>
                  <a:lnTo>
                    <a:pt x="3759" y="27876"/>
                  </a:lnTo>
                  <a:lnTo>
                    <a:pt x="4368" y="28727"/>
                  </a:lnTo>
                  <a:lnTo>
                    <a:pt x="11290" y="23799"/>
                  </a:lnTo>
                  <a:lnTo>
                    <a:pt x="10680" y="22936"/>
                  </a:lnTo>
                  <a:lnTo>
                    <a:pt x="9474" y="23672"/>
                  </a:lnTo>
                  <a:lnTo>
                    <a:pt x="7912" y="24015"/>
                  </a:lnTo>
                  <a:lnTo>
                    <a:pt x="6959" y="22682"/>
                  </a:lnTo>
                  <a:lnTo>
                    <a:pt x="6438" y="21945"/>
                  </a:lnTo>
                  <a:lnTo>
                    <a:pt x="6172" y="20967"/>
                  </a:lnTo>
                  <a:lnTo>
                    <a:pt x="5930" y="20116"/>
                  </a:lnTo>
                  <a:lnTo>
                    <a:pt x="5334" y="18072"/>
                  </a:lnTo>
                  <a:lnTo>
                    <a:pt x="4978" y="16484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2" name="object 194">
              <a:extLst>
                <a:ext uri="{FF2B5EF4-FFF2-40B4-BE49-F238E27FC236}">
                  <a16:creationId xmlns:a16="http://schemas.microsoft.com/office/drawing/2014/main" id="{0C4DCBAD-D7C8-46E4-A942-3E6230013003}"/>
                </a:ext>
              </a:extLst>
            </p:cNvPr>
            <p:cNvSpPr/>
            <p:nvPr/>
          </p:nvSpPr>
          <p:spPr>
            <a:xfrm>
              <a:off x="8135119" y="6376179"/>
              <a:ext cx="37465" cy="37465"/>
            </a:xfrm>
            <a:custGeom>
              <a:avLst/>
              <a:gdLst/>
              <a:ahLst/>
              <a:cxnLst/>
              <a:rect l="l" t="t" r="r" b="b"/>
              <a:pathLst>
                <a:path w="37465" h="37465">
                  <a:moveTo>
                    <a:pt x="20243" y="0"/>
                  </a:moveTo>
                  <a:lnTo>
                    <a:pt x="13842" y="6489"/>
                  </a:lnTo>
                  <a:lnTo>
                    <a:pt x="20612" y="20535"/>
                  </a:lnTo>
                  <a:lnTo>
                    <a:pt x="6565" y="13868"/>
                  </a:lnTo>
                  <a:lnTo>
                    <a:pt x="0" y="20548"/>
                  </a:lnTo>
                  <a:lnTo>
                    <a:pt x="749" y="21285"/>
                  </a:lnTo>
                  <a:lnTo>
                    <a:pt x="2247" y="19761"/>
                  </a:lnTo>
                  <a:lnTo>
                    <a:pt x="3314" y="19456"/>
                  </a:lnTo>
                  <a:lnTo>
                    <a:pt x="17449" y="33388"/>
                  </a:lnTo>
                  <a:lnTo>
                    <a:pt x="17373" y="33985"/>
                  </a:lnTo>
                  <a:lnTo>
                    <a:pt x="15773" y="36372"/>
                  </a:lnTo>
                  <a:lnTo>
                    <a:pt x="16522" y="37109"/>
                  </a:lnTo>
                  <a:lnTo>
                    <a:pt x="22212" y="31356"/>
                  </a:lnTo>
                  <a:lnTo>
                    <a:pt x="21450" y="30606"/>
                  </a:lnTo>
                  <a:lnTo>
                    <a:pt x="19253" y="32448"/>
                  </a:lnTo>
                  <a:lnTo>
                    <a:pt x="18592" y="32194"/>
                  </a:lnTo>
                  <a:lnTo>
                    <a:pt x="5676" y="19469"/>
                  </a:lnTo>
                  <a:lnTo>
                    <a:pt x="25145" y="28371"/>
                  </a:lnTo>
                  <a:lnTo>
                    <a:pt x="25958" y="27546"/>
                  </a:lnTo>
                  <a:lnTo>
                    <a:pt x="16230" y="7861"/>
                  </a:lnTo>
                  <a:lnTo>
                    <a:pt x="29806" y="21145"/>
                  </a:lnTo>
                  <a:lnTo>
                    <a:pt x="29743" y="22212"/>
                  </a:lnTo>
                  <a:lnTo>
                    <a:pt x="28117" y="23850"/>
                  </a:lnTo>
                  <a:lnTo>
                    <a:pt x="28867" y="24587"/>
                  </a:lnTo>
                  <a:lnTo>
                    <a:pt x="36906" y="16433"/>
                  </a:lnTo>
                  <a:lnTo>
                    <a:pt x="36156" y="15697"/>
                  </a:lnTo>
                  <a:lnTo>
                    <a:pt x="34543" y="17335"/>
                  </a:lnTo>
                  <a:lnTo>
                    <a:pt x="33477" y="17411"/>
                  </a:lnTo>
                  <a:lnTo>
                    <a:pt x="31889" y="15836"/>
                  </a:lnTo>
                  <a:lnTo>
                    <a:pt x="19176" y="3314"/>
                  </a:lnTo>
                  <a:lnTo>
                    <a:pt x="19494" y="2501"/>
                  </a:lnTo>
                  <a:lnTo>
                    <a:pt x="20993" y="749"/>
                  </a:lnTo>
                  <a:lnTo>
                    <a:pt x="20243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3" name="object 195">
              <a:extLst>
                <a:ext uri="{FF2B5EF4-FFF2-40B4-BE49-F238E27FC236}">
                  <a16:creationId xmlns:a16="http://schemas.microsoft.com/office/drawing/2014/main" id="{1360F6D0-9348-4911-93E1-C9BCCB65FB2C}"/>
                </a:ext>
              </a:extLst>
            </p:cNvPr>
            <p:cNvSpPr/>
            <p:nvPr/>
          </p:nvSpPr>
          <p:spPr>
            <a:xfrm>
              <a:off x="8135119" y="6376179"/>
              <a:ext cx="37465" cy="37465"/>
            </a:xfrm>
            <a:custGeom>
              <a:avLst/>
              <a:gdLst/>
              <a:ahLst/>
              <a:cxnLst/>
              <a:rect l="l" t="t" r="r" b="b"/>
              <a:pathLst>
                <a:path w="37465" h="37465">
                  <a:moveTo>
                    <a:pt x="31889" y="15836"/>
                  </a:moveTo>
                  <a:lnTo>
                    <a:pt x="33477" y="17411"/>
                  </a:lnTo>
                  <a:lnTo>
                    <a:pt x="34543" y="17335"/>
                  </a:lnTo>
                  <a:lnTo>
                    <a:pt x="36156" y="15697"/>
                  </a:lnTo>
                  <a:lnTo>
                    <a:pt x="36906" y="16433"/>
                  </a:lnTo>
                  <a:lnTo>
                    <a:pt x="28867" y="24587"/>
                  </a:lnTo>
                  <a:lnTo>
                    <a:pt x="28117" y="23850"/>
                  </a:lnTo>
                  <a:lnTo>
                    <a:pt x="29743" y="22212"/>
                  </a:lnTo>
                  <a:lnTo>
                    <a:pt x="29806" y="21145"/>
                  </a:lnTo>
                  <a:lnTo>
                    <a:pt x="28206" y="19570"/>
                  </a:lnTo>
                  <a:lnTo>
                    <a:pt x="16281" y="7810"/>
                  </a:lnTo>
                  <a:lnTo>
                    <a:pt x="25958" y="27546"/>
                  </a:lnTo>
                  <a:lnTo>
                    <a:pt x="25145" y="28371"/>
                  </a:lnTo>
                  <a:lnTo>
                    <a:pt x="5727" y="19418"/>
                  </a:lnTo>
                  <a:lnTo>
                    <a:pt x="14947" y="28600"/>
                  </a:lnTo>
                  <a:lnTo>
                    <a:pt x="18592" y="32194"/>
                  </a:lnTo>
                  <a:lnTo>
                    <a:pt x="19253" y="32448"/>
                  </a:lnTo>
                  <a:lnTo>
                    <a:pt x="21450" y="30606"/>
                  </a:lnTo>
                  <a:lnTo>
                    <a:pt x="22212" y="31356"/>
                  </a:lnTo>
                  <a:lnTo>
                    <a:pt x="16522" y="37109"/>
                  </a:lnTo>
                  <a:lnTo>
                    <a:pt x="15773" y="36372"/>
                  </a:lnTo>
                  <a:lnTo>
                    <a:pt x="17373" y="33985"/>
                  </a:lnTo>
                  <a:lnTo>
                    <a:pt x="17449" y="33388"/>
                  </a:lnTo>
                  <a:lnTo>
                    <a:pt x="13779" y="29781"/>
                  </a:lnTo>
                  <a:lnTo>
                    <a:pt x="5016" y="21145"/>
                  </a:lnTo>
                  <a:lnTo>
                    <a:pt x="3314" y="19456"/>
                  </a:lnTo>
                  <a:lnTo>
                    <a:pt x="2247" y="19761"/>
                  </a:lnTo>
                  <a:lnTo>
                    <a:pt x="749" y="21285"/>
                  </a:lnTo>
                  <a:lnTo>
                    <a:pt x="0" y="20548"/>
                  </a:lnTo>
                  <a:lnTo>
                    <a:pt x="6565" y="13868"/>
                  </a:lnTo>
                  <a:lnTo>
                    <a:pt x="20612" y="20535"/>
                  </a:lnTo>
                  <a:lnTo>
                    <a:pt x="13842" y="6489"/>
                  </a:lnTo>
                  <a:lnTo>
                    <a:pt x="20243" y="0"/>
                  </a:lnTo>
                  <a:lnTo>
                    <a:pt x="20993" y="749"/>
                  </a:lnTo>
                  <a:lnTo>
                    <a:pt x="19494" y="2501"/>
                  </a:lnTo>
                  <a:lnTo>
                    <a:pt x="19176" y="3314"/>
                  </a:lnTo>
                  <a:lnTo>
                    <a:pt x="20904" y="5016"/>
                  </a:lnTo>
                  <a:lnTo>
                    <a:pt x="31889" y="15836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4" name="object 196">
              <a:extLst>
                <a:ext uri="{FF2B5EF4-FFF2-40B4-BE49-F238E27FC236}">
                  <a16:creationId xmlns:a16="http://schemas.microsoft.com/office/drawing/2014/main" id="{4E009796-48E2-49BB-A959-B16C812575EE}"/>
                </a:ext>
              </a:extLst>
            </p:cNvPr>
            <p:cNvSpPr/>
            <p:nvPr/>
          </p:nvSpPr>
          <p:spPr>
            <a:xfrm>
              <a:off x="8156408" y="6358322"/>
              <a:ext cx="30480" cy="29209"/>
            </a:xfrm>
            <a:custGeom>
              <a:avLst/>
              <a:gdLst/>
              <a:ahLst/>
              <a:cxnLst/>
              <a:rect l="l" t="t" r="r" b="b"/>
              <a:pathLst>
                <a:path w="30479" h="29209">
                  <a:moveTo>
                    <a:pt x="10744" y="0"/>
                  </a:moveTo>
                  <a:lnTo>
                    <a:pt x="0" y="16001"/>
                  </a:lnTo>
                  <a:lnTo>
                    <a:pt x="876" y="16586"/>
                  </a:lnTo>
                  <a:lnTo>
                    <a:pt x="2146" y="14681"/>
                  </a:lnTo>
                  <a:lnTo>
                    <a:pt x="3187" y="14401"/>
                  </a:lnTo>
                  <a:lnTo>
                    <a:pt x="19697" y="25488"/>
                  </a:lnTo>
                  <a:lnTo>
                    <a:pt x="19837" y="26543"/>
                  </a:lnTo>
                  <a:lnTo>
                    <a:pt x="18554" y="28460"/>
                  </a:lnTo>
                  <a:lnTo>
                    <a:pt x="19431" y="29044"/>
                  </a:lnTo>
                  <a:lnTo>
                    <a:pt x="30175" y="13042"/>
                  </a:lnTo>
                  <a:lnTo>
                    <a:pt x="26568" y="7734"/>
                  </a:lnTo>
                  <a:lnTo>
                    <a:pt x="25717" y="8204"/>
                  </a:lnTo>
                  <a:lnTo>
                    <a:pt x="26746" y="11887"/>
                  </a:lnTo>
                  <a:lnTo>
                    <a:pt x="26631" y="16090"/>
                  </a:lnTo>
                  <a:lnTo>
                    <a:pt x="23152" y="21259"/>
                  </a:lnTo>
                  <a:lnTo>
                    <a:pt x="22009" y="20726"/>
                  </a:lnTo>
                  <a:lnTo>
                    <a:pt x="14871" y="15938"/>
                  </a:lnTo>
                  <a:lnTo>
                    <a:pt x="17005" y="12750"/>
                  </a:lnTo>
                  <a:lnTo>
                    <a:pt x="18529" y="11810"/>
                  </a:lnTo>
                  <a:lnTo>
                    <a:pt x="21691" y="12890"/>
                  </a:lnTo>
                  <a:lnTo>
                    <a:pt x="22377" y="11849"/>
                  </a:lnTo>
                  <a:lnTo>
                    <a:pt x="14706" y="6705"/>
                  </a:lnTo>
                  <a:lnTo>
                    <a:pt x="14020" y="7734"/>
                  </a:lnTo>
                  <a:lnTo>
                    <a:pt x="16090" y="10439"/>
                  </a:lnTo>
                  <a:lnTo>
                    <a:pt x="15760" y="11912"/>
                  </a:lnTo>
                  <a:lnTo>
                    <a:pt x="13627" y="15100"/>
                  </a:lnTo>
                  <a:lnTo>
                    <a:pt x="5689" y="9766"/>
                  </a:lnTo>
                  <a:lnTo>
                    <a:pt x="9296" y="4381"/>
                  </a:lnTo>
                  <a:lnTo>
                    <a:pt x="13119" y="2933"/>
                  </a:lnTo>
                  <a:lnTo>
                    <a:pt x="16624" y="2705"/>
                  </a:lnTo>
                  <a:lnTo>
                    <a:pt x="16827" y="1650"/>
                  </a:lnTo>
                  <a:lnTo>
                    <a:pt x="10744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5" name="object 197">
              <a:extLst>
                <a:ext uri="{FF2B5EF4-FFF2-40B4-BE49-F238E27FC236}">
                  <a16:creationId xmlns:a16="http://schemas.microsoft.com/office/drawing/2014/main" id="{9F323DA4-BB25-4CEC-8FFC-F212ECD342DC}"/>
                </a:ext>
              </a:extLst>
            </p:cNvPr>
            <p:cNvSpPr/>
            <p:nvPr/>
          </p:nvSpPr>
          <p:spPr>
            <a:xfrm>
              <a:off x="8156408" y="6358322"/>
              <a:ext cx="30480" cy="29209"/>
            </a:xfrm>
            <a:custGeom>
              <a:avLst/>
              <a:gdLst/>
              <a:ahLst/>
              <a:cxnLst/>
              <a:rect l="l" t="t" r="r" b="b"/>
              <a:pathLst>
                <a:path w="30479" h="29209">
                  <a:moveTo>
                    <a:pt x="18554" y="28460"/>
                  </a:moveTo>
                  <a:lnTo>
                    <a:pt x="19837" y="26543"/>
                  </a:lnTo>
                  <a:lnTo>
                    <a:pt x="19697" y="25488"/>
                  </a:lnTo>
                  <a:lnTo>
                    <a:pt x="17843" y="24244"/>
                  </a:lnTo>
                  <a:lnTo>
                    <a:pt x="5041" y="15659"/>
                  </a:lnTo>
                  <a:lnTo>
                    <a:pt x="3187" y="14401"/>
                  </a:lnTo>
                  <a:lnTo>
                    <a:pt x="2146" y="14681"/>
                  </a:lnTo>
                  <a:lnTo>
                    <a:pt x="876" y="16586"/>
                  </a:lnTo>
                  <a:lnTo>
                    <a:pt x="0" y="16001"/>
                  </a:lnTo>
                  <a:lnTo>
                    <a:pt x="10744" y="0"/>
                  </a:lnTo>
                  <a:lnTo>
                    <a:pt x="16827" y="1650"/>
                  </a:lnTo>
                  <a:lnTo>
                    <a:pt x="16624" y="2705"/>
                  </a:lnTo>
                  <a:lnTo>
                    <a:pt x="13119" y="2933"/>
                  </a:lnTo>
                  <a:lnTo>
                    <a:pt x="9296" y="4381"/>
                  </a:lnTo>
                  <a:lnTo>
                    <a:pt x="7277" y="7404"/>
                  </a:lnTo>
                  <a:lnTo>
                    <a:pt x="5689" y="9766"/>
                  </a:lnTo>
                  <a:lnTo>
                    <a:pt x="6477" y="10299"/>
                  </a:lnTo>
                  <a:lnTo>
                    <a:pt x="8445" y="11620"/>
                  </a:lnTo>
                  <a:lnTo>
                    <a:pt x="13627" y="15100"/>
                  </a:lnTo>
                  <a:lnTo>
                    <a:pt x="13982" y="14566"/>
                  </a:lnTo>
                  <a:lnTo>
                    <a:pt x="15760" y="11912"/>
                  </a:lnTo>
                  <a:lnTo>
                    <a:pt x="16090" y="10439"/>
                  </a:lnTo>
                  <a:lnTo>
                    <a:pt x="14020" y="7734"/>
                  </a:lnTo>
                  <a:lnTo>
                    <a:pt x="14706" y="6705"/>
                  </a:lnTo>
                  <a:lnTo>
                    <a:pt x="22377" y="11849"/>
                  </a:lnTo>
                  <a:lnTo>
                    <a:pt x="21691" y="12890"/>
                  </a:lnTo>
                  <a:lnTo>
                    <a:pt x="18529" y="11810"/>
                  </a:lnTo>
                  <a:lnTo>
                    <a:pt x="17005" y="12750"/>
                  </a:lnTo>
                  <a:lnTo>
                    <a:pt x="15265" y="15341"/>
                  </a:lnTo>
                  <a:lnTo>
                    <a:pt x="14871" y="15938"/>
                  </a:lnTo>
                  <a:lnTo>
                    <a:pt x="20472" y="19697"/>
                  </a:lnTo>
                  <a:lnTo>
                    <a:pt x="22009" y="20726"/>
                  </a:lnTo>
                  <a:lnTo>
                    <a:pt x="23152" y="21259"/>
                  </a:lnTo>
                  <a:lnTo>
                    <a:pt x="24422" y="19380"/>
                  </a:lnTo>
                  <a:lnTo>
                    <a:pt x="26631" y="16090"/>
                  </a:lnTo>
                  <a:lnTo>
                    <a:pt x="26746" y="11887"/>
                  </a:lnTo>
                  <a:lnTo>
                    <a:pt x="25717" y="8204"/>
                  </a:lnTo>
                  <a:lnTo>
                    <a:pt x="26568" y="7734"/>
                  </a:lnTo>
                  <a:lnTo>
                    <a:pt x="30175" y="13042"/>
                  </a:lnTo>
                  <a:lnTo>
                    <a:pt x="19431" y="29044"/>
                  </a:lnTo>
                  <a:lnTo>
                    <a:pt x="18554" y="28460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6" name="object 198">
              <a:extLst>
                <a:ext uri="{FF2B5EF4-FFF2-40B4-BE49-F238E27FC236}">
                  <a16:creationId xmlns:a16="http://schemas.microsoft.com/office/drawing/2014/main" id="{61F7BE1A-7616-4D20-87B4-91B92B85C669}"/>
                </a:ext>
              </a:extLst>
            </p:cNvPr>
            <p:cNvSpPr/>
            <p:nvPr/>
          </p:nvSpPr>
          <p:spPr>
            <a:xfrm>
              <a:off x="8168774" y="6337506"/>
              <a:ext cx="31750" cy="28575"/>
            </a:xfrm>
            <a:custGeom>
              <a:avLst/>
              <a:gdLst/>
              <a:ahLst/>
              <a:cxnLst/>
              <a:rect l="l" t="t" r="r" b="b"/>
              <a:pathLst>
                <a:path w="31750" h="28575">
                  <a:moveTo>
                    <a:pt x="15386" y="16256"/>
                  </a:moveTo>
                  <a:lnTo>
                    <a:pt x="2895" y="16256"/>
                  </a:lnTo>
                  <a:lnTo>
                    <a:pt x="20942" y="24612"/>
                  </a:lnTo>
                  <a:lnTo>
                    <a:pt x="21247" y="25628"/>
                  </a:lnTo>
                  <a:lnTo>
                    <a:pt x="20281" y="27711"/>
                  </a:lnTo>
                  <a:lnTo>
                    <a:pt x="21234" y="28155"/>
                  </a:lnTo>
                  <a:lnTo>
                    <a:pt x="25087" y="19850"/>
                  </a:lnTo>
                  <a:lnTo>
                    <a:pt x="23152" y="19850"/>
                  </a:lnTo>
                  <a:lnTo>
                    <a:pt x="15386" y="16256"/>
                  </a:lnTo>
                  <a:close/>
                </a:path>
                <a:path w="31750" h="28575">
                  <a:moveTo>
                    <a:pt x="25082" y="17322"/>
                  </a:moveTo>
                  <a:lnTo>
                    <a:pt x="24117" y="19418"/>
                  </a:lnTo>
                  <a:lnTo>
                    <a:pt x="23152" y="19850"/>
                  </a:lnTo>
                  <a:lnTo>
                    <a:pt x="25087" y="19850"/>
                  </a:lnTo>
                  <a:lnTo>
                    <a:pt x="26047" y="17780"/>
                  </a:lnTo>
                  <a:lnTo>
                    <a:pt x="25082" y="17322"/>
                  </a:lnTo>
                  <a:close/>
                </a:path>
                <a:path w="31750" h="28575">
                  <a:moveTo>
                    <a:pt x="11302" y="0"/>
                  </a:moveTo>
                  <a:lnTo>
                    <a:pt x="7759" y="1562"/>
                  </a:lnTo>
                  <a:lnTo>
                    <a:pt x="0" y="18326"/>
                  </a:lnTo>
                  <a:lnTo>
                    <a:pt x="952" y="18770"/>
                  </a:lnTo>
                  <a:lnTo>
                    <a:pt x="1917" y="16687"/>
                  </a:lnTo>
                  <a:lnTo>
                    <a:pt x="2895" y="16256"/>
                  </a:lnTo>
                  <a:lnTo>
                    <a:pt x="15386" y="16256"/>
                  </a:lnTo>
                  <a:lnTo>
                    <a:pt x="5359" y="11620"/>
                  </a:lnTo>
                  <a:lnTo>
                    <a:pt x="4673" y="11188"/>
                  </a:lnTo>
                  <a:lnTo>
                    <a:pt x="6997" y="6172"/>
                  </a:lnTo>
                  <a:lnTo>
                    <a:pt x="8826" y="4965"/>
                  </a:lnTo>
                  <a:lnTo>
                    <a:pt x="17691" y="4965"/>
                  </a:lnTo>
                  <a:lnTo>
                    <a:pt x="17564" y="2895"/>
                  </a:lnTo>
                  <a:lnTo>
                    <a:pt x="11302" y="0"/>
                  </a:lnTo>
                  <a:close/>
                </a:path>
                <a:path w="31750" h="28575">
                  <a:moveTo>
                    <a:pt x="17691" y="4965"/>
                  </a:moveTo>
                  <a:lnTo>
                    <a:pt x="8826" y="4965"/>
                  </a:lnTo>
                  <a:lnTo>
                    <a:pt x="14820" y="7759"/>
                  </a:lnTo>
                  <a:lnTo>
                    <a:pt x="15722" y="9931"/>
                  </a:lnTo>
                  <a:lnTo>
                    <a:pt x="13250" y="15268"/>
                  </a:lnTo>
                  <a:lnTo>
                    <a:pt x="14655" y="15811"/>
                  </a:lnTo>
                  <a:lnTo>
                    <a:pt x="15227" y="14630"/>
                  </a:lnTo>
                  <a:lnTo>
                    <a:pt x="16141" y="13703"/>
                  </a:lnTo>
                  <a:lnTo>
                    <a:pt x="24993" y="13652"/>
                  </a:lnTo>
                  <a:lnTo>
                    <a:pt x="25996" y="13627"/>
                  </a:lnTo>
                  <a:lnTo>
                    <a:pt x="27381" y="13627"/>
                  </a:lnTo>
                  <a:lnTo>
                    <a:pt x="28003" y="13538"/>
                  </a:lnTo>
                  <a:lnTo>
                    <a:pt x="29898" y="9436"/>
                  </a:lnTo>
                  <a:lnTo>
                    <a:pt x="17017" y="9436"/>
                  </a:lnTo>
                  <a:lnTo>
                    <a:pt x="17779" y="6400"/>
                  </a:lnTo>
                  <a:lnTo>
                    <a:pt x="17691" y="4965"/>
                  </a:lnTo>
                  <a:close/>
                </a:path>
                <a:path w="31750" h="28575">
                  <a:moveTo>
                    <a:pt x="13250" y="15268"/>
                  </a:moveTo>
                  <a:lnTo>
                    <a:pt x="13386" y="15331"/>
                  </a:lnTo>
                  <a:lnTo>
                    <a:pt x="13250" y="15268"/>
                  </a:lnTo>
                  <a:close/>
                </a:path>
                <a:path w="31750" h="28575">
                  <a:moveTo>
                    <a:pt x="27381" y="13627"/>
                  </a:moveTo>
                  <a:lnTo>
                    <a:pt x="25996" y="13627"/>
                  </a:lnTo>
                  <a:lnTo>
                    <a:pt x="27025" y="13677"/>
                  </a:lnTo>
                  <a:lnTo>
                    <a:pt x="27381" y="13627"/>
                  </a:lnTo>
                  <a:close/>
                </a:path>
                <a:path w="31750" h="28575">
                  <a:moveTo>
                    <a:pt x="30365" y="5930"/>
                  </a:moveTo>
                  <a:lnTo>
                    <a:pt x="29032" y="8343"/>
                  </a:lnTo>
                  <a:lnTo>
                    <a:pt x="24307" y="8661"/>
                  </a:lnTo>
                  <a:lnTo>
                    <a:pt x="19265" y="8826"/>
                  </a:lnTo>
                  <a:lnTo>
                    <a:pt x="18013" y="8826"/>
                  </a:lnTo>
                  <a:lnTo>
                    <a:pt x="17017" y="9436"/>
                  </a:lnTo>
                  <a:lnTo>
                    <a:pt x="29898" y="9436"/>
                  </a:lnTo>
                  <a:lnTo>
                    <a:pt x="30180" y="8826"/>
                  </a:lnTo>
                  <a:lnTo>
                    <a:pt x="18033" y="8813"/>
                  </a:lnTo>
                  <a:lnTo>
                    <a:pt x="30185" y="8813"/>
                  </a:lnTo>
                  <a:lnTo>
                    <a:pt x="31318" y="6362"/>
                  </a:lnTo>
                  <a:lnTo>
                    <a:pt x="30365" y="593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7" name="object 199">
              <a:extLst>
                <a:ext uri="{FF2B5EF4-FFF2-40B4-BE49-F238E27FC236}">
                  <a16:creationId xmlns:a16="http://schemas.microsoft.com/office/drawing/2014/main" id="{3AB38EEA-0E2F-473F-A5D5-BA9F9B9A9F76}"/>
                </a:ext>
              </a:extLst>
            </p:cNvPr>
            <p:cNvSpPr/>
            <p:nvPr/>
          </p:nvSpPr>
          <p:spPr>
            <a:xfrm>
              <a:off x="8168774" y="6337506"/>
              <a:ext cx="31750" cy="28575"/>
            </a:xfrm>
            <a:custGeom>
              <a:avLst/>
              <a:gdLst/>
              <a:ahLst/>
              <a:cxnLst/>
              <a:rect l="l" t="t" r="r" b="b"/>
              <a:pathLst>
                <a:path w="31750" h="28575">
                  <a:moveTo>
                    <a:pt x="14617" y="15900"/>
                  </a:moveTo>
                  <a:lnTo>
                    <a:pt x="21120" y="18910"/>
                  </a:lnTo>
                  <a:lnTo>
                    <a:pt x="23152" y="19850"/>
                  </a:lnTo>
                  <a:lnTo>
                    <a:pt x="24117" y="19418"/>
                  </a:lnTo>
                  <a:lnTo>
                    <a:pt x="25082" y="17322"/>
                  </a:lnTo>
                  <a:lnTo>
                    <a:pt x="26047" y="17780"/>
                  </a:lnTo>
                  <a:lnTo>
                    <a:pt x="21234" y="28155"/>
                  </a:lnTo>
                  <a:lnTo>
                    <a:pt x="20281" y="27711"/>
                  </a:lnTo>
                  <a:lnTo>
                    <a:pt x="21247" y="25628"/>
                  </a:lnTo>
                  <a:lnTo>
                    <a:pt x="20942" y="24612"/>
                  </a:lnTo>
                  <a:lnTo>
                    <a:pt x="18910" y="23672"/>
                  </a:lnTo>
                  <a:lnTo>
                    <a:pt x="4927" y="17195"/>
                  </a:lnTo>
                  <a:lnTo>
                    <a:pt x="2895" y="16256"/>
                  </a:lnTo>
                  <a:lnTo>
                    <a:pt x="1917" y="16687"/>
                  </a:lnTo>
                  <a:lnTo>
                    <a:pt x="952" y="18770"/>
                  </a:lnTo>
                  <a:lnTo>
                    <a:pt x="0" y="18326"/>
                  </a:lnTo>
                  <a:lnTo>
                    <a:pt x="5765" y="5854"/>
                  </a:lnTo>
                  <a:lnTo>
                    <a:pt x="7759" y="1562"/>
                  </a:lnTo>
                  <a:lnTo>
                    <a:pt x="11302" y="0"/>
                  </a:lnTo>
                  <a:lnTo>
                    <a:pt x="14376" y="1422"/>
                  </a:lnTo>
                  <a:lnTo>
                    <a:pt x="17564" y="2895"/>
                  </a:lnTo>
                  <a:lnTo>
                    <a:pt x="17779" y="6400"/>
                  </a:lnTo>
                  <a:lnTo>
                    <a:pt x="17017" y="9436"/>
                  </a:lnTo>
                  <a:lnTo>
                    <a:pt x="18033" y="8813"/>
                  </a:lnTo>
                  <a:lnTo>
                    <a:pt x="19265" y="8826"/>
                  </a:lnTo>
                  <a:lnTo>
                    <a:pt x="20446" y="8775"/>
                  </a:lnTo>
                  <a:lnTo>
                    <a:pt x="24307" y="8661"/>
                  </a:lnTo>
                  <a:lnTo>
                    <a:pt x="26784" y="8496"/>
                  </a:lnTo>
                  <a:lnTo>
                    <a:pt x="29032" y="8343"/>
                  </a:lnTo>
                  <a:lnTo>
                    <a:pt x="30365" y="5930"/>
                  </a:lnTo>
                  <a:lnTo>
                    <a:pt x="31318" y="6362"/>
                  </a:lnTo>
                  <a:lnTo>
                    <a:pt x="28003" y="13538"/>
                  </a:lnTo>
                  <a:lnTo>
                    <a:pt x="27025" y="13677"/>
                  </a:lnTo>
                  <a:lnTo>
                    <a:pt x="25996" y="13627"/>
                  </a:lnTo>
                  <a:lnTo>
                    <a:pt x="24993" y="13652"/>
                  </a:lnTo>
                  <a:lnTo>
                    <a:pt x="20573" y="13690"/>
                  </a:lnTo>
                  <a:lnTo>
                    <a:pt x="16141" y="13703"/>
                  </a:lnTo>
                  <a:lnTo>
                    <a:pt x="15227" y="14630"/>
                  </a:lnTo>
                  <a:lnTo>
                    <a:pt x="14655" y="15811"/>
                  </a:lnTo>
                  <a:lnTo>
                    <a:pt x="13246" y="15278"/>
                  </a:lnTo>
                  <a:lnTo>
                    <a:pt x="13512" y="14719"/>
                  </a:lnTo>
                  <a:lnTo>
                    <a:pt x="15722" y="9931"/>
                  </a:lnTo>
                  <a:lnTo>
                    <a:pt x="14820" y="7759"/>
                  </a:lnTo>
                  <a:lnTo>
                    <a:pt x="11747" y="6324"/>
                  </a:lnTo>
                  <a:lnTo>
                    <a:pt x="8826" y="4965"/>
                  </a:lnTo>
                  <a:lnTo>
                    <a:pt x="6997" y="6172"/>
                  </a:lnTo>
                  <a:lnTo>
                    <a:pt x="5562" y="9283"/>
                  </a:lnTo>
                  <a:lnTo>
                    <a:pt x="4673" y="11188"/>
                  </a:lnTo>
                  <a:lnTo>
                    <a:pt x="5359" y="11620"/>
                  </a:lnTo>
                  <a:lnTo>
                    <a:pt x="7010" y="12382"/>
                  </a:lnTo>
                  <a:lnTo>
                    <a:pt x="13246" y="15278"/>
                  </a:lnTo>
                  <a:lnTo>
                    <a:pt x="14617" y="15900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8" name="object 200">
              <a:extLst>
                <a:ext uri="{FF2B5EF4-FFF2-40B4-BE49-F238E27FC236}">
                  <a16:creationId xmlns:a16="http://schemas.microsoft.com/office/drawing/2014/main" id="{D3D77E15-72C1-4351-89B0-E8FCA1FD55F9}"/>
                </a:ext>
              </a:extLst>
            </p:cNvPr>
            <p:cNvSpPr/>
            <p:nvPr/>
          </p:nvSpPr>
          <p:spPr>
            <a:xfrm>
              <a:off x="8178280" y="6323375"/>
              <a:ext cx="26034" cy="18415"/>
            </a:xfrm>
            <a:custGeom>
              <a:avLst/>
              <a:gdLst/>
              <a:ahLst/>
              <a:cxnLst/>
              <a:rect l="l" t="t" r="r" b="b"/>
              <a:pathLst>
                <a:path w="26034" h="18415">
                  <a:moveTo>
                    <a:pt x="3467" y="0"/>
                  </a:moveTo>
                  <a:lnTo>
                    <a:pt x="0" y="10922"/>
                  </a:lnTo>
                  <a:lnTo>
                    <a:pt x="1003" y="11239"/>
                  </a:lnTo>
                  <a:lnTo>
                    <a:pt x="1701" y="9042"/>
                  </a:lnTo>
                  <a:lnTo>
                    <a:pt x="2616" y="8496"/>
                  </a:lnTo>
                  <a:lnTo>
                    <a:pt x="4749" y="9169"/>
                  </a:lnTo>
                  <a:lnTo>
                    <a:pt x="21577" y="14503"/>
                  </a:lnTo>
                  <a:lnTo>
                    <a:pt x="21996" y="15481"/>
                  </a:lnTo>
                  <a:lnTo>
                    <a:pt x="21310" y="17678"/>
                  </a:lnTo>
                  <a:lnTo>
                    <a:pt x="22313" y="18008"/>
                  </a:lnTo>
                  <a:lnTo>
                    <a:pt x="25768" y="7086"/>
                  </a:lnTo>
                  <a:lnTo>
                    <a:pt x="24765" y="6769"/>
                  </a:lnTo>
                  <a:lnTo>
                    <a:pt x="24066" y="8966"/>
                  </a:lnTo>
                  <a:lnTo>
                    <a:pt x="23164" y="9512"/>
                  </a:lnTo>
                  <a:lnTo>
                    <a:pt x="4203" y="3492"/>
                  </a:lnTo>
                  <a:lnTo>
                    <a:pt x="3771" y="2527"/>
                  </a:lnTo>
                  <a:lnTo>
                    <a:pt x="4470" y="330"/>
                  </a:lnTo>
                  <a:lnTo>
                    <a:pt x="3467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9" name="object 201">
              <a:extLst>
                <a:ext uri="{FF2B5EF4-FFF2-40B4-BE49-F238E27FC236}">
                  <a16:creationId xmlns:a16="http://schemas.microsoft.com/office/drawing/2014/main" id="{F426A38B-BC44-41F7-AD4A-4F97310F906F}"/>
                </a:ext>
              </a:extLst>
            </p:cNvPr>
            <p:cNvSpPr/>
            <p:nvPr/>
          </p:nvSpPr>
          <p:spPr>
            <a:xfrm>
              <a:off x="8178280" y="6323375"/>
              <a:ext cx="26034" cy="18415"/>
            </a:xfrm>
            <a:custGeom>
              <a:avLst/>
              <a:gdLst/>
              <a:ahLst/>
              <a:cxnLst/>
              <a:rect l="l" t="t" r="r" b="b"/>
              <a:pathLst>
                <a:path w="26034" h="18415">
                  <a:moveTo>
                    <a:pt x="4749" y="9169"/>
                  </a:moveTo>
                  <a:lnTo>
                    <a:pt x="2616" y="8496"/>
                  </a:lnTo>
                  <a:lnTo>
                    <a:pt x="1701" y="9042"/>
                  </a:lnTo>
                  <a:lnTo>
                    <a:pt x="1003" y="11239"/>
                  </a:lnTo>
                  <a:lnTo>
                    <a:pt x="0" y="10922"/>
                  </a:lnTo>
                  <a:lnTo>
                    <a:pt x="3467" y="0"/>
                  </a:lnTo>
                  <a:lnTo>
                    <a:pt x="4470" y="330"/>
                  </a:lnTo>
                  <a:lnTo>
                    <a:pt x="3771" y="2527"/>
                  </a:lnTo>
                  <a:lnTo>
                    <a:pt x="4203" y="3492"/>
                  </a:lnTo>
                  <a:lnTo>
                    <a:pt x="6337" y="4178"/>
                  </a:lnTo>
                  <a:lnTo>
                    <a:pt x="21031" y="8839"/>
                  </a:lnTo>
                  <a:lnTo>
                    <a:pt x="23164" y="9512"/>
                  </a:lnTo>
                  <a:lnTo>
                    <a:pt x="24066" y="8966"/>
                  </a:lnTo>
                  <a:lnTo>
                    <a:pt x="24765" y="6769"/>
                  </a:lnTo>
                  <a:lnTo>
                    <a:pt x="25768" y="7086"/>
                  </a:lnTo>
                  <a:lnTo>
                    <a:pt x="22313" y="18008"/>
                  </a:lnTo>
                  <a:lnTo>
                    <a:pt x="21310" y="17678"/>
                  </a:lnTo>
                  <a:lnTo>
                    <a:pt x="21996" y="15481"/>
                  </a:lnTo>
                  <a:lnTo>
                    <a:pt x="21577" y="14503"/>
                  </a:lnTo>
                  <a:lnTo>
                    <a:pt x="19443" y="13830"/>
                  </a:lnTo>
                  <a:lnTo>
                    <a:pt x="4749" y="9169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0" name="object 202">
              <a:extLst>
                <a:ext uri="{FF2B5EF4-FFF2-40B4-BE49-F238E27FC236}">
                  <a16:creationId xmlns:a16="http://schemas.microsoft.com/office/drawing/2014/main" id="{089F7CA8-FD67-4932-8285-EC598D784537}"/>
                </a:ext>
              </a:extLst>
            </p:cNvPr>
            <p:cNvSpPr/>
            <p:nvPr/>
          </p:nvSpPr>
          <p:spPr>
            <a:xfrm>
              <a:off x="8182014" y="6305632"/>
              <a:ext cx="26670" cy="22860"/>
            </a:xfrm>
            <a:custGeom>
              <a:avLst/>
              <a:gdLst/>
              <a:ahLst/>
              <a:cxnLst/>
              <a:rect l="l" t="t" r="r" b="b"/>
              <a:pathLst>
                <a:path w="26670" h="22859">
                  <a:moveTo>
                    <a:pt x="10350" y="0"/>
                  </a:moveTo>
                  <a:lnTo>
                    <a:pt x="3035" y="431"/>
                  </a:lnTo>
                  <a:lnTo>
                    <a:pt x="3543" y="2438"/>
                  </a:lnTo>
                  <a:lnTo>
                    <a:pt x="3238" y="3873"/>
                  </a:lnTo>
                  <a:lnTo>
                    <a:pt x="2857" y="4483"/>
                  </a:lnTo>
                  <a:lnTo>
                    <a:pt x="1587" y="6794"/>
                  </a:lnTo>
                  <a:lnTo>
                    <a:pt x="0" y="14401"/>
                  </a:lnTo>
                  <a:lnTo>
                    <a:pt x="5410" y="20078"/>
                  </a:lnTo>
                  <a:lnTo>
                    <a:pt x="17932" y="22682"/>
                  </a:lnTo>
                  <a:lnTo>
                    <a:pt x="24053" y="19380"/>
                  </a:lnTo>
                  <a:lnTo>
                    <a:pt x="26289" y="8623"/>
                  </a:lnTo>
                  <a:lnTo>
                    <a:pt x="24409" y="5156"/>
                  </a:lnTo>
                  <a:lnTo>
                    <a:pt x="21056" y="2235"/>
                  </a:lnTo>
                  <a:lnTo>
                    <a:pt x="20294" y="2921"/>
                  </a:lnTo>
                  <a:lnTo>
                    <a:pt x="22275" y="5029"/>
                  </a:lnTo>
                  <a:lnTo>
                    <a:pt x="24015" y="7454"/>
                  </a:lnTo>
                  <a:lnTo>
                    <a:pt x="22644" y="14058"/>
                  </a:lnTo>
                  <a:lnTo>
                    <a:pt x="18732" y="17170"/>
                  </a:lnTo>
                  <a:lnTo>
                    <a:pt x="7493" y="14820"/>
                  </a:lnTo>
                  <a:lnTo>
                    <a:pt x="1676" y="12496"/>
                  </a:lnTo>
                  <a:lnTo>
                    <a:pt x="3403" y="4178"/>
                  </a:lnTo>
                  <a:lnTo>
                    <a:pt x="7200" y="2247"/>
                  </a:lnTo>
                  <a:lnTo>
                    <a:pt x="10490" y="1498"/>
                  </a:lnTo>
                  <a:lnTo>
                    <a:pt x="10350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1" name="object 203">
              <a:extLst>
                <a:ext uri="{FF2B5EF4-FFF2-40B4-BE49-F238E27FC236}">
                  <a16:creationId xmlns:a16="http://schemas.microsoft.com/office/drawing/2014/main" id="{372670D8-89AC-446C-ABCD-2EC0A22036BC}"/>
                </a:ext>
              </a:extLst>
            </p:cNvPr>
            <p:cNvSpPr/>
            <p:nvPr/>
          </p:nvSpPr>
          <p:spPr>
            <a:xfrm>
              <a:off x="8182014" y="6305632"/>
              <a:ext cx="26670" cy="22860"/>
            </a:xfrm>
            <a:custGeom>
              <a:avLst/>
              <a:gdLst/>
              <a:ahLst/>
              <a:cxnLst/>
              <a:rect l="l" t="t" r="r" b="b"/>
              <a:pathLst>
                <a:path w="26670" h="22859">
                  <a:moveTo>
                    <a:pt x="10350" y="0"/>
                  </a:moveTo>
                  <a:lnTo>
                    <a:pt x="10490" y="1498"/>
                  </a:lnTo>
                  <a:lnTo>
                    <a:pt x="7200" y="2247"/>
                  </a:lnTo>
                  <a:lnTo>
                    <a:pt x="3403" y="4178"/>
                  </a:lnTo>
                  <a:lnTo>
                    <a:pt x="2667" y="7734"/>
                  </a:lnTo>
                  <a:lnTo>
                    <a:pt x="1676" y="12496"/>
                  </a:lnTo>
                  <a:lnTo>
                    <a:pt x="7493" y="14820"/>
                  </a:lnTo>
                  <a:lnTo>
                    <a:pt x="11150" y="15582"/>
                  </a:lnTo>
                  <a:lnTo>
                    <a:pt x="18732" y="17170"/>
                  </a:lnTo>
                  <a:lnTo>
                    <a:pt x="22644" y="14058"/>
                  </a:lnTo>
                  <a:lnTo>
                    <a:pt x="23380" y="10553"/>
                  </a:lnTo>
                  <a:lnTo>
                    <a:pt x="24015" y="7454"/>
                  </a:lnTo>
                  <a:lnTo>
                    <a:pt x="22275" y="5029"/>
                  </a:lnTo>
                  <a:lnTo>
                    <a:pt x="20294" y="2921"/>
                  </a:lnTo>
                  <a:lnTo>
                    <a:pt x="21056" y="2235"/>
                  </a:lnTo>
                  <a:lnTo>
                    <a:pt x="24409" y="5156"/>
                  </a:lnTo>
                  <a:lnTo>
                    <a:pt x="26289" y="8623"/>
                  </a:lnTo>
                  <a:lnTo>
                    <a:pt x="25349" y="13157"/>
                  </a:lnTo>
                  <a:lnTo>
                    <a:pt x="24053" y="19380"/>
                  </a:lnTo>
                  <a:lnTo>
                    <a:pt x="17932" y="22682"/>
                  </a:lnTo>
                  <a:lnTo>
                    <a:pt x="11925" y="21437"/>
                  </a:lnTo>
                  <a:lnTo>
                    <a:pt x="5410" y="20078"/>
                  </a:lnTo>
                  <a:lnTo>
                    <a:pt x="0" y="14401"/>
                  </a:lnTo>
                  <a:lnTo>
                    <a:pt x="1346" y="7924"/>
                  </a:lnTo>
                  <a:lnTo>
                    <a:pt x="3238" y="3873"/>
                  </a:lnTo>
                  <a:lnTo>
                    <a:pt x="3378" y="3251"/>
                  </a:lnTo>
                  <a:lnTo>
                    <a:pt x="3543" y="2438"/>
                  </a:lnTo>
                  <a:lnTo>
                    <a:pt x="3327" y="1612"/>
                  </a:lnTo>
                  <a:lnTo>
                    <a:pt x="3124" y="812"/>
                  </a:lnTo>
                  <a:lnTo>
                    <a:pt x="3035" y="431"/>
                  </a:lnTo>
                  <a:lnTo>
                    <a:pt x="10350" y="0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2" name="object 204">
              <a:extLst>
                <a:ext uri="{FF2B5EF4-FFF2-40B4-BE49-F238E27FC236}">
                  <a16:creationId xmlns:a16="http://schemas.microsoft.com/office/drawing/2014/main" id="{8D9A1BD7-A37F-4975-8F42-2BAB32B065F1}"/>
                </a:ext>
              </a:extLst>
            </p:cNvPr>
            <p:cNvSpPr/>
            <p:nvPr/>
          </p:nvSpPr>
          <p:spPr>
            <a:xfrm>
              <a:off x="8185731" y="6284540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23825" y="0"/>
                  </a:moveTo>
                  <a:lnTo>
                    <a:pt x="23558" y="2870"/>
                  </a:lnTo>
                  <a:lnTo>
                    <a:pt x="21882" y="3060"/>
                  </a:lnTo>
                  <a:lnTo>
                    <a:pt x="0" y="8178"/>
                  </a:lnTo>
                  <a:lnTo>
                    <a:pt x="1181" y="12941"/>
                  </a:lnTo>
                  <a:lnTo>
                    <a:pt x="19862" y="21513"/>
                  </a:lnTo>
                  <a:lnTo>
                    <a:pt x="21412" y="22263"/>
                  </a:lnTo>
                  <a:lnTo>
                    <a:pt x="22034" y="25298"/>
                  </a:lnTo>
                  <a:lnTo>
                    <a:pt x="23075" y="25361"/>
                  </a:lnTo>
                  <a:lnTo>
                    <a:pt x="23488" y="19634"/>
                  </a:lnTo>
                  <a:lnTo>
                    <a:pt x="21691" y="19634"/>
                  </a:lnTo>
                  <a:lnTo>
                    <a:pt x="19177" y="19443"/>
                  </a:lnTo>
                  <a:lnTo>
                    <a:pt x="15481" y="17843"/>
                  </a:lnTo>
                  <a:lnTo>
                    <a:pt x="14020" y="17094"/>
                  </a:lnTo>
                  <a:lnTo>
                    <a:pt x="4051" y="12560"/>
                  </a:lnTo>
                  <a:lnTo>
                    <a:pt x="14516" y="10109"/>
                  </a:lnTo>
                  <a:lnTo>
                    <a:pt x="16024" y="10109"/>
                  </a:lnTo>
                  <a:lnTo>
                    <a:pt x="16052" y="9702"/>
                  </a:lnTo>
                  <a:lnTo>
                    <a:pt x="21170" y="8521"/>
                  </a:lnTo>
                  <a:lnTo>
                    <a:pt x="24284" y="8521"/>
                  </a:lnTo>
                  <a:lnTo>
                    <a:pt x="24879" y="76"/>
                  </a:lnTo>
                  <a:lnTo>
                    <a:pt x="23825" y="0"/>
                  </a:lnTo>
                  <a:close/>
                </a:path>
                <a:path w="25400" h="25400">
                  <a:moveTo>
                    <a:pt x="22644" y="16814"/>
                  </a:moveTo>
                  <a:lnTo>
                    <a:pt x="22440" y="18199"/>
                  </a:lnTo>
                  <a:lnTo>
                    <a:pt x="21691" y="19634"/>
                  </a:lnTo>
                  <a:lnTo>
                    <a:pt x="23488" y="19634"/>
                  </a:lnTo>
                  <a:lnTo>
                    <a:pt x="23685" y="16891"/>
                  </a:lnTo>
                  <a:lnTo>
                    <a:pt x="22644" y="16814"/>
                  </a:lnTo>
                  <a:close/>
                </a:path>
                <a:path w="25400" h="25400">
                  <a:moveTo>
                    <a:pt x="16024" y="10109"/>
                  </a:moveTo>
                  <a:lnTo>
                    <a:pt x="14516" y="10109"/>
                  </a:lnTo>
                  <a:lnTo>
                    <a:pt x="14020" y="17094"/>
                  </a:lnTo>
                  <a:lnTo>
                    <a:pt x="15481" y="17843"/>
                  </a:lnTo>
                  <a:lnTo>
                    <a:pt x="16024" y="10109"/>
                  </a:lnTo>
                  <a:close/>
                </a:path>
                <a:path w="25400" h="25400">
                  <a:moveTo>
                    <a:pt x="24284" y="8521"/>
                  </a:moveTo>
                  <a:lnTo>
                    <a:pt x="21170" y="8521"/>
                  </a:lnTo>
                  <a:lnTo>
                    <a:pt x="22733" y="8648"/>
                  </a:lnTo>
                  <a:lnTo>
                    <a:pt x="23114" y="9144"/>
                  </a:lnTo>
                  <a:lnTo>
                    <a:pt x="23037" y="11188"/>
                  </a:lnTo>
                  <a:lnTo>
                    <a:pt x="24091" y="11264"/>
                  </a:lnTo>
                  <a:lnTo>
                    <a:pt x="24284" y="8521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3" name="object 205">
              <a:extLst>
                <a:ext uri="{FF2B5EF4-FFF2-40B4-BE49-F238E27FC236}">
                  <a16:creationId xmlns:a16="http://schemas.microsoft.com/office/drawing/2014/main" id="{BF0DD807-F950-42BA-9139-F940E27342B9}"/>
                </a:ext>
              </a:extLst>
            </p:cNvPr>
            <p:cNvSpPr/>
            <p:nvPr/>
          </p:nvSpPr>
          <p:spPr>
            <a:xfrm>
              <a:off x="8185731" y="6284540"/>
              <a:ext cx="25400" cy="25400"/>
            </a:xfrm>
            <a:custGeom>
              <a:avLst/>
              <a:gdLst/>
              <a:ahLst/>
              <a:cxnLst/>
              <a:rect l="l" t="t" r="r" b="b"/>
              <a:pathLst>
                <a:path w="25400" h="25400">
                  <a:moveTo>
                    <a:pt x="14020" y="17094"/>
                  </a:moveTo>
                  <a:lnTo>
                    <a:pt x="4051" y="12560"/>
                  </a:lnTo>
                  <a:lnTo>
                    <a:pt x="14516" y="10109"/>
                  </a:lnTo>
                  <a:lnTo>
                    <a:pt x="14020" y="17094"/>
                  </a:lnTo>
                  <a:lnTo>
                    <a:pt x="15481" y="17843"/>
                  </a:lnTo>
                  <a:lnTo>
                    <a:pt x="16052" y="9702"/>
                  </a:lnTo>
                  <a:lnTo>
                    <a:pt x="19900" y="8826"/>
                  </a:lnTo>
                  <a:lnTo>
                    <a:pt x="20485" y="8674"/>
                  </a:lnTo>
                  <a:lnTo>
                    <a:pt x="21170" y="8521"/>
                  </a:lnTo>
                  <a:lnTo>
                    <a:pt x="21780" y="8572"/>
                  </a:lnTo>
                  <a:lnTo>
                    <a:pt x="22733" y="8648"/>
                  </a:lnTo>
                  <a:lnTo>
                    <a:pt x="23114" y="9144"/>
                  </a:lnTo>
                  <a:lnTo>
                    <a:pt x="23037" y="11188"/>
                  </a:lnTo>
                  <a:lnTo>
                    <a:pt x="24091" y="11264"/>
                  </a:lnTo>
                  <a:lnTo>
                    <a:pt x="24879" y="76"/>
                  </a:lnTo>
                  <a:lnTo>
                    <a:pt x="23825" y="0"/>
                  </a:lnTo>
                  <a:lnTo>
                    <a:pt x="23558" y="2870"/>
                  </a:lnTo>
                  <a:lnTo>
                    <a:pt x="21882" y="3060"/>
                  </a:lnTo>
                  <a:lnTo>
                    <a:pt x="19545" y="3606"/>
                  </a:lnTo>
                  <a:lnTo>
                    <a:pt x="0" y="8178"/>
                  </a:lnTo>
                  <a:lnTo>
                    <a:pt x="1181" y="12941"/>
                  </a:lnTo>
                  <a:lnTo>
                    <a:pt x="17322" y="20345"/>
                  </a:lnTo>
                  <a:lnTo>
                    <a:pt x="19862" y="21513"/>
                  </a:lnTo>
                  <a:lnTo>
                    <a:pt x="21412" y="22263"/>
                  </a:lnTo>
                  <a:lnTo>
                    <a:pt x="22034" y="25298"/>
                  </a:lnTo>
                  <a:lnTo>
                    <a:pt x="23075" y="25361"/>
                  </a:lnTo>
                  <a:lnTo>
                    <a:pt x="23685" y="16891"/>
                  </a:lnTo>
                  <a:lnTo>
                    <a:pt x="22644" y="16814"/>
                  </a:lnTo>
                  <a:lnTo>
                    <a:pt x="22440" y="18199"/>
                  </a:lnTo>
                  <a:lnTo>
                    <a:pt x="21691" y="19634"/>
                  </a:lnTo>
                  <a:lnTo>
                    <a:pt x="20066" y="19519"/>
                  </a:lnTo>
                  <a:lnTo>
                    <a:pt x="19177" y="19443"/>
                  </a:lnTo>
                  <a:lnTo>
                    <a:pt x="18249" y="19024"/>
                  </a:lnTo>
                  <a:lnTo>
                    <a:pt x="17437" y="18681"/>
                  </a:lnTo>
                  <a:lnTo>
                    <a:pt x="15481" y="17843"/>
                  </a:lnTo>
                  <a:lnTo>
                    <a:pt x="14020" y="17094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4" name="object 206">
              <a:extLst>
                <a:ext uri="{FF2B5EF4-FFF2-40B4-BE49-F238E27FC236}">
                  <a16:creationId xmlns:a16="http://schemas.microsoft.com/office/drawing/2014/main" id="{31519E7A-0524-4A84-BDF3-86B215534533}"/>
                </a:ext>
              </a:extLst>
            </p:cNvPr>
            <p:cNvSpPr/>
            <p:nvPr/>
          </p:nvSpPr>
          <p:spPr>
            <a:xfrm>
              <a:off x="7876464" y="6239766"/>
              <a:ext cx="26034" cy="27305"/>
            </a:xfrm>
            <a:custGeom>
              <a:avLst/>
              <a:gdLst/>
              <a:ahLst/>
              <a:cxnLst/>
              <a:rect l="l" t="t" r="r" b="b"/>
              <a:pathLst>
                <a:path w="26034" h="27304">
                  <a:moveTo>
                    <a:pt x="24515" y="19177"/>
                  </a:moveTo>
                  <a:lnTo>
                    <a:pt x="2374" y="19177"/>
                  </a:lnTo>
                  <a:lnTo>
                    <a:pt x="21818" y="23368"/>
                  </a:lnTo>
                  <a:lnTo>
                    <a:pt x="22339" y="24295"/>
                  </a:lnTo>
                  <a:lnTo>
                    <a:pt x="21856" y="26543"/>
                  </a:lnTo>
                  <a:lnTo>
                    <a:pt x="22885" y="26771"/>
                  </a:lnTo>
                  <a:lnTo>
                    <a:pt x="24515" y="19177"/>
                  </a:lnTo>
                  <a:close/>
                </a:path>
                <a:path w="26034" h="27304">
                  <a:moveTo>
                    <a:pt x="11150" y="0"/>
                  </a:moveTo>
                  <a:lnTo>
                    <a:pt x="0" y="21844"/>
                  </a:lnTo>
                  <a:lnTo>
                    <a:pt x="1041" y="22059"/>
                  </a:lnTo>
                  <a:lnTo>
                    <a:pt x="1523" y="19812"/>
                  </a:lnTo>
                  <a:lnTo>
                    <a:pt x="2374" y="19177"/>
                  </a:lnTo>
                  <a:lnTo>
                    <a:pt x="24515" y="19177"/>
                  </a:lnTo>
                  <a:lnTo>
                    <a:pt x="24693" y="18351"/>
                  </a:lnTo>
                  <a:lnTo>
                    <a:pt x="23418" y="18351"/>
                  </a:lnTo>
                  <a:lnTo>
                    <a:pt x="2984" y="13944"/>
                  </a:lnTo>
                  <a:lnTo>
                    <a:pt x="4419" y="7289"/>
                  </a:lnTo>
                  <a:lnTo>
                    <a:pt x="7010" y="4800"/>
                  </a:lnTo>
                  <a:lnTo>
                    <a:pt x="23836" y="4800"/>
                  </a:lnTo>
                  <a:lnTo>
                    <a:pt x="21780" y="2298"/>
                  </a:lnTo>
                  <a:lnTo>
                    <a:pt x="11150" y="0"/>
                  </a:lnTo>
                  <a:close/>
                </a:path>
                <a:path w="26034" h="27304">
                  <a:moveTo>
                    <a:pt x="24015" y="15595"/>
                  </a:moveTo>
                  <a:lnTo>
                    <a:pt x="23418" y="18351"/>
                  </a:lnTo>
                  <a:lnTo>
                    <a:pt x="24693" y="18351"/>
                  </a:lnTo>
                  <a:lnTo>
                    <a:pt x="25222" y="15887"/>
                  </a:lnTo>
                  <a:lnTo>
                    <a:pt x="24015" y="15595"/>
                  </a:lnTo>
                  <a:close/>
                </a:path>
                <a:path w="26034" h="27304">
                  <a:moveTo>
                    <a:pt x="23836" y="4800"/>
                  </a:moveTo>
                  <a:lnTo>
                    <a:pt x="7010" y="4800"/>
                  </a:lnTo>
                  <a:lnTo>
                    <a:pt x="23291" y="8318"/>
                  </a:lnTo>
                  <a:lnTo>
                    <a:pt x="24853" y="11684"/>
                  </a:lnTo>
                  <a:lnTo>
                    <a:pt x="24015" y="15595"/>
                  </a:lnTo>
                  <a:lnTo>
                    <a:pt x="25222" y="15887"/>
                  </a:lnTo>
                  <a:lnTo>
                    <a:pt x="25653" y="13893"/>
                  </a:lnTo>
                  <a:lnTo>
                    <a:pt x="25895" y="12039"/>
                  </a:lnTo>
                  <a:lnTo>
                    <a:pt x="24942" y="6146"/>
                  </a:lnTo>
                  <a:lnTo>
                    <a:pt x="23836" y="480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5" name="object 207">
              <a:extLst>
                <a:ext uri="{FF2B5EF4-FFF2-40B4-BE49-F238E27FC236}">
                  <a16:creationId xmlns:a16="http://schemas.microsoft.com/office/drawing/2014/main" id="{58D5FEF7-2DA2-408D-8FFC-165407D875D4}"/>
                </a:ext>
              </a:extLst>
            </p:cNvPr>
            <p:cNvSpPr/>
            <p:nvPr/>
          </p:nvSpPr>
          <p:spPr>
            <a:xfrm>
              <a:off x="7876464" y="6239766"/>
              <a:ext cx="26034" cy="27305"/>
            </a:xfrm>
            <a:custGeom>
              <a:avLst/>
              <a:gdLst/>
              <a:ahLst/>
              <a:cxnLst/>
              <a:rect l="l" t="t" r="r" b="b"/>
              <a:pathLst>
                <a:path w="26034" h="27304">
                  <a:moveTo>
                    <a:pt x="24015" y="15595"/>
                  </a:moveTo>
                  <a:lnTo>
                    <a:pt x="23418" y="18351"/>
                  </a:lnTo>
                  <a:lnTo>
                    <a:pt x="22732" y="18199"/>
                  </a:lnTo>
                  <a:lnTo>
                    <a:pt x="20396" y="17691"/>
                  </a:lnTo>
                  <a:lnTo>
                    <a:pt x="5892" y="14566"/>
                  </a:lnTo>
                  <a:lnTo>
                    <a:pt x="3924" y="14147"/>
                  </a:lnTo>
                  <a:lnTo>
                    <a:pt x="2984" y="13944"/>
                  </a:lnTo>
                  <a:lnTo>
                    <a:pt x="3492" y="11531"/>
                  </a:lnTo>
                  <a:lnTo>
                    <a:pt x="4419" y="7289"/>
                  </a:lnTo>
                  <a:lnTo>
                    <a:pt x="7010" y="4800"/>
                  </a:lnTo>
                  <a:lnTo>
                    <a:pt x="14693" y="6464"/>
                  </a:lnTo>
                  <a:lnTo>
                    <a:pt x="23291" y="8318"/>
                  </a:lnTo>
                  <a:lnTo>
                    <a:pt x="24853" y="11684"/>
                  </a:lnTo>
                  <a:lnTo>
                    <a:pt x="24015" y="15595"/>
                  </a:lnTo>
                  <a:lnTo>
                    <a:pt x="25222" y="15887"/>
                  </a:lnTo>
                  <a:lnTo>
                    <a:pt x="25653" y="13893"/>
                  </a:lnTo>
                  <a:lnTo>
                    <a:pt x="25895" y="12039"/>
                  </a:lnTo>
                  <a:lnTo>
                    <a:pt x="25590" y="10248"/>
                  </a:lnTo>
                  <a:lnTo>
                    <a:pt x="24942" y="6146"/>
                  </a:lnTo>
                  <a:lnTo>
                    <a:pt x="21780" y="2298"/>
                  </a:lnTo>
                  <a:lnTo>
                    <a:pt x="16687" y="1193"/>
                  </a:lnTo>
                  <a:lnTo>
                    <a:pt x="11150" y="0"/>
                  </a:lnTo>
                  <a:lnTo>
                    <a:pt x="6794" y="2146"/>
                  </a:lnTo>
                  <a:lnTo>
                    <a:pt x="0" y="21844"/>
                  </a:lnTo>
                  <a:lnTo>
                    <a:pt x="1041" y="22059"/>
                  </a:lnTo>
                  <a:lnTo>
                    <a:pt x="1523" y="19812"/>
                  </a:lnTo>
                  <a:lnTo>
                    <a:pt x="2374" y="19177"/>
                  </a:lnTo>
                  <a:lnTo>
                    <a:pt x="4559" y="19646"/>
                  </a:lnTo>
                  <a:lnTo>
                    <a:pt x="19621" y="22898"/>
                  </a:lnTo>
                  <a:lnTo>
                    <a:pt x="21818" y="23368"/>
                  </a:lnTo>
                  <a:lnTo>
                    <a:pt x="22339" y="24295"/>
                  </a:lnTo>
                  <a:lnTo>
                    <a:pt x="21856" y="26543"/>
                  </a:lnTo>
                  <a:lnTo>
                    <a:pt x="22885" y="26771"/>
                  </a:lnTo>
                  <a:lnTo>
                    <a:pt x="25222" y="15887"/>
                  </a:lnTo>
                  <a:lnTo>
                    <a:pt x="24015" y="15595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6" name="object 208">
              <a:extLst>
                <a:ext uri="{FF2B5EF4-FFF2-40B4-BE49-F238E27FC236}">
                  <a16:creationId xmlns:a16="http://schemas.microsoft.com/office/drawing/2014/main" id="{08A96693-CE98-4F91-8E1E-21565504D89A}"/>
                </a:ext>
              </a:extLst>
            </p:cNvPr>
            <p:cNvSpPr/>
            <p:nvPr/>
          </p:nvSpPr>
          <p:spPr>
            <a:xfrm>
              <a:off x="7882074" y="6218582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6731" y="0"/>
                  </a:moveTo>
                  <a:lnTo>
                    <a:pt x="0" y="18072"/>
                  </a:lnTo>
                  <a:lnTo>
                    <a:pt x="977" y="18440"/>
                  </a:lnTo>
                  <a:lnTo>
                    <a:pt x="1790" y="16281"/>
                  </a:lnTo>
                  <a:lnTo>
                    <a:pt x="2730" y="15773"/>
                  </a:lnTo>
                  <a:lnTo>
                    <a:pt x="21361" y="22733"/>
                  </a:lnTo>
                  <a:lnTo>
                    <a:pt x="21729" y="23723"/>
                  </a:lnTo>
                  <a:lnTo>
                    <a:pt x="20929" y="25882"/>
                  </a:lnTo>
                  <a:lnTo>
                    <a:pt x="21920" y="26250"/>
                  </a:lnTo>
                  <a:lnTo>
                    <a:pt x="28663" y="8178"/>
                  </a:lnTo>
                  <a:lnTo>
                    <a:pt x="23926" y="3860"/>
                  </a:lnTo>
                  <a:lnTo>
                    <a:pt x="23215" y="4521"/>
                  </a:lnTo>
                  <a:lnTo>
                    <a:pt x="25057" y="7874"/>
                  </a:lnTo>
                  <a:lnTo>
                    <a:pt x="25920" y="11976"/>
                  </a:lnTo>
                  <a:lnTo>
                    <a:pt x="23736" y="17818"/>
                  </a:lnTo>
                  <a:lnTo>
                    <a:pt x="22504" y="17564"/>
                  </a:lnTo>
                  <a:lnTo>
                    <a:pt x="14439" y="14554"/>
                  </a:lnTo>
                  <a:lnTo>
                    <a:pt x="15786" y="10960"/>
                  </a:lnTo>
                  <a:lnTo>
                    <a:pt x="17043" y="9690"/>
                  </a:lnTo>
                  <a:lnTo>
                    <a:pt x="20370" y="10007"/>
                  </a:lnTo>
                  <a:lnTo>
                    <a:pt x="20815" y="8839"/>
                  </a:lnTo>
                  <a:lnTo>
                    <a:pt x="12153" y="5613"/>
                  </a:lnTo>
                  <a:lnTo>
                    <a:pt x="11722" y="6781"/>
                  </a:lnTo>
                  <a:lnTo>
                    <a:pt x="14363" y="8928"/>
                  </a:lnTo>
                  <a:lnTo>
                    <a:pt x="14376" y="10439"/>
                  </a:lnTo>
                  <a:lnTo>
                    <a:pt x="13030" y="14020"/>
                  </a:lnTo>
                  <a:lnTo>
                    <a:pt x="4076" y="10680"/>
                  </a:lnTo>
                  <a:lnTo>
                    <a:pt x="6350" y="4610"/>
                  </a:lnTo>
                  <a:lnTo>
                    <a:pt x="9728" y="2311"/>
                  </a:lnTo>
                  <a:lnTo>
                    <a:pt x="13081" y="1282"/>
                  </a:lnTo>
                  <a:lnTo>
                    <a:pt x="13042" y="203"/>
                  </a:lnTo>
                  <a:lnTo>
                    <a:pt x="6731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7" name="object 209">
              <a:extLst>
                <a:ext uri="{FF2B5EF4-FFF2-40B4-BE49-F238E27FC236}">
                  <a16:creationId xmlns:a16="http://schemas.microsoft.com/office/drawing/2014/main" id="{13085169-9653-4C39-A25F-6D6225F41D57}"/>
                </a:ext>
              </a:extLst>
            </p:cNvPr>
            <p:cNvSpPr/>
            <p:nvPr/>
          </p:nvSpPr>
          <p:spPr>
            <a:xfrm>
              <a:off x="7882074" y="6218582"/>
              <a:ext cx="29209" cy="26670"/>
            </a:xfrm>
            <a:custGeom>
              <a:avLst/>
              <a:gdLst/>
              <a:ahLst/>
              <a:cxnLst/>
              <a:rect l="l" t="t" r="r" b="b"/>
              <a:pathLst>
                <a:path w="29209" h="26670">
                  <a:moveTo>
                    <a:pt x="20929" y="25882"/>
                  </a:moveTo>
                  <a:lnTo>
                    <a:pt x="21729" y="23723"/>
                  </a:lnTo>
                  <a:lnTo>
                    <a:pt x="21361" y="22733"/>
                  </a:lnTo>
                  <a:lnTo>
                    <a:pt x="19265" y="21945"/>
                  </a:lnTo>
                  <a:lnTo>
                    <a:pt x="4813" y="16560"/>
                  </a:lnTo>
                  <a:lnTo>
                    <a:pt x="2730" y="15773"/>
                  </a:lnTo>
                  <a:lnTo>
                    <a:pt x="1790" y="16281"/>
                  </a:lnTo>
                  <a:lnTo>
                    <a:pt x="977" y="18440"/>
                  </a:lnTo>
                  <a:lnTo>
                    <a:pt x="0" y="18072"/>
                  </a:lnTo>
                  <a:lnTo>
                    <a:pt x="6731" y="0"/>
                  </a:lnTo>
                  <a:lnTo>
                    <a:pt x="13042" y="203"/>
                  </a:lnTo>
                  <a:lnTo>
                    <a:pt x="13081" y="1282"/>
                  </a:lnTo>
                  <a:lnTo>
                    <a:pt x="9728" y="2311"/>
                  </a:lnTo>
                  <a:lnTo>
                    <a:pt x="6350" y="4610"/>
                  </a:lnTo>
                  <a:lnTo>
                    <a:pt x="5067" y="8026"/>
                  </a:lnTo>
                  <a:lnTo>
                    <a:pt x="4076" y="10680"/>
                  </a:lnTo>
                  <a:lnTo>
                    <a:pt x="4978" y="11023"/>
                  </a:lnTo>
                  <a:lnTo>
                    <a:pt x="7188" y="11849"/>
                  </a:lnTo>
                  <a:lnTo>
                    <a:pt x="13030" y="14020"/>
                  </a:lnTo>
                  <a:lnTo>
                    <a:pt x="13258" y="13423"/>
                  </a:lnTo>
                  <a:lnTo>
                    <a:pt x="14376" y="10439"/>
                  </a:lnTo>
                  <a:lnTo>
                    <a:pt x="14363" y="8928"/>
                  </a:lnTo>
                  <a:lnTo>
                    <a:pt x="11722" y="6781"/>
                  </a:lnTo>
                  <a:lnTo>
                    <a:pt x="12153" y="5613"/>
                  </a:lnTo>
                  <a:lnTo>
                    <a:pt x="20815" y="8839"/>
                  </a:lnTo>
                  <a:lnTo>
                    <a:pt x="20370" y="10007"/>
                  </a:lnTo>
                  <a:lnTo>
                    <a:pt x="17043" y="9690"/>
                  </a:lnTo>
                  <a:lnTo>
                    <a:pt x="15786" y="10960"/>
                  </a:lnTo>
                  <a:lnTo>
                    <a:pt x="14693" y="13893"/>
                  </a:lnTo>
                  <a:lnTo>
                    <a:pt x="14439" y="14554"/>
                  </a:lnTo>
                  <a:lnTo>
                    <a:pt x="20764" y="16916"/>
                  </a:lnTo>
                  <a:lnTo>
                    <a:pt x="22504" y="17564"/>
                  </a:lnTo>
                  <a:lnTo>
                    <a:pt x="23736" y="17818"/>
                  </a:lnTo>
                  <a:lnTo>
                    <a:pt x="24536" y="15684"/>
                  </a:lnTo>
                  <a:lnTo>
                    <a:pt x="25920" y="11976"/>
                  </a:lnTo>
                  <a:lnTo>
                    <a:pt x="25057" y="7874"/>
                  </a:lnTo>
                  <a:lnTo>
                    <a:pt x="23215" y="4521"/>
                  </a:lnTo>
                  <a:lnTo>
                    <a:pt x="23926" y="3860"/>
                  </a:lnTo>
                  <a:lnTo>
                    <a:pt x="28663" y="8178"/>
                  </a:lnTo>
                  <a:lnTo>
                    <a:pt x="21920" y="26250"/>
                  </a:lnTo>
                  <a:lnTo>
                    <a:pt x="20929" y="25882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8" name="object 210">
              <a:extLst>
                <a:ext uri="{FF2B5EF4-FFF2-40B4-BE49-F238E27FC236}">
                  <a16:creationId xmlns:a16="http://schemas.microsoft.com/office/drawing/2014/main" id="{AC2B86EE-E1F7-43BC-AF24-6A28A13199E6}"/>
                </a:ext>
              </a:extLst>
            </p:cNvPr>
            <p:cNvSpPr/>
            <p:nvPr/>
          </p:nvSpPr>
          <p:spPr>
            <a:xfrm>
              <a:off x="7891502" y="6195272"/>
              <a:ext cx="26034" cy="29209"/>
            </a:xfrm>
            <a:custGeom>
              <a:avLst/>
              <a:gdLst/>
              <a:ahLst/>
              <a:cxnLst/>
              <a:rect l="l" t="t" r="r" b="b"/>
              <a:pathLst>
                <a:path w="26034" h="29209">
                  <a:moveTo>
                    <a:pt x="13731" y="15316"/>
                  </a:moveTo>
                  <a:lnTo>
                    <a:pt x="3060" y="15316"/>
                  </a:lnTo>
                  <a:lnTo>
                    <a:pt x="20383" y="25095"/>
                  </a:lnTo>
                  <a:lnTo>
                    <a:pt x="20599" y="26136"/>
                  </a:lnTo>
                  <a:lnTo>
                    <a:pt x="19469" y="28130"/>
                  </a:lnTo>
                  <a:lnTo>
                    <a:pt x="20383" y="28651"/>
                  </a:lnTo>
                  <a:lnTo>
                    <a:pt x="24970" y="20523"/>
                  </a:lnTo>
                  <a:lnTo>
                    <a:pt x="22948" y="20523"/>
                  </a:lnTo>
                  <a:lnTo>
                    <a:pt x="13731" y="15316"/>
                  </a:lnTo>
                  <a:close/>
                </a:path>
                <a:path w="26034" h="29209">
                  <a:moveTo>
                    <a:pt x="25095" y="18173"/>
                  </a:moveTo>
                  <a:lnTo>
                    <a:pt x="23964" y="20167"/>
                  </a:lnTo>
                  <a:lnTo>
                    <a:pt x="22948" y="20523"/>
                  </a:lnTo>
                  <a:lnTo>
                    <a:pt x="24970" y="20523"/>
                  </a:lnTo>
                  <a:lnTo>
                    <a:pt x="26009" y="18681"/>
                  </a:lnTo>
                  <a:lnTo>
                    <a:pt x="25095" y="18173"/>
                  </a:lnTo>
                  <a:close/>
                </a:path>
                <a:path w="26034" h="29209">
                  <a:moveTo>
                    <a:pt x="13144" y="0"/>
                  </a:moveTo>
                  <a:lnTo>
                    <a:pt x="9182" y="889"/>
                  </a:lnTo>
                  <a:lnTo>
                    <a:pt x="0" y="17145"/>
                  </a:lnTo>
                  <a:lnTo>
                    <a:pt x="927" y="17665"/>
                  </a:lnTo>
                  <a:lnTo>
                    <a:pt x="2057" y="15659"/>
                  </a:lnTo>
                  <a:lnTo>
                    <a:pt x="3060" y="15316"/>
                  </a:lnTo>
                  <a:lnTo>
                    <a:pt x="13731" y="15316"/>
                  </a:lnTo>
                  <a:lnTo>
                    <a:pt x="5194" y="10490"/>
                  </a:lnTo>
                  <a:lnTo>
                    <a:pt x="7937" y="5613"/>
                  </a:lnTo>
                  <a:lnTo>
                    <a:pt x="10185" y="4711"/>
                  </a:lnTo>
                  <a:lnTo>
                    <a:pt x="20903" y="4711"/>
                  </a:lnTo>
                  <a:lnTo>
                    <a:pt x="21018" y="4445"/>
                  </a:lnTo>
                  <a:lnTo>
                    <a:pt x="13144" y="0"/>
                  </a:lnTo>
                  <a:close/>
                </a:path>
                <a:path w="26034" h="29209">
                  <a:moveTo>
                    <a:pt x="20903" y="4711"/>
                  </a:moveTo>
                  <a:lnTo>
                    <a:pt x="10185" y="4711"/>
                  </a:lnTo>
                  <a:lnTo>
                    <a:pt x="16497" y="8280"/>
                  </a:lnTo>
                  <a:lnTo>
                    <a:pt x="16840" y="10541"/>
                  </a:lnTo>
                  <a:lnTo>
                    <a:pt x="14046" y="15494"/>
                  </a:lnTo>
                  <a:lnTo>
                    <a:pt x="15125" y="16103"/>
                  </a:lnTo>
                  <a:lnTo>
                    <a:pt x="18732" y="9728"/>
                  </a:lnTo>
                  <a:lnTo>
                    <a:pt x="20903" y="4711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9" name="object 211">
              <a:extLst>
                <a:ext uri="{FF2B5EF4-FFF2-40B4-BE49-F238E27FC236}">
                  <a16:creationId xmlns:a16="http://schemas.microsoft.com/office/drawing/2014/main" id="{92DF5469-93F8-4F75-A542-36AE72598464}"/>
                </a:ext>
              </a:extLst>
            </p:cNvPr>
            <p:cNvSpPr/>
            <p:nvPr/>
          </p:nvSpPr>
          <p:spPr>
            <a:xfrm>
              <a:off x="7891502" y="6195272"/>
              <a:ext cx="26034" cy="29209"/>
            </a:xfrm>
            <a:custGeom>
              <a:avLst/>
              <a:gdLst/>
              <a:ahLst/>
              <a:cxnLst/>
              <a:rect l="l" t="t" r="r" b="b"/>
              <a:pathLst>
                <a:path w="26034" h="29209">
                  <a:moveTo>
                    <a:pt x="14046" y="15494"/>
                  </a:moveTo>
                  <a:lnTo>
                    <a:pt x="7950" y="12052"/>
                  </a:lnTo>
                  <a:lnTo>
                    <a:pt x="6032" y="10960"/>
                  </a:lnTo>
                  <a:lnTo>
                    <a:pt x="5194" y="10490"/>
                  </a:lnTo>
                  <a:lnTo>
                    <a:pt x="6464" y="8242"/>
                  </a:lnTo>
                  <a:lnTo>
                    <a:pt x="7937" y="5613"/>
                  </a:lnTo>
                  <a:lnTo>
                    <a:pt x="10185" y="4711"/>
                  </a:lnTo>
                  <a:lnTo>
                    <a:pt x="13220" y="6426"/>
                  </a:lnTo>
                  <a:lnTo>
                    <a:pt x="16497" y="8280"/>
                  </a:lnTo>
                  <a:lnTo>
                    <a:pt x="16840" y="10541"/>
                  </a:lnTo>
                  <a:lnTo>
                    <a:pt x="14973" y="13843"/>
                  </a:lnTo>
                  <a:lnTo>
                    <a:pt x="14046" y="15494"/>
                  </a:lnTo>
                  <a:lnTo>
                    <a:pt x="15125" y="16103"/>
                  </a:lnTo>
                  <a:lnTo>
                    <a:pt x="16484" y="13703"/>
                  </a:lnTo>
                  <a:lnTo>
                    <a:pt x="18732" y="9728"/>
                  </a:lnTo>
                  <a:lnTo>
                    <a:pt x="21018" y="4445"/>
                  </a:lnTo>
                  <a:lnTo>
                    <a:pt x="15900" y="1549"/>
                  </a:lnTo>
                  <a:lnTo>
                    <a:pt x="13144" y="0"/>
                  </a:lnTo>
                  <a:lnTo>
                    <a:pt x="9182" y="889"/>
                  </a:lnTo>
                  <a:lnTo>
                    <a:pt x="5664" y="7124"/>
                  </a:lnTo>
                  <a:lnTo>
                    <a:pt x="0" y="17145"/>
                  </a:lnTo>
                  <a:lnTo>
                    <a:pt x="927" y="17665"/>
                  </a:lnTo>
                  <a:lnTo>
                    <a:pt x="2057" y="15659"/>
                  </a:lnTo>
                  <a:lnTo>
                    <a:pt x="3060" y="15316"/>
                  </a:lnTo>
                  <a:lnTo>
                    <a:pt x="5003" y="16408"/>
                  </a:lnTo>
                  <a:lnTo>
                    <a:pt x="18427" y="23990"/>
                  </a:lnTo>
                  <a:lnTo>
                    <a:pt x="20383" y="25095"/>
                  </a:lnTo>
                  <a:lnTo>
                    <a:pt x="20599" y="26136"/>
                  </a:lnTo>
                  <a:lnTo>
                    <a:pt x="19469" y="28130"/>
                  </a:lnTo>
                  <a:lnTo>
                    <a:pt x="20383" y="28651"/>
                  </a:lnTo>
                  <a:lnTo>
                    <a:pt x="26009" y="18681"/>
                  </a:lnTo>
                  <a:lnTo>
                    <a:pt x="25095" y="18173"/>
                  </a:lnTo>
                  <a:lnTo>
                    <a:pt x="23964" y="20167"/>
                  </a:lnTo>
                  <a:lnTo>
                    <a:pt x="22948" y="20523"/>
                  </a:lnTo>
                  <a:lnTo>
                    <a:pt x="21005" y="19418"/>
                  </a:lnTo>
                  <a:lnTo>
                    <a:pt x="15125" y="16103"/>
                  </a:lnTo>
                  <a:lnTo>
                    <a:pt x="14046" y="15494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0" name="object 212">
              <a:extLst>
                <a:ext uri="{FF2B5EF4-FFF2-40B4-BE49-F238E27FC236}">
                  <a16:creationId xmlns:a16="http://schemas.microsoft.com/office/drawing/2014/main" id="{D29CE4BB-C918-4F49-80B6-E7035A1902AF}"/>
                </a:ext>
              </a:extLst>
            </p:cNvPr>
            <p:cNvSpPr/>
            <p:nvPr/>
          </p:nvSpPr>
          <p:spPr>
            <a:xfrm>
              <a:off x="7907297" y="6183224"/>
              <a:ext cx="27305" cy="27305"/>
            </a:xfrm>
            <a:custGeom>
              <a:avLst/>
              <a:gdLst/>
              <a:ahLst/>
              <a:cxnLst/>
              <a:rect l="l" t="t" r="r" b="b"/>
              <a:pathLst>
                <a:path w="27304" h="27304">
                  <a:moveTo>
                    <a:pt x="1562" y="0"/>
                  </a:moveTo>
                  <a:lnTo>
                    <a:pt x="0" y="4648"/>
                  </a:lnTo>
                  <a:lnTo>
                    <a:pt x="11201" y="21882"/>
                  </a:lnTo>
                  <a:lnTo>
                    <a:pt x="12103" y="23342"/>
                  </a:lnTo>
                  <a:lnTo>
                    <a:pt x="11010" y="26238"/>
                  </a:lnTo>
                  <a:lnTo>
                    <a:pt x="11861" y="26860"/>
                  </a:lnTo>
                  <a:lnTo>
                    <a:pt x="15988" y="21272"/>
                  </a:lnTo>
                  <a:lnTo>
                    <a:pt x="13766" y="21272"/>
                  </a:lnTo>
                  <a:lnTo>
                    <a:pt x="11734" y="19773"/>
                  </a:lnTo>
                  <a:lnTo>
                    <a:pt x="9461" y="16433"/>
                  </a:lnTo>
                  <a:lnTo>
                    <a:pt x="8527" y="14858"/>
                  </a:lnTo>
                  <a:lnTo>
                    <a:pt x="2628" y="5867"/>
                  </a:lnTo>
                  <a:lnTo>
                    <a:pt x="18462" y="5867"/>
                  </a:lnTo>
                  <a:lnTo>
                    <a:pt x="1562" y="0"/>
                  </a:lnTo>
                  <a:close/>
                </a:path>
                <a:path w="27304" h="27304">
                  <a:moveTo>
                    <a:pt x="16065" y="19392"/>
                  </a:moveTo>
                  <a:lnTo>
                    <a:pt x="15151" y="20472"/>
                  </a:lnTo>
                  <a:lnTo>
                    <a:pt x="13766" y="21272"/>
                  </a:lnTo>
                  <a:lnTo>
                    <a:pt x="15988" y="21272"/>
                  </a:lnTo>
                  <a:lnTo>
                    <a:pt x="16916" y="20015"/>
                  </a:lnTo>
                  <a:lnTo>
                    <a:pt x="16065" y="19392"/>
                  </a:lnTo>
                  <a:close/>
                </a:path>
                <a:path w="27304" h="27304">
                  <a:moveTo>
                    <a:pt x="18462" y="5867"/>
                  </a:moveTo>
                  <a:lnTo>
                    <a:pt x="2628" y="5867"/>
                  </a:lnTo>
                  <a:lnTo>
                    <a:pt x="12788" y="9385"/>
                  </a:lnTo>
                  <a:lnTo>
                    <a:pt x="8635" y="15024"/>
                  </a:lnTo>
                  <a:lnTo>
                    <a:pt x="9461" y="16433"/>
                  </a:lnTo>
                  <a:lnTo>
                    <a:pt x="14300" y="9867"/>
                  </a:lnTo>
                  <a:lnTo>
                    <a:pt x="24393" y="9867"/>
                  </a:lnTo>
                  <a:lnTo>
                    <a:pt x="25694" y="8102"/>
                  </a:lnTo>
                  <a:lnTo>
                    <a:pt x="24307" y="8102"/>
                  </a:lnTo>
                  <a:lnTo>
                    <a:pt x="22771" y="7378"/>
                  </a:lnTo>
                  <a:lnTo>
                    <a:pt x="18462" y="5867"/>
                  </a:lnTo>
                  <a:close/>
                </a:path>
                <a:path w="27304" h="27304">
                  <a:moveTo>
                    <a:pt x="24393" y="9867"/>
                  </a:moveTo>
                  <a:lnTo>
                    <a:pt x="14300" y="9867"/>
                  </a:lnTo>
                  <a:lnTo>
                    <a:pt x="18592" y="11366"/>
                  </a:lnTo>
                  <a:lnTo>
                    <a:pt x="19253" y="11620"/>
                  </a:lnTo>
                  <a:lnTo>
                    <a:pt x="20510" y="12547"/>
                  </a:lnTo>
                  <a:lnTo>
                    <a:pt x="20561" y="13169"/>
                  </a:lnTo>
                  <a:lnTo>
                    <a:pt x="19392" y="14858"/>
                  </a:lnTo>
                  <a:lnTo>
                    <a:pt x="20256" y="15481"/>
                  </a:lnTo>
                  <a:lnTo>
                    <a:pt x="24393" y="9867"/>
                  </a:lnTo>
                  <a:close/>
                </a:path>
                <a:path w="27304" h="27304">
                  <a:moveTo>
                    <a:pt x="26060" y="5829"/>
                  </a:moveTo>
                  <a:lnTo>
                    <a:pt x="24307" y="8102"/>
                  </a:lnTo>
                  <a:lnTo>
                    <a:pt x="25694" y="8102"/>
                  </a:lnTo>
                  <a:lnTo>
                    <a:pt x="26911" y="6451"/>
                  </a:lnTo>
                  <a:lnTo>
                    <a:pt x="26060" y="5829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1" name="object 213">
              <a:extLst>
                <a:ext uri="{FF2B5EF4-FFF2-40B4-BE49-F238E27FC236}">
                  <a16:creationId xmlns:a16="http://schemas.microsoft.com/office/drawing/2014/main" id="{30C7B2E0-74E2-450A-A159-170076B71733}"/>
                </a:ext>
              </a:extLst>
            </p:cNvPr>
            <p:cNvSpPr/>
            <p:nvPr/>
          </p:nvSpPr>
          <p:spPr>
            <a:xfrm>
              <a:off x="7907297" y="6183224"/>
              <a:ext cx="27305" cy="27305"/>
            </a:xfrm>
            <a:custGeom>
              <a:avLst/>
              <a:gdLst/>
              <a:ahLst/>
              <a:cxnLst/>
              <a:rect l="l" t="t" r="r" b="b"/>
              <a:pathLst>
                <a:path w="27304" h="27304">
                  <a:moveTo>
                    <a:pt x="8635" y="15024"/>
                  </a:moveTo>
                  <a:lnTo>
                    <a:pt x="2628" y="5867"/>
                  </a:lnTo>
                  <a:lnTo>
                    <a:pt x="12788" y="9385"/>
                  </a:lnTo>
                  <a:lnTo>
                    <a:pt x="8635" y="15024"/>
                  </a:lnTo>
                  <a:lnTo>
                    <a:pt x="9461" y="16433"/>
                  </a:lnTo>
                  <a:lnTo>
                    <a:pt x="14300" y="9867"/>
                  </a:lnTo>
                  <a:lnTo>
                    <a:pt x="18021" y="11175"/>
                  </a:lnTo>
                  <a:lnTo>
                    <a:pt x="18592" y="11366"/>
                  </a:lnTo>
                  <a:lnTo>
                    <a:pt x="19253" y="11620"/>
                  </a:lnTo>
                  <a:lnTo>
                    <a:pt x="19735" y="11976"/>
                  </a:lnTo>
                  <a:lnTo>
                    <a:pt x="20510" y="12547"/>
                  </a:lnTo>
                  <a:lnTo>
                    <a:pt x="20561" y="13169"/>
                  </a:lnTo>
                  <a:lnTo>
                    <a:pt x="19392" y="14858"/>
                  </a:lnTo>
                  <a:lnTo>
                    <a:pt x="20256" y="15481"/>
                  </a:lnTo>
                  <a:lnTo>
                    <a:pt x="26911" y="6451"/>
                  </a:lnTo>
                  <a:lnTo>
                    <a:pt x="26060" y="5829"/>
                  </a:lnTo>
                  <a:lnTo>
                    <a:pt x="24307" y="8102"/>
                  </a:lnTo>
                  <a:lnTo>
                    <a:pt x="22771" y="7378"/>
                  </a:lnTo>
                  <a:lnTo>
                    <a:pt x="20510" y="6578"/>
                  </a:lnTo>
                  <a:lnTo>
                    <a:pt x="1562" y="0"/>
                  </a:lnTo>
                  <a:lnTo>
                    <a:pt x="0" y="4648"/>
                  </a:lnTo>
                  <a:lnTo>
                    <a:pt x="9677" y="19532"/>
                  </a:lnTo>
                  <a:lnTo>
                    <a:pt x="11201" y="21882"/>
                  </a:lnTo>
                  <a:lnTo>
                    <a:pt x="12103" y="23342"/>
                  </a:lnTo>
                  <a:lnTo>
                    <a:pt x="11010" y="26238"/>
                  </a:lnTo>
                  <a:lnTo>
                    <a:pt x="11861" y="26860"/>
                  </a:lnTo>
                  <a:lnTo>
                    <a:pt x="16916" y="20015"/>
                  </a:lnTo>
                  <a:lnTo>
                    <a:pt x="16065" y="19392"/>
                  </a:lnTo>
                  <a:lnTo>
                    <a:pt x="15151" y="20472"/>
                  </a:lnTo>
                  <a:lnTo>
                    <a:pt x="13766" y="21272"/>
                  </a:lnTo>
                  <a:lnTo>
                    <a:pt x="12445" y="20307"/>
                  </a:lnTo>
                  <a:lnTo>
                    <a:pt x="11734" y="19773"/>
                  </a:lnTo>
                  <a:lnTo>
                    <a:pt x="11163" y="18922"/>
                  </a:lnTo>
                  <a:lnTo>
                    <a:pt x="10667" y="18199"/>
                  </a:lnTo>
                  <a:lnTo>
                    <a:pt x="9461" y="16433"/>
                  </a:lnTo>
                  <a:lnTo>
                    <a:pt x="8635" y="15024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2" name="object 214">
              <a:extLst>
                <a:ext uri="{FF2B5EF4-FFF2-40B4-BE49-F238E27FC236}">
                  <a16:creationId xmlns:a16="http://schemas.microsoft.com/office/drawing/2014/main" id="{58515181-4BB0-4A32-894A-EC6EAB7C8A9A}"/>
                </a:ext>
              </a:extLst>
            </p:cNvPr>
            <p:cNvSpPr/>
            <p:nvPr/>
          </p:nvSpPr>
          <p:spPr>
            <a:xfrm>
              <a:off x="7919983" y="6158035"/>
              <a:ext cx="33655" cy="29845"/>
            </a:xfrm>
            <a:custGeom>
              <a:avLst/>
              <a:gdLst/>
              <a:ahLst/>
              <a:cxnLst/>
              <a:rect l="l" t="t" r="r" b="b"/>
              <a:pathLst>
                <a:path w="33654" h="29845">
                  <a:moveTo>
                    <a:pt x="10654" y="11925"/>
                  </a:moveTo>
                  <a:lnTo>
                    <a:pt x="3467" y="11925"/>
                  </a:lnTo>
                  <a:lnTo>
                    <a:pt x="17068" y="26428"/>
                  </a:lnTo>
                  <a:lnTo>
                    <a:pt x="16967" y="27495"/>
                  </a:lnTo>
                  <a:lnTo>
                    <a:pt x="15290" y="29070"/>
                  </a:lnTo>
                  <a:lnTo>
                    <a:pt x="16014" y="29832"/>
                  </a:lnTo>
                  <a:lnTo>
                    <a:pt x="23464" y="22847"/>
                  </a:lnTo>
                  <a:lnTo>
                    <a:pt x="20891" y="22847"/>
                  </a:lnTo>
                  <a:lnTo>
                    <a:pt x="14465" y="15989"/>
                  </a:lnTo>
                  <a:lnTo>
                    <a:pt x="14043" y="14897"/>
                  </a:lnTo>
                  <a:lnTo>
                    <a:pt x="13436" y="14897"/>
                  </a:lnTo>
                  <a:lnTo>
                    <a:pt x="10654" y="11925"/>
                  </a:lnTo>
                  <a:close/>
                </a:path>
                <a:path w="33654" h="29845">
                  <a:moveTo>
                    <a:pt x="23634" y="21234"/>
                  </a:moveTo>
                  <a:lnTo>
                    <a:pt x="21958" y="22809"/>
                  </a:lnTo>
                  <a:lnTo>
                    <a:pt x="20891" y="22847"/>
                  </a:lnTo>
                  <a:lnTo>
                    <a:pt x="23464" y="22847"/>
                  </a:lnTo>
                  <a:lnTo>
                    <a:pt x="24358" y="22009"/>
                  </a:lnTo>
                  <a:lnTo>
                    <a:pt x="23634" y="21234"/>
                  </a:lnTo>
                  <a:close/>
                </a:path>
                <a:path w="33654" h="29845">
                  <a:moveTo>
                    <a:pt x="32388" y="14478"/>
                  </a:moveTo>
                  <a:lnTo>
                    <a:pt x="16598" y="14478"/>
                  </a:lnTo>
                  <a:lnTo>
                    <a:pt x="24930" y="17792"/>
                  </a:lnTo>
                  <a:lnTo>
                    <a:pt x="25869" y="18135"/>
                  </a:lnTo>
                  <a:lnTo>
                    <a:pt x="26796" y="18580"/>
                  </a:lnTo>
                  <a:lnTo>
                    <a:pt x="27762" y="18808"/>
                  </a:lnTo>
                  <a:lnTo>
                    <a:pt x="32388" y="14478"/>
                  </a:lnTo>
                  <a:close/>
                </a:path>
                <a:path w="33654" h="29845">
                  <a:moveTo>
                    <a:pt x="20808" y="3683"/>
                  </a:moveTo>
                  <a:lnTo>
                    <a:pt x="13182" y="3683"/>
                  </a:lnTo>
                  <a:lnTo>
                    <a:pt x="17716" y="8521"/>
                  </a:lnTo>
                  <a:lnTo>
                    <a:pt x="17702" y="10896"/>
                  </a:lnTo>
                  <a:lnTo>
                    <a:pt x="13881" y="14478"/>
                  </a:lnTo>
                  <a:lnTo>
                    <a:pt x="14465" y="15989"/>
                  </a:lnTo>
                  <a:lnTo>
                    <a:pt x="15443" y="15074"/>
                  </a:lnTo>
                  <a:lnTo>
                    <a:pt x="16598" y="14478"/>
                  </a:lnTo>
                  <a:lnTo>
                    <a:pt x="32388" y="14478"/>
                  </a:lnTo>
                  <a:lnTo>
                    <a:pt x="30670" y="14389"/>
                  </a:lnTo>
                  <a:lnTo>
                    <a:pt x="26161" y="12903"/>
                  </a:lnTo>
                  <a:lnTo>
                    <a:pt x="22542" y="11569"/>
                  </a:lnTo>
                  <a:lnTo>
                    <a:pt x="21424" y="11176"/>
                  </a:lnTo>
                  <a:lnTo>
                    <a:pt x="20752" y="10896"/>
                  </a:lnTo>
                  <a:lnTo>
                    <a:pt x="19113" y="10896"/>
                  </a:lnTo>
                  <a:lnTo>
                    <a:pt x="20954" y="8369"/>
                  </a:lnTo>
                  <a:lnTo>
                    <a:pt x="22085" y="5041"/>
                  </a:lnTo>
                  <a:lnTo>
                    <a:pt x="20808" y="3683"/>
                  </a:lnTo>
                  <a:close/>
                </a:path>
                <a:path w="33654" h="29845">
                  <a:moveTo>
                    <a:pt x="13881" y="14478"/>
                  </a:moveTo>
                  <a:lnTo>
                    <a:pt x="13436" y="14897"/>
                  </a:lnTo>
                  <a:lnTo>
                    <a:pt x="14043" y="14897"/>
                  </a:lnTo>
                  <a:lnTo>
                    <a:pt x="13881" y="14478"/>
                  </a:lnTo>
                  <a:close/>
                </a:path>
                <a:path w="33654" h="29845">
                  <a:moveTo>
                    <a:pt x="32804" y="12636"/>
                  </a:moveTo>
                  <a:lnTo>
                    <a:pt x="30670" y="14389"/>
                  </a:lnTo>
                  <a:lnTo>
                    <a:pt x="32483" y="14389"/>
                  </a:lnTo>
                  <a:lnTo>
                    <a:pt x="33527" y="13411"/>
                  </a:lnTo>
                  <a:lnTo>
                    <a:pt x="32804" y="12636"/>
                  </a:lnTo>
                  <a:close/>
                </a:path>
                <a:path w="33654" h="29845">
                  <a:moveTo>
                    <a:pt x="17348" y="0"/>
                  </a:moveTo>
                  <a:lnTo>
                    <a:pt x="13487" y="127"/>
                  </a:lnTo>
                  <a:lnTo>
                    <a:pt x="0" y="12763"/>
                  </a:lnTo>
                  <a:lnTo>
                    <a:pt x="723" y="13538"/>
                  </a:lnTo>
                  <a:lnTo>
                    <a:pt x="2400" y="11963"/>
                  </a:lnTo>
                  <a:lnTo>
                    <a:pt x="3467" y="11925"/>
                  </a:lnTo>
                  <a:lnTo>
                    <a:pt x="10654" y="11925"/>
                  </a:lnTo>
                  <a:lnTo>
                    <a:pt x="7474" y="8521"/>
                  </a:lnTo>
                  <a:lnTo>
                    <a:pt x="7010" y="7899"/>
                  </a:lnTo>
                  <a:lnTo>
                    <a:pt x="11048" y="4114"/>
                  </a:lnTo>
                  <a:lnTo>
                    <a:pt x="13182" y="3683"/>
                  </a:lnTo>
                  <a:lnTo>
                    <a:pt x="20808" y="3683"/>
                  </a:lnTo>
                  <a:lnTo>
                    <a:pt x="17348" y="0"/>
                  </a:lnTo>
                  <a:close/>
                </a:path>
                <a:path w="33654" h="29845">
                  <a:moveTo>
                    <a:pt x="20294" y="10706"/>
                  </a:moveTo>
                  <a:lnTo>
                    <a:pt x="19113" y="10896"/>
                  </a:lnTo>
                  <a:lnTo>
                    <a:pt x="20752" y="10896"/>
                  </a:lnTo>
                  <a:lnTo>
                    <a:pt x="20294" y="10706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3" name="object 215">
              <a:extLst>
                <a:ext uri="{FF2B5EF4-FFF2-40B4-BE49-F238E27FC236}">
                  <a16:creationId xmlns:a16="http://schemas.microsoft.com/office/drawing/2014/main" id="{347CF17D-C364-496F-AFBF-B755DC05FC27}"/>
                </a:ext>
              </a:extLst>
            </p:cNvPr>
            <p:cNvSpPr/>
            <p:nvPr/>
          </p:nvSpPr>
          <p:spPr>
            <a:xfrm>
              <a:off x="7919983" y="6158035"/>
              <a:ext cx="33655" cy="29845"/>
            </a:xfrm>
            <a:custGeom>
              <a:avLst/>
              <a:gdLst/>
              <a:ahLst/>
              <a:cxnLst/>
              <a:rect l="l" t="t" r="r" b="b"/>
              <a:pathLst>
                <a:path w="33654" h="29845">
                  <a:moveTo>
                    <a:pt x="13881" y="14478"/>
                  </a:moveTo>
                  <a:lnTo>
                    <a:pt x="13436" y="14897"/>
                  </a:lnTo>
                  <a:lnTo>
                    <a:pt x="8737" y="9880"/>
                  </a:lnTo>
                  <a:lnTo>
                    <a:pt x="7492" y="8547"/>
                  </a:lnTo>
                  <a:lnTo>
                    <a:pt x="7010" y="7899"/>
                  </a:lnTo>
                  <a:lnTo>
                    <a:pt x="8547" y="6464"/>
                  </a:lnTo>
                  <a:lnTo>
                    <a:pt x="11048" y="4114"/>
                  </a:lnTo>
                  <a:lnTo>
                    <a:pt x="13182" y="3683"/>
                  </a:lnTo>
                  <a:lnTo>
                    <a:pt x="15392" y="6045"/>
                  </a:lnTo>
                  <a:lnTo>
                    <a:pt x="17716" y="8521"/>
                  </a:lnTo>
                  <a:lnTo>
                    <a:pt x="17729" y="10871"/>
                  </a:lnTo>
                  <a:lnTo>
                    <a:pt x="13881" y="14478"/>
                  </a:lnTo>
                  <a:lnTo>
                    <a:pt x="14465" y="15989"/>
                  </a:lnTo>
                  <a:lnTo>
                    <a:pt x="15443" y="15074"/>
                  </a:lnTo>
                  <a:lnTo>
                    <a:pt x="16598" y="14478"/>
                  </a:lnTo>
                  <a:lnTo>
                    <a:pt x="20815" y="16167"/>
                  </a:lnTo>
                  <a:lnTo>
                    <a:pt x="24930" y="17792"/>
                  </a:lnTo>
                  <a:lnTo>
                    <a:pt x="25869" y="18135"/>
                  </a:lnTo>
                  <a:lnTo>
                    <a:pt x="26796" y="18580"/>
                  </a:lnTo>
                  <a:lnTo>
                    <a:pt x="27762" y="18808"/>
                  </a:lnTo>
                  <a:lnTo>
                    <a:pt x="33527" y="13411"/>
                  </a:lnTo>
                  <a:lnTo>
                    <a:pt x="32804" y="12636"/>
                  </a:lnTo>
                  <a:lnTo>
                    <a:pt x="30670" y="14389"/>
                  </a:lnTo>
                  <a:lnTo>
                    <a:pt x="28524" y="13677"/>
                  </a:lnTo>
                  <a:lnTo>
                    <a:pt x="26161" y="12903"/>
                  </a:lnTo>
                  <a:lnTo>
                    <a:pt x="22542" y="11569"/>
                  </a:lnTo>
                  <a:lnTo>
                    <a:pt x="21424" y="11176"/>
                  </a:lnTo>
                  <a:lnTo>
                    <a:pt x="20294" y="10706"/>
                  </a:lnTo>
                  <a:lnTo>
                    <a:pt x="19113" y="10896"/>
                  </a:lnTo>
                  <a:lnTo>
                    <a:pt x="20954" y="8369"/>
                  </a:lnTo>
                  <a:lnTo>
                    <a:pt x="22085" y="5041"/>
                  </a:lnTo>
                  <a:lnTo>
                    <a:pt x="19672" y="2476"/>
                  </a:lnTo>
                  <a:lnTo>
                    <a:pt x="17348" y="0"/>
                  </a:lnTo>
                  <a:lnTo>
                    <a:pt x="13487" y="127"/>
                  </a:lnTo>
                  <a:lnTo>
                    <a:pt x="10032" y="3365"/>
                  </a:lnTo>
                  <a:lnTo>
                    <a:pt x="0" y="12763"/>
                  </a:lnTo>
                  <a:lnTo>
                    <a:pt x="723" y="13538"/>
                  </a:lnTo>
                  <a:lnTo>
                    <a:pt x="2400" y="11963"/>
                  </a:lnTo>
                  <a:lnTo>
                    <a:pt x="3467" y="11925"/>
                  </a:lnTo>
                  <a:lnTo>
                    <a:pt x="5003" y="13563"/>
                  </a:lnTo>
                  <a:lnTo>
                    <a:pt x="15544" y="24803"/>
                  </a:lnTo>
                  <a:lnTo>
                    <a:pt x="17068" y="26428"/>
                  </a:lnTo>
                  <a:lnTo>
                    <a:pt x="16967" y="27495"/>
                  </a:lnTo>
                  <a:lnTo>
                    <a:pt x="15290" y="29070"/>
                  </a:lnTo>
                  <a:lnTo>
                    <a:pt x="16014" y="29832"/>
                  </a:lnTo>
                  <a:lnTo>
                    <a:pt x="24358" y="22009"/>
                  </a:lnTo>
                  <a:lnTo>
                    <a:pt x="23634" y="21234"/>
                  </a:lnTo>
                  <a:lnTo>
                    <a:pt x="21958" y="22809"/>
                  </a:lnTo>
                  <a:lnTo>
                    <a:pt x="20891" y="22847"/>
                  </a:lnTo>
                  <a:lnTo>
                    <a:pt x="19367" y="21209"/>
                  </a:lnTo>
                  <a:lnTo>
                    <a:pt x="14465" y="15989"/>
                  </a:lnTo>
                  <a:lnTo>
                    <a:pt x="13881" y="14478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4" name="object 216">
              <a:extLst>
                <a:ext uri="{FF2B5EF4-FFF2-40B4-BE49-F238E27FC236}">
                  <a16:creationId xmlns:a16="http://schemas.microsoft.com/office/drawing/2014/main" id="{A75111C8-375D-45BD-9C54-647E49433FBE}"/>
                </a:ext>
              </a:extLst>
            </p:cNvPr>
            <p:cNvSpPr/>
            <p:nvPr/>
          </p:nvSpPr>
          <p:spPr>
            <a:xfrm>
              <a:off x="7938272" y="6142363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5671" y="0"/>
                  </a:moveTo>
                  <a:lnTo>
                    <a:pt x="0" y="11023"/>
                  </a:lnTo>
                  <a:lnTo>
                    <a:pt x="2400" y="17157"/>
                  </a:lnTo>
                  <a:lnTo>
                    <a:pt x="3543" y="16738"/>
                  </a:lnTo>
                  <a:lnTo>
                    <a:pt x="3454" y="13639"/>
                  </a:lnTo>
                  <a:lnTo>
                    <a:pt x="4051" y="10159"/>
                  </a:lnTo>
                  <a:lnTo>
                    <a:pt x="6451" y="8013"/>
                  </a:lnTo>
                  <a:lnTo>
                    <a:pt x="18186" y="24701"/>
                  </a:lnTo>
                  <a:lnTo>
                    <a:pt x="17932" y="25730"/>
                  </a:lnTo>
                  <a:lnTo>
                    <a:pt x="16052" y="27050"/>
                  </a:lnTo>
                  <a:lnTo>
                    <a:pt x="16662" y="27927"/>
                  </a:lnTo>
                  <a:lnTo>
                    <a:pt x="26022" y="21335"/>
                  </a:lnTo>
                  <a:lnTo>
                    <a:pt x="25412" y="20472"/>
                  </a:lnTo>
                  <a:lnTo>
                    <a:pt x="23533" y="21793"/>
                  </a:lnTo>
                  <a:lnTo>
                    <a:pt x="22466" y="21678"/>
                  </a:lnTo>
                  <a:lnTo>
                    <a:pt x="10744" y="4991"/>
                  </a:lnTo>
                  <a:lnTo>
                    <a:pt x="13284" y="3289"/>
                  </a:lnTo>
                  <a:lnTo>
                    <a:pt x="17335" y="4102"/>
                  </a:lnTo>
                  <a:lnTo>
                    <a:pt x="19977" y="5181"/>
                  </a:lnTo>
                  <a:lnTo>
                    <a:pt x="20764" y="4241"/>
                  </a:lnTo>
                  <a:lnTo>
                    <a:pt x="15671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5" name="object 217">
              <a:extLst>
                <a:ext uri="{FF2B5EF4-FFF2-40B4-BE49-F238E27FC236}">
                  <a16:creationId xmlns:a16="http://schemas.microsoft.com/office/drawing/2014/main" id="{232197A1-D760-4F8B-8F84-FFC88C6896FB}"/>
                </a:ext>
              </a:extLst>
            </p:cNvPr>
            <p:cNvSpPr/>
            <p:nvPr/>
          </p:nvSpPr>
          <p:spPr>
            <a:xfrm>
              <a:off x="7938272" y="6142363"/>
              <a:ext cx="26034" cy="27940"/>
            </a:xfrm>
            <a:custGeom>
              <a:avLst/>
              <a:gdLst/>
              <a:ahLst/>
              <a:cxnLst/>
              <a:rect l="l" t="t" r="r" b="b"/>
              <a:pathLst>
                <a:path w="26034" h="27940">
                  <a:moveTo>
                    <a:pt x="15671" y="0"/>
                  </a:moveTo>
                  <a:lnTo>
                    <a:pt x="20764" y="4241"/>
                  </a:lnTo>
                  <a:lnTo>
                    <a:pt x="19977" y="5181"/>
                  </a:lnTo>
                  <a:lnTo>
                    <a:pt x="17335" y="4102"/>
                  </a:lnTo>
                  <a:lnTo>
                    <a:pt x="13284" y="3289"/>
                  </a:lnTo>
                  <a:lnTo>
                    <a:pt x="10744" y="4991"/>
                  </a:lnTo>
                  <a:lnTo>
                    <a:pt x="21183" y="19850"/>
                  </a:lnTo>
                  <a:lnTo>
                    <a:pt x="22466" y="21678"/>
                  </a:lnTo>
                  <a:lnTo>
                    <a:pt x="23533" y="21793"/>
                  </a:lnTo>
                  <a:lnTo>
                    <a:pt x="25412" y="20472"/>
                  </a:lnTo>
                  <a:lnTo>
                    <a:pt x="26022" y="21335"/>
                  </a:lnTo>
                  <a:lnTo>
                    <a:pt x="16662" y="27927"/>
                  </a:lnTo>
                  <a:lnTo>
                    <a:pt x="16052" y="27050"/>
                  </a:lnTo>
                  <a:lnTo>
                    <a:pt x="17932" y="25730"/>
                  </a:lnTo>
                  <a:lnTo>
                    <a:pt x="18186" y="24701"/>
                  </a:lnTo>
                  <a:lnTo>
                    <a:pt x="16891" y="22872"/>
                  </a:lnTo>
                  <a:lnTo>
                    <a:pt x="6451" y="8013"/>
                  </a:lnTo>
                  <a:lnTo>
                    <a:pt x="4051" y="10159"/>
                  </a:lnTo>
                  <a:lnTo>
                    <a:pt x="3454" y="13639"/>
                  </a:lnTo>
                  <a:lnTo>
                    <a:pt x="3543" y="16738"/>
                  </a:lnTo>
                  <a:lnTo>
                    <a:pt x="2400" y="17157"/>
                  </a:lnTo>
                  <a:lnTo>
                    <a:pt x="0" y="11023"/>
                  </a:lnTo>
                  <a:lnTo>
                    <a:pt x="15671" y="0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6" name="object 218">
              <a:extLst>
                <a:ext uri="{FF2B5EF4-FFF2-40B4-BE49-F238E27FC236}">
                  <a16:creationId xmlns:a16="http://schemas.microsoft.com/office/drawing/2014/main" id="{301FC13D-EEC2-4199-AA00-46D79031998F}"/>
                </a:ext>
              </a:extLst>
            </p:cNvPr>
            <p:cNvSpPr/>
            <p:nvPr/>
          </p:nvSpPr>
          <p:spPr>
            <a:xfrm>
              <a:off x="7956643" y="6128306"/>
              <a:ext cx="36195" cy="34290"/>
            </a:xfrm>
            <a:custGeom>
              <a:avLst/>
              <a:gdLst/>
              <a:ahLst/>
              <a:cxnLst/>
              <a:rect l="l" t="t" r="r" b="b"/>
              <a:pathLst>
                <a:path w="36195" h="34290">
                  <a:moveTo>
                    <a:pt x="25946" y="0"/>
                  </a:moveTo>
                  <a:lnTo>
                    <a:pt x="17741" y="3987"/>
                  </a:lnTo>
                  <a:lnTo>
                    <a:pt x="19443" y="19481"/>
                  </a:lnTo>
                  <a:lnTo>
                    <a:pt x="8432" y="8508"/>
                  </a:lnTo>
                  <a:lnTo>
                    <a:pt x="0" y="12611"/>
                  </a:lnTo>
                  <a:lnTo>
                    <a:pt x="469" y="13563"/>
                  </a:lnTo>
                  <a:lnTo>
                    <a:pt x="2387" y="12623"/>
                  </a:lnTo>
                  <a:lnTo>
                    <a:pt x="3492" y="12687"/>
                  </a:lnTo>
                  <a:lnTo>
                    <a:pt x="12166" y="30556"/>
                  </a:lnTo>
                  <a:lnTo>
                    <a:pt x="11887" y="31076"/>
                  </a:lnTo>
                  <a:lnTo>
                    <a:pt x="9601" y="32791"/>
                  </a:lnTo>
                  <a:lnTo>
                    <a:pt x="10058" y="33743"/>
                  </a:lnTo>
                  <a:lnTo>
                    <a:pt x="17335" y="30213"/>
                  </a:lnTo>
                  <a:lnTo>
                    <a:pt x="16878" y="29260"/>
                  </a:lnTo>
                  <a:lnTo>
                    <a:pt x="14185" y="30238"/>
                  </a:lnTo>
                  <a:lnTo>
                    <a:pt x="13652" y="29794"/>
                  </a:lnTo>
                  <a:lnTo>
                    <a:pt x="5727" y="13487"/>
                  </a:lnTo>
                  <a:lnTo>
                    <a:pt x="21094" y="28384"/>
                  </a:lnTo>
                  <a:lnTo>
                    <a:pt x="22136" y="27876"/>
                  </a:lnTo>
                  <a:lnTo>
                    <a:pt x="19545" y="6070"/>
                  </a:lnTo>
                  <a:lnTo>
                    <a:pt x="27901" y="23126"/>
                  </a:lnTo>
                  <a:lnTo>
                    <a:pt x="27482" y="24104"/>
                  </a:lnTo>
                  <a:lnTo>
                    <a:pt x="25412" y="25120"/>
                  </a:lnTo>
                  <a:lnTo>
                    <a:pt x="25882" y="26060"/>
                  </a:lnTo>
                  <a:lnTo>
                    <a:pt x="36169" y="21056"/>
                  </a:lnTo>
                  <a:lnTo>
                    <a:pt x="35712" y="20104"/>
                  </a:lnTo>
                  <a:lnTo>
                    <a:pt x="33642" y="21107"/>
                  </a:lnTo>
                  <a:lnTo>
                    <a:pt x="32613" y="20827"/>
                  </a:lnTo>
                  <a:lnTo>
                    <a:pt x="31635" y="18821"/>
                  </a:lnTo>
                  <a:lnTo>
                    <a:pt x="23837" y="2768"/>
                  </a:lnTo>
                  <a:lnTo>
                    <a:pt x="24409" y="2095"/>
                  </a:lnTo>
                  <a:lnTo>
                    <a:pt x="26403" y="952"/>
                  </a:lnTo>
                  <a:lnTo>
                    <a:pt x="25946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7" name="object 219">
              <a:extLst>
                <a:ext uri="{FF2B5EF4-FFF2-40B4-BE49-F238E27FC236}">
                  <a16:creationId xmlns:a16="http://schemas.microsoft.com/office/drawing/2014/main" id="{6D3F02ED-3F9B-481E-B603-9C4D15DDE048}"/>
                </a:ext>
              </a:extLst>
            </p:cNvPr>
            <p:cNvSpPr/>
            <p:nvPr/>
          </p:nvSpPr>
          <p:spPr>
            <a:xfrm>
              <a:off x="7956643" y="6128306"/>
              <a:ext cx="36195" cy="34290"/>
            </a:xfrm>
            <a:custGeom>
              <a:avLst/>
              <a:gdLst/>
              <a:ahLst/>
              <a:cxnLst/>
              <a:rect l="l" t="t" r="r" b="b"/>
              <a:pathLst>
                <a:path w="36195" h="34290">
                  <a:moveTo>
                    <a:pt x="31635" y="18821"/>
                  </a:moveTo>
                  <a:lnTo>
                    <a:pt x="32613" y="20827"/>
                  </a:lnTo>
                  <a:lnTo>
                    <a:pt x="33642" y="21107"/>
                  </a:lnTo>
                  <a:lnTo>
                    <a:pt x="35712" y="20104"/>
                  </a:lnTo>
                  <a:lnTo>
                    <a:pt x="36169" y="21056"/>
                  </a:lnTo>
                  <a:lnTo>
                    <a:pt x="25882" y="26060"/>
                  </a:lnTo>
                  <a:lnTo>
                    <a:pt x="25412" y="25120"/>
                  </a:lnTo>
                  <a:lnTo>
                    <a:pt x="27482" y="24104"/>
                  </a:lnTo>
                  <a:lnTo>
                    <a:pt x="27901" y="23126"/>
                  </a:lnTo>
                  <a:lnTo>
                    <a:pt x="26923" y="21107"/>
                  </a:lnTo>
                  <a:lnTo>
                    <a:pt x="19596" y="6032"/>
                  </a:lnTo>
                  <a:lnTo>
                    <a:pt x="22136" y="27876"/>
                  </a:lnTo>
                  <a:lnTo>
                    <a:pt x="21094" y="28384"/>
                  </a:lnTo>
                  <a:lnTo>
                    <a:pt x="5791" y="13461"/>
                  </a:lnTo>
                  <a:lnTo>
                    <a:pt x="11417" y="25196"/>
                  </a:lnTo>
                  <a:lnTo>
                    <a:pt x="13652" y="29794"/>
                  </a:lnTo>
                  <a:lnTo>
                    <a:pt x="14185" y="30238"/>
                  </a:lnTo>
                  <a:lnTo>
                    <a:pt x="16878" y="29260"/>
                  </a:lnTo>
                  <a:lnTo>
                    <a:pt x="17335" y="30213"/>
                  </a:lnTo>
                  <a:lnTo>
                    <a:pt x="10058" y="33743"/>
                  </a:lnTo>
                  <a:lnTo>
                    <a:pt x="9601" y="32791"/>
                  </a:lnTo>
                  <a:lnTo>
                    <a:pt x="11887" y="31076"/>
                  </a:lnTo>
                  <a:lnTo>
                    <a:pt x="12166" y="30556"/>
                  </a:lnTo>
                  <a:lnTo>
                    <a:pt x="9918" y="25920"/>
                  </a:lnTo>
                  <a:lnTo>
                    <a:pt x="4533" y="14846"/>
                  </a:lnTo>
                  <a:lnTo>
                    <a:pt x="3492" y="12687"/>
                  </a:lnTo>
                  <a:lnTo>
                    <a:pt x="2387" y="12623"/>
                  </a:lnTo>
                  <a:lnTo>
                    <a:pt x="469" y="13563"/>
                  </a:lnTo>
                  <a:lnTo>
                    <a:pt x="0" y="12611"/>
                  </a:lnTo>
                  <a:lnTo>
                    <a:pt x="8432" y="8508"/>
                  </a:lnTo>
                  <a:lnTo>
                    <a:pt x="19443" y="19481"/>
                  </a:lnTo>
                  <a:lnTo>
                    <a:pt x="17741" y="3987"/>
                  </a:lnTo>
                  <a:lnTo>
                    <a:pt x="25946" y="0"/>
                  </a:lnTo>
                  <a:lnTo>
                    <a:pt x="26403" y="952"/>
                  </a:lnTo>
                  <a:lnTo>
                    <a:pt x="24409" y="2095"/>
                  </a:lnTo>
                  <a:lnTo>
                    <a:pt x="23837" y="2768"/>
                  </a:lnTo>
                  <a:lnTo>
                    <a:pt x="24904" y="4952"/>
                  </a:lnTo>
                  <a:lnTo>
                    <a:pt x="31635" y="18821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8" name="object 220">
              <a:extLst>
                <a:ext uri="{FF2B5EF4-FFF2-40B4-BE49-F238E27FC236}">
                  <a16:creationId xmlns:a16="http://schemas.microsoft.com/office/drawing/2014/main" id="{F7B52AA7-4D2F-4692-9342-15E7348413DC}"/>
                </a:ext>
              </a:extLst>
            </p:cNvPr>
            <p:cNvSpPr/>
            <p:nvPr/>
          </p:nvSpPr>
          <p:spPr>
            <a:xfrm>
              <a:off x="7990408" y="6120721"/>
              <a:ext cx="25400" cy="27940"/>
            </a:xfrm>
            <a:custGeom>
              <a:avLst/>
              <a:gdLst/>
              <a:ahLst/>
              <a:cxnLst/>
              <a:rect l="l" t="t" r="r" b="b"/>
              <a:pathLst>
                <a:path w="25400" h="27940">
                  <a:moveTo>
                    <a:pt x="18668" y="0"/>
                  </a:moveTo>
                  <a:lnTo>
                    <a:pt x="0" y="4800"/>
                  </a:lnTo>
                  <a:lnTo>
                    <a:pt x="266" y="5829"/>
                  </a:lnTo>
                  <a:lnTo>
                    <a:pt x="2489" y="5257"/>
                  </a:lnTo>
                  <a:lnTo>
                    <a:pt x="3441" y="5740"/>
                  </a:lnTo>
                  <a:lnTo>
                    <a:pt x="8407" y="24993"/>
                  </a:lnTo>
                  <a:lnTo>
                    <a:pt x="7797" y="25882"/>
                  </a:lnTo>
                  <a:lnTo>
                    <a:pt x="5575" y="26454"/>
                  </a:lnTo>
                  <a:lnTo>
                    <a:pt x="5841" y="27470"/>
                  </a:lnTo>
                  <a:lnTo>
                    <a:pt x="24510" y="22669"/>
                  </a:lnTo>
                  <a:lnTo>
                    <a:pt x="25349" y="16306"/>
                  </a:lnTo>
                  <a:lnTo>
                    <a:pt x="24396" y="16090"/>
                  </a:lnTo>
                  <a:lnTo>
                    <a:pt x="22707" y="19532"/>
                  </a:lnTo>
                  <a:lnTo>
                    <a:pt x="19837" y="22580"/>
                  </a:lnTo>
                  <a:lnTo>
                    <a:pt x="13792" y="24142"/>
                  </a:lnTo>
                  <a:lnTo>
                    <a:pt x="13296" y="22974"/>
                  </a:lnTo>
                  <a:lnTo>
                    <a:pt x="11150" y="14643"/>
                  </a:lnTo>
                  <a:lnTo>
                    <a:pt x="14871" y="13690"/>
                  </a:lnTo>
                  <a:lnTo>
                    <a:pt x="16636" y="13995"/>
                  </a:lnTo>
                  <a:lnTo>
                    <a:pt x="18275" y="16903"/>
                  </a:lnTo>
                  <a:lnTo>
                    <a:pt x="19481" y="16598"/>
                  </a:lnTo>
                  <a:lnTo>
                    <a:pt x="17183" y="7645"/>
                  </a:lnTo>
                  <a:lnTo>
                    <a:pt x="15963" y="7962"/>
                  </a:lnTo>
                  <a:lnTo>
                    <a:pt x="15722" y="11353"/>
                  </a:lnTo>
                  <a:lnTo>
                    <a:pt x="14490" y="12230"/>
                  </a:lnTo>
                  <a:lnTo>
                    <a:pt x="10769" y="13195"/>
                  </a:lnTo>
                  <a:lnTo>
                    <a:pt x="8394" y="3937"/>
                  </a:lnTo>
                  <a:lnTo>
                    <a:pt x="14681" y="2311"/>
                  </a:lnTo>
                  <a:lnTo>
                    <a:pt x="18491" y="3784"/>
                  </a:lnTo>
                  <a:lnTo>
                    <a:pt x="21259" y="5930"/>
                  </a:lnTo>
                  <a:lnTo>
                    <a:pt x="22110" y="5295"/>
                  </a:lnTo>
                  <a:lnTo>
                    <a:pt x="18668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9" name="object 221">
              <a:extLst>
                <a:ext uri="{FF2B5EF4-FFF2-40B4-BE49-F238E27FC236}">
                  <a16:creationId xmlns:a16="http://schemas.microsoft.com/office/drawing/2014/main" id="{55485ABC-AB9C-455E-AA3A-4DAFA96DA8E4}"/>
                </a:ext>
              </a:extLst>
            </p:cNvPr>
            <p:cNvSpPr/>
            <p:nvPr/>
          </p:nvSpPr>
          <p:spPr>
            <a:xfrm>
              <a:off x="7990408" y="6120721"/>
              <a:ext cx="25400" cy="27940"/>
            </a:xfrm>
            <a:custGeom>
              <a:avLst/>
              <a:gdLst/>
              <a:ahLst/>
              <a:cxnLst/>
              <a:rect l="l" t="t" r="r" b="b"/>
              <a:pathLst>
                <a:path w="25400" h="27940">
                  <a:moveTo>
                    <a:pt x="5575" y="26454"/>
                  </a:moveTo>
                  <a:lnTo>
                    <a:pt x="7797" y="25882"/>
                  </a:lnTo>
                  <a:lnTo>
                    <a:pt x="8407" y="24993"/>
                  </a:lnTo>
                  <a:lnTo>
                    <a:pt x="7848" y="22821"/>
                  </a:lnTo>
                  <a:lnTo>
                    <a:pt x="4000" y="7899"/>
                  </a:lnTo>
                  <a:lnTo>
                    <a:pt x="3441" y="5740"/>
                  </a:lnTo>
                  <a:lnTo>
                    <a:pt x="2489" y="5257"/>
                  </a:lnTo>
                  <a:lnTo>
                    <a:pt x="266" y="5829"/>
                  </a:lnTo>
                  <a:lnTo>
                    <a:pt x="0" y="4800"/>
                  </a:lnTo>
                  <a:lnTo>
                    <a:pt x="18668" y="0"/>
                  </a:lnTo>
                  <a:lnTo>
                    <a:pt x="22110" y="5295"/>
                  </a:lnTo>
                  <a:lnTo>
                    <a:pt x="21259" y="5930"/>
                  </a:lnTo>
                  <a:lnTo>
                    <a:pt x="18491" y="3784"/>
                  </a:lnTo>
                  <a:lnTo>
                    <a:pt x="14681" y="2311"/>
                  </a:lnTo>
                  <a:lnTo>
                    <a:pt x="11150" y="3225"/>
                  </a:lnTo>
                  <a:lnTo>
                    <a:pt x="8394" y="3937"/>
                  </a:lnTo>
                  <a:lnTo>
                    <a:pt x="8635" y="4864"/>
                  </a:lnTo>
                  <a:lnTo>
                    <a:pt x="9220" y="7150"/>
                  </a:lnTo>
                  <a:lnTo>
                    <a:pt x="10769" y="13195"/>
                  </a:lnTo>
                  <a:lnTo>
                    <a:pt x="11391" y="13030"/>
                  </a:lnTo>
                  <a:lnTo>
                    <a:pt x="14490" y="12230"/>
                  </a:lnTo>
                  <a:lnTo>
                    <a:pt x="15722" y="11353"/>
                  </a:lnTo>
                  <a:lnTo>
                    <a:pt x="15963" y="7962"/>
                  </a:lnTo>
                  <a:lnTo>
                    <a:pt x="17183" y="7645"/>
                  </a:lnTo>
                  <a:lnTo>
                    <a:pt x="19481" y="16598"/>
                  </a:lnTo>
                  <a:lnTo>
                    <a:pt x="18275" y="16903"/>
                  </a:lnTo>
                  <a:lnTo>
                    <a:pt x="16636" y="13995"/>
                  </a:lnTo>
                  <a:lnTo>
                    <a:pt x="14871" y="13690"/>
                  </a:lnTo>
                  <a:lnTo>
                    <a:pt x="11836" y="14465"/>
                  </a:lnTo>
                  <a:lnTo>
                    <a:pt x="11150" y="14643"/>
                  </a:lnTo>
                  <a:lnTo>
                    <a:pt x="12839" y="21183"/>
                  </a:lnTo>
                  <a:lnTo>
                    <a:pt x="13296" y="22974"/>
                  </a:lnTo>
                  <a:lnTo>
                    <a:pt x="13792" y="24142"/>
                  </a:lnTo>
                  <a:lnTo>
                    <a:pt x="15989" y="23571"/>
                  </a:lnTo>
                  <a:lnTo>
                    <a:pt x="19837" y="22580"/>
                  </a:lnTo>
                  <a:lnTo>
                    <a:pt x="22707" y="19532"/>
                  </a:lnTo>
                  <a:lnTo>
                    <a:pt x="24396" y="16090"/>
                  </a:lnTo>
                  <a:lnTo>
                    <a:pt x="25349" y="16306"/>
                  </a:lnTo>
                  <a:lnTo>
                    <a:pt x="24510" y="22669"/>
                  </a:lnTo>
                  <a:lnTo>
                    <a:pt x="5841" y="27470"/>
                  </a:lnTo>
                  <a:lnTo>
                    <a:pt x="5575" y="26454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0" name="object 222">
              <a:extLst>
                <a:ext uri="{FF2B5EF4-FFF2-40B4-BE49-F238E27FC236}">
                  <a16:creationId xmlns:a16="http://schemas.microsoft.com/office/drawing/2014/main" id="{157038A9-423B-442D-8155-513E730EAF8E}"/>
                </a:ext>
              </a:extLst>
            </p:cNvPr>
            <p:cNvSpPr/>
            <p:nvPr/>
          </p:nvSpPr>
          <p:spPr>
            <a:xfrm>
              <a:off x="8016174" y="6117496"/>
              <a:ext cx="24765" cy="25400"/>
            </a:xfrm>
            <a:custGeom>
              <a:avLst/>
              <a:gdLst/>
              <a:ahLst/>
              <a:cxnLst/>
              <a:rect l="l" t="t" r="r" b="b"/>
              <a:pathLst>
                <a:path w="24765" h="25400">
                  <a:moveTo>
                    <a:pt x="24320" y="0"/>
                  </a:moveTo>
                  <a:lnTo>
                    <a:pt x="15938" y="698"/>
                  </a:lnTo>
                  <a:lnTo>
                    <a:pt x="16027" y="1752"/>
                  </a:lnTo>
                  <a:lnTo>
                    <a:pt x="19202" y="1778"/>
                  </a:lnTo>
                  <a:lnTo>
                    <a:pt x="19583" y="3289"/>
                  </a:lnTo>
                  <a:lnTo>
                    <a:pt x="20713" y="16637"/>
                  </a:lnTo>
                  <a:lnTo>
                    <a:pt x="8102" y="1358"/>
                  </a:lnTo>
                  <a:lnTo>
                    <a:pt x="0" y="2044"/>
                  </a:lnTo>
                  <a:lnTo>
                    <a:pt x="88" y="3098"/>
                  </a:lnTo>
                  <a:lnTo>
                    <a:pt x="1511" y="3263"/>
                  </a:lnTo>
                  <a:lnTo>
                    <a:pt x="2920" y="3949"/>
                  </a:lnTo>
                  <a:lnTo>
                    <a:pt x="3911" y="4991"/>
                  </a:lnTo>
                  <a:lnTo>
                    <a:pt x="5397" y="22580"/>
                  </a:lnTo>
                  <a:lnTo>
                    <a:pt x="4902" y="23583"/>
                  </a:lnTo>
                  <a:lnTo>
                    <a:pt x="1879" y="24320"/>
                  </a:lnTo>
                  <a:lnTo>
                    <a:pt x="1968" y="25374"/>
                  </a:lnTo>
                  <a:lnTo>
                    <a:pt x="10985" y="24612"/>
                  </a:lnTo>
                  <a:lnTo>
                    <a:pt x="10896" y="23558"/>
                  </a:lnTo>
                  <a:lnTo>
                    <a:pt x="7492" y="23139"/>
                  </a:lnTo>
                  <a:lnTo>
                    <a:pt x="7061" y="22504"/>
                  </a:lnTo>
                  <a:lnTo>
                    <a:pt x="5727" y="6794"/>
                  </a:lnTo>
                  <a:lnTo>
                    <a:pt x="20065" y="23850"/>
                  </a:lnTo>
                  <a:lnTo>
                    <a:pt x="22974" y="23596"/>
                  </a:lnTo>
                  <a:lnTo>
                    <a:pt x="21234" y="3048"/>
                  </a:lnTo>
                  <a:lnTo>
                    <a:pt x="21424" y="1816"/>
                  </a:lnTo>
                  <a:lnTo>
                    <a:pt x="24396" y="1041"/>
                  </a:lnTo>
                  <a:lnTo>
                    <a:pt x="24320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1" name="object 223">
              <a:extLst>
                <a:ext uri="{FF2B5EF4-FFF2-40B4-BE49-F238E27FC236}">
                  <a16:creationId xmlns:a16="http://schemas.microsoft.com/office/drawing/2014/main" id="{80B6B0B2-248A-4941-AFD2-CC35D37A54E8}"/>
                </a:ext>
              </a:extLst>
            </p:cNvPr>
            <p:cNvSpPr/>
            <p:nvPr/>
          </p:nvSpPr>
          <p:spPr>
            <a:xfrm>
              <a:off x="8016174" y="6117496"/>
              <a:ext cx="24765" cy="25400"/>
            </a:xfrm>
            <a:custGeom>
              <a:avLst/>
              <a:gdLst/>
              <a:ahLst/>
              <a:cxnLst/>
              <a:rect l="l" t="t" r="r" b="b"/>
              <a:pathLst>
                <a:path w="24765" h="25400">
                  <a:moveTo>
                    <a:pt x="20713" y="16637"/>
                  </a:moveTo>
                  <a:lnTo>
                    <a:pt x="19811" y="5994"/>
                  </a:lnTo>
                  <a:lnTo>
                    <a:pt x="19583" y="3289"/>
                  </a:lnTo>
                  <a:lnTo>
                    <a:pt x="19202" y="1778"/>
                  </a:lnTo>
                  <a:lnTo>
                    <a:pt x="16027" y="1752"/>
                  </a:lnTo>
                  <a:lnTo>
                    <a:pt x="15938" y="698"/>
                  </a:lnTo>
                  <a:lnTo>
                    <a:pt x="24320" y="0"/>
                  </a:lnTo>
                  <a:lnTo>
                    <a:pt x="24396" y="1041"/>
                  </a:lnTo>
                  <a:lnTo>
                    <a:pt x="21424" y="1816"/>
                  </a:lnTo>
                  <a:lnTo>
                    <a:pt x="21234" y="3048"/>
                  </a:lnTo>
                  <a:lnTo>
                    <a:pt x="21462" y="5854"/>
                  </a:lnTo>
                  <a:lnTo>
                    <a:pt x="22974" y="23596"/>
                  </a:lnTo>
                  <a:lnTo>
                    <a:pt x="20065" y="23850"/>
                  </a:lnTo>
                  <a:lnTo>
                    <a:pt x="5727" y="6794"/>
                  </a:lnTo>
                  <a:lnTo>
                    <a:pt x="6769" y="19024"/>
                  </a:lnTo>
                  <a:lnTo>
                    <a:pt x="7061" y="22504"/>
                  </a:lnTo>
                  <a:lnTo>
                    <a:pt x="7492" y="23139"/>
                  </a:lnTo>
                  <a:lnTo>
                    <a:pt x="10896" y="23558"/>
                  </a:lnTo>
                  <a:lnTo>
                    <a:pt x="10985" y="24612"/>
                  </a:lnTo>
                  <a:lnTo>
                    <a:pt x="1968" y="25374"/>
                  </a:lnTo>
                  <a:lnTo>
                    <a:pt x="1879" y="24320"/>
                  </a:lnTo>
                  <a:lnTo>
                    <a:pt x="4902" y="23583"/>
                  </a:lnTo>
                  <a:lnTo>
                    <a:pt x="5397" y="22580"/>
                  </a:lnTo>
                  <a:lnTo>
                    <a:pt x="5143" y="19646"/>
                  </a:lnTo>
                  <a:lnTo>
                    <a:pt x="3911" y="4991"/>
                  </a:lnTo>
                  <a:lnTo>
                    <a:pt x="2920" y="3949"/>
                  </a:lnTo>
                  <a:lnTo>
                    <a:pt x="1511" y="3263"/>
                  </a:lnTo>
                  <a:lnTo>
                    <a:pt x="88" y="3098"/>
                  </a:lnTo>
                  <a:lnTo>
                    <a:pt x="0" y="2044"/>
                  </a:lnTo>
                  <a:lnTo>
                    <a:pt x="8102" y="1358"/>
                  </a:lnTo>
                  <a:lnTo>
                    <a:pt x="20713" y="16637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2" name="object 224">
              <a:extLst>
                <a:ext uri="{FF2B5EF4-FFF2-40B4-BE49-F238E27FC236}">
                  <a16:creationId xmlns:a16="http://schemas.microsoft.com/office/drawing/2014/main" id="{29F31403-7E23-494A-9997-292F3A60EC41}"/>
                </a:ext>
              </a:extLst>
            </p:cNvPr>
            <p:cNvSpPr/>
            <p:nvPr/>
          </p:nvSpPr>
          <p:spPr>
            <a:xfrm>
              <a:off x="8042202" y="6117677"/>
              <a:ext cx="22860" cy="24765"/>
            </a:xfrm>
            <a:custGeom>
              <a:avLst/>
              <a:gdLst/>
              <a:ahLst/>
              <a:cxnLst/>
              <a:rect l="l" t="t" r="r" b="b"/>
              <a:pathLst>
                <a:path w="22859" h="24765">
                  <a:moveTo>
                    <a:pt x="1981" y="0"/>
                  </a:moveTo>
                  <a:lnTo>
                    <a:pt x="0" y="6261"/>
                  </a:lnTo>
                  <a:lnTo>
                    <a:pt x="1155" y="6667"/>
                  </a:lnTo>
                  <a:lnTo>
                    <a:pt x="3022" y="4190"/>
                  </a:lnTo>
                  <a:lnTo>
                    <a:pt x="5676" y="1866"/>
                  </a:lnTo>
                  <a:lnTo>
                    <a:pt x="8889" y="1701"/>
                  </a:lnTo>
                  <a:lnTo>
                    <a:pt x="7531" y="22059"/>
                  </a:lnTo>
                  <a:lnTo>
                    <a:pt x="6680" y="22707"/>
                  </a:lnTo>
                  <a:lnTo>
                    <a:pt x="4381" y="22555"/>
                  </a:lnTo>
                  <a:lnTo>
                    <a:pt x="4317" y="23609"/>
                  </a:lnTo>
                  <a:lnTo>
                    <a:pt x="15735" y="24371"/>
                  </a:lnTo>
                  <a:lnTo>
                    <a:pt x="15798" y="23317"/>
                  </a:lnTo>
                  <a:lnTo>
                    <a:pt x="13512" y="23164"/>
                  </a:lnTo>
                  <a:lnTo>
                    <a:pt x="12763" y="22402"/>
                  </a:lnTo>
                  <a:lnTo>
                    <a:pt x="14122" y="2057"/>
                  </a:lnTo>
                  <a:lnTo>
                    <a:pt x="17183" y="2324"/>
                  </a:lnTo>
                  <a:lnTo>
                    <a:pt x="19811" y="5511"/>
                  </a:lnTo>
                  <a:lnTo>
                    <a:pt x="21183" y="8013"/>
                  </a:lnTo>
                  <a:lnTo>
                    <a:pt x="22390" y="7772"/>
                  </a:lnTo>
                  <a:lnTo>
                    <a:pt x="21094" y="1269"/>
                  </a:lnTo>
                  <a:lnTo>
                    <a:pt x="1981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3" name="object 225">
              <a:extLst>
                <a:ext uri="{FF2B5EF4-FFF2-40B4-BE49-F238E27FC236}">
                  <a16:creationId xmlns:a16="http://schemas.microsoft.com/office/drawing/2014/main" id="{55C42C52-5296-4F9C-9455-1FFC1E5AEFC5}"/>
                </a:ext>
              </a:extLst>
            </p:cNvPr>
            <p:cNvSpPr/>
            <p:nvPr/>
          </p:nvSpPr>
          <p:spPr>
            <a:xfrm>
              <a:off x="8042202" y="6117677"/>
              <a:ext cx="22860" cy="24765"/>
            </a:xfrm>
            <a:custGeom>
              <a:avLst/>
              <a:gdLst/>
              <a:ahLst/>
              <a:cxnLst/>
              <a:rect l="l" t="t" r="r" b="b"/>
              <a:pathLst>
                <a:path w="22859" h="24765">
                  <a:moveTo>
                    <a:pt x="21094" y="1269"/>
                  </a:moveTo>
                  <a:lnTo>
                    <a:pt x="22390" y="7772"/>
                  </a:lnTo>
                  <a:lnTo>
                    <a:pt x="21183" y="8013"/>
                  </a:lnTo>
                  <a:lnTo>
                    <a:pt x="19811" y="5511"/>
                  </a:lnTo>
                  <a:lnTo>
                    <a:pt x="17183" y="2324"/>
                  </a:lnTo>
                  <a:lnTo>
                    <a:pt x="14122" y="2057"/>
                  </a:lnTo>
                  <a:lnTo>
                    <a:pt x="12903" y="20167"/>
                  </a:lnTo>
                  <a:lnTo>
                    <a:pt x="12763" y="22402"/>
                  </a:lnTo>
                  <a:lnTo>
                    <a:pt x="13512" y="23164"/>
                  </a:lnTo>
                  <a:lnTo>
                    <a:pt x="15798" y="23317"/>
                  </a:lnTo>
                  <a:lnTo>
                    <a:pt x="15735" y="24371"/>
                  </a:lnTo>
                  <a:lnTo>
                    <a:pt x="4317" y="23609"/>
                  </a:lnTo>
                  <a:lnTo>
                    <a:pt x="4381" y="22555"/>
                  </a:lnTo>
                  <a:lnTo>
                    <a:pt x="6680" y="22707"/>
                  </a:lnTo>
                  <a:lnTo>
                    <a:pt x="7531" y="22059"/>
                  </a:lnTo>
                  <a:lnTo>
                    <a:pt x="7670" y="19824"/>
                  </a:lnTo>
                  <a:lnTo>
                    <a:pt x="8889" y="1701"/>
                  </a:lnTo>
                  <a:lnTo>
                    <a:pt x="5676" y="1866"/>
                  </a:lnTo>
                  <a:lnTo>
                    <a:pt x="3022" y="4190"/>
                  </a:lnTo>
                  <a:lnTo>
                    <a:pt x="1155" y="6667"/>
                  </a:lnTo>
                  <a:lnTo>
                    <a:pt x="0" y="6261"/>
                  </a:lnTo>
                  <a:lnTo>
                    <a:pt x="1981" y="0"/>
                  </a:lnTo>
                  <a:lnTo>
                    <a:pt x="21094" y="1269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4" name="object 226">
              <a:extLst>
                <a:ext uri="{FF2B5EF4-FFF2-40B4-BE49-F238E27FC236}">
                  <a16:creationId xmlns:a16="http://schemas.microsoft.com/office/drawing/2014/main" id="{1EAAFD00-8B5E-4D4B-9F20-689CA883743B}"/>
                </a:ext>
              </a:extLst>
            </p:cNvPr>
            <p:cNvSpPr/>
            <p:nvPr/>
          </p:nvSpPr>
          <p:spPr>
            <a:xfrm>
              <a:off x="8069841" y="6121177"/>
              <a:ext cx="26670" cy="27940"/>
            </a:xfrm>
            <a:custGeom>
              <a:avLst/>
              <a:gdLst/>
              <a:ahLst/>
              <a:cxnLst/>
              <a:rect l="l" t="t" r="r" b="b"/>
              <a:pathLst>
                <a:path w="26670" h="27940">
                  <a:moveTo>
                    <a:pt x="9931" y="24320"/>
                  </a:moveTo>
                  <a:lnTo>
                    <a:pt x="9766" y="25565"/>
                  </a:lnTo>
                  <a:lnTo>
                    <a:pt x="16865" y="27470"/>
                  </a:lnTo>
                  <a:lnTo>
                    <a:pt x="18870" y="25831"/>
                  </a:lnTo>
                  <a:lnTo>
                    <a:pt x="15544" y="25831"/>
                  </a:lnTo>
                  <a:lnTo>
                    <a:pt x="9931" y="24320"/>
                  </a:lnTo>
                  <a:close/>
                </a:path>
                <a:path w="26670" h="27940">
                  <a:moveTo>
                    <a:pt x="17242" y="2146"/>
                  </a:moveTo>
                  <a:lnTo>
                    <a:pt x="12458" y="2146"/>
                  </a:lnTo>
                  <a:lnTo>
                    <a:pt x="19316" y="3987"/>
                  </a:lnTo>
                  <a:lnTo>
                    <a:pt x="21005" y="7327"/>
                  </a:lnTo>
                  <a:lnTo>
                    <a:pt x="17741" y="19494"/>
                  </a:lnTo>
                  <a:lnTo>
                    <a:pt x="15544" y="25831"/>
                  </a:lnTo>
                  <a:lnTo>
                    <a:pt x="18870" y="25831"/>
                  </a:lnTo>
                  <a:lnTo>
                    <a:pt x="22631" y="22758"/>
                  </a:lnTo>
                  <a:lnTo>
                    <a:pt x="26136" y="9690"/>
                  </a:lnTo>
                  <a:lnTo>
                    <a:pt x="23101" y="3721"/>
                  </a:lnTo>
                  <a:lnTo>
                    <a:pt x="17242" y="2146"/>
                  </a:lnTo>
                  <a:close/>
                </a:path>
                <a:path w="26670" h="27940">
                  <a:moveTo>
                    <a:pt x="9258" y="0"/>
                  </a:moveTo>
                  <a:lnTo>
                    <a:pt x="3581" y="4406"/>
                  </a:lnTo>
                  <a:lnTo>
                    <a:pt x="0" y="17780"/>
                  </a:lnTo>
                  <a:lnTo>
                    <a:pt x="3022" y="23761"/>
                  </a:lnTo>
                  <a:lnTo>
                    <a:pt x="9766" y="25565"/>
                  </a:lnTo>
                  <a:lnTo>
                    <a:pt x="9931" y="24320"/>
                  </a:lnTo>
                  <a:lnTo>
                    <a:pt x="6604" y="23431"/>
                  </a:lnTo>
                  <a:lnTo>
                    <a:pt x="5194" y="19900"/>
                  </a:lnTo>
                  <a:lnTo>
                    <a:pt x="9271" y="4673"/>
                  </a:lnTo>
                  <a:lnTo>
                    <a:pt x="12458" y="2146"/>
                  </a:lnTo>
                  <a:lnTo>
                    <a:pt x="17242" y="2146"/>
                  </a:lnTo>
                  <a:lnTo>
                    <a:pt x="9258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5" name="object 227">
              <a:extLst>
                <a:ext uri="{FF2B5EF4-FFF2-40B4-BE49-F238E27FC236}">
                  <a16:creationId xmlns:a16="http://schemas.microsoft.com/office/drawing/2014/main" id="{BE7403DD-9C5A-4B0F-9BBC-37C9D756FF2F}"/>
                </a:ext>
              </a:extLst>
            </p:cNvPr>
            <p:cNvSpPr/>
            <p:nvPr/>
          </p:nvSpPr>
          <p:spPr>
            <a:xfrm>
              <a:off x="8069841" y="6121177"/>
              <a:ext cx="26670" cy="27940"/>
            </a:xfrm>
            <a:custGeom>
              <a:avLst/>
              <a:gdLst/>
              <a:ahLst/>
              <a:cxnLst/>
              <a:rect l="l" t="t" r="r" b="b"/>
              <a:pathLst>
                <a:path w="26670" h="27940">
                  <a:moveTo>
                    <a:pt x="9931" y="24320"/>
                  </a:moveTo>
                  <a:lnTo>
                    <a:pt x="6604" y="23431"/>
                  </a:lnTo>
                  <a:lnTo>
                    <a:pt x="5194" y="19900"/>
                  </a:lnTo>
                  <a:lnTo>
                    <a:pt x="7264" y="12153"/>
                  </a:lnTo>
                  <a:lnTo>
                    <a:pt x="9271" y="4673"/>
                  </a:lnTo>
                  <a:lnTo>
                    <a:pt x="12458" y="2146"/>
                  </a:lnTo>
                  <a:lnTo>
                    <a:pt x="16014" y="3111"/>
                  </a:lnTo>
                  <a:lnTo>
                    <a:pt x="19316" y="3987"/>
                  </a:lnTo>
                  <a:lnTo>
                    <a:pt x="21005" y="7327"/>
                  </a:lnTo>
                  <a:lnTo>
                    <a:pt x="18872" y="15290"/>
                  </a:lnTo>
                  <a:lnTo>
                    <a:pt x="17741" y="19494"/>
                  </a:lnTo>
                  <a:lnTo>
                    <a:pt x="15544" y="25831"/>
                  </a:lnTo>
                  <a:lnTo>
                    <a:pt x="9931" y="24320"/>
                  </a:lnTo>
                  <a:lnTo>
                    <a:pt x="9766" y="25565"/>
                  </a:lnTo>
                  <a:lnTo>
                    <a:pt x="16865" y="27470"/>
                  </a:lnTo>
                  <a:lnTo>
                    <a:pt x="22631" y="22758"/>
                  </a:lnTo>
                  <a:lnTo>
                    <a:pt x="24295" y="16510"/>
                  </a:lnTo>
                  <a:lnTo>
                    <a:pt x="26136" y="9690"/>
                  </a:lnTo>
                  <a:lnTo>
                    <a:pt x="23101" y="3721"/>
                  </a:lnTo>
                  <a:lnTo>
                    <a:pt x="16154" y="1854"/>
                  </a:lnTo>
                  <a:lnTo>
                    <a:pt x="9258" y="0"/>
                  </a:lnTo>
                  <a:lnTo>
                    <a:pt x="3581" y="4406"/>
                  </a:lnTo>
                  <a:lnTo>
                    <a:pt x="1816" y="10985"/>
                  </a:lnTo>
                  <a:lnTo>
                    <a:pt x="0" y="17780"/>
                  </a:lnTo>
                  <a:lnTo>
                    <a:pt x="3022" y="23761"/>
                  </a:lnTo>
                  <a:lnTo>
                    <a:pt x="9766" y="25565"/>
                  </a:lnTo>
                  <a:lnTo>
                    <a:pt x="9931" y="24320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6" name="object 228">
              <a:extLst>
                <a:ext uri="{FF2B5EF4-FFF2-40B4-BE49-F238E27FC236}">
                  <a16:creationId xmlns:a16="http://schemas.microsoft.com/office/drawing/2014/main" id="{982D93E8-273E-4CCC-B5B4-912035ED4691}"/>
                </a:ext>
              </a:extLst>
            </p:cNvPr>
            <p:cNvSpPr/>
            <p:nvPr/>
          </p:nvSpPr>
          <p:spPr>
            <a:xfrm>
              <a:off x="8090492" y="6127671"/>
              <a:ext cx="27305" cy="26034"/>
            </a:xfrm>
            <a:custGeom>
              <a:avLst/>
              <a:gdLst/>
              <a:ahLst/>
              <a:cxnLst/>
              <a:rect l="l" t="t" r="r" b="b"/>
              <a:pathLst>
                <a:path w="27304" h="26034">
                  <a:moveTo>
                    <a:pt x="9220" y="0"/>
                  </a:moveTo>
                  <a:lnTo>
                    <a:pt x="8813" y="965"/>
                  </a:lnTo>
                  <a:lnTo>
                    <a:pt x="10922" y="1879"/>
                  </a:lnTo>
                  <a:lnTo>
                    <a:pt x="11379" y="2832"/>
                  </a:lnTo>
                  <a:lnTo>
                    <a:pt x="3556" y="21120"/>
                  </a:lnTo>
                  <a:lnTo>
                    <a:pt x="2540" y="21450"/>
                  </a:lnTo>
                  <a:lnTo>
                    <a:pt x="419" y="20535"/>
                  </a:lnTo>
                  <a:lnTo>
                    <a:pt x="0" y="21513"/>
                  </a:lnTo>
                  <a:lnTo>
                    <a:pt x="10553" y="26035"/>
                  </a:lnTo>
                  <a:lnTo>
                    <a:pt x="10972" y="25069"/>
                  </a:lnTo>
                  <a:lnTo>
                    <a:pt x="8864" y="24155"/>
                  </a:lnTo>
                  <a:lnTo>
                    <a:pt x="8369" y="23177"/>
                  </a:lnTo>
                  <a:lnTo>
                    <a:pt x="12090" y="14516"/>
                  </a:lnTo>
                  <a:lnTo>
                    <a:pt x="15989" y="16179"/>
                  </a:lnTo>
                  <a:lnTo>
                    <a:pt x="16954" y="17843"/>
                  </a:lnTo>
                  <a:lnTo>
                    <a:pt x="16129" y="20586"/>
                  </a:lnTo>
                  <a:lnTo>
                    <a:pt x="17272" y="21082"/>
                  </a:lnTo>
                  <a:lnTo>
                    <a:pt x="20929" y="12560"/>
                  </a:lnTo>
                  <a:lnTo>
                    <a:pt x="19773" y="12065"/>
                  </a:lnTo>
                  <a:lnTo>
                    <a:pt x="18072" y="14262"/>
                  </a:lnTo>
                  <a:lnTo>
                    <a:pt x="16586" y="14808"/>
                  </a:lnTo>
                  <a:lnTo>
                    <a:pt x="12674" y="13131"/>
                  </a:lnTo>
                  <a:lnTo>
                    <a:pt x="16205" y="4902"/>
                  </a:lnTo>
                  <a:lnTo>
                    <a:pt x="16573" y="4508"/>
                  </a:lnTo>
                  <a:lnTo>
                    <a:pt x="22110" y="6870"/>
                  </a:lnTo>
                  <a:lnTo>
                    <a:pt x="24130" y="10452"/>
                  </a:lnTo>
                  <a:lnTo>
                    <a:pt x="24726" y="13906"/>
                  </a:lnTo>
                  <a:lnTo>
                    <a:pt x="25895" y="13957"/>
                  </a:lnTo>
                  <a:lnTo>
                    <a:pt x="26682" y="7480"/>
                  </a:lnTo>
                  <a:lnTo>
                    <a:pt x="9220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7" name="object 229">
              <a:extLst>
                <a:ext uri="{FF2B5EF4-FFF2-40B4-BE49-F238E27FC236}">
                  <a16:creationId xmlns:a16="http://schemas.microsoft.com/office/drawing/2014/main" id="{8A791239-364D-4FF7-A046-EDFEA876191C}"/>
                </a:ext>
              </a:extLst>
            </p:cNvPr>
            <p:cNvSpPr/>
            <p:nvPr/>
          </p:nvSpPr>
          <p:spPr>
            <a:xfrm>
              <a:off x="8090492" y="6127671"/>
              <a:ext cx="27305" cy="26034"/>
            </a:xfrm>
            <a:custGeom>
              <a:avLst/>
              <a:gdLst/>
              <a:ahLst/>
              <a:cxnLst/>
              <a:rect l="l" t="t" r="r" b="b"/>
              <a:pathLst>
                <a:path w="27304" h="26034">
                  <a:moveTo>
                    <a:pt x="12674" y="13131"/>
                  </a:moveTo>
                  <a:lnTo>
                    <a:pt x="14084" y="13728"/>
                  </a:lnTo>
                  <a:lnTo>
                    <a:pt x="16586" y="14808"/>
                  </a:lnTo>
                  <a:lnTo>
                    <a:pt x="18072" y="14262"/>
                  </a:lnTo>
                  <a:lnTo>
                    <a:pt x="19773" y="12065"/>
                  </a:lnTo>
                  <a:lnTo>
                    <a:pt x="20929" y="12560"/>
                  </a:lnTo>
                  <a:lnTo>
                    <a:pt x="17272" y="21082"/>
                  </a:lnTo>
                  <a:lnTo>
                    <a:pt x="16129" y="20586"/>
                  </a:lnTo>
                  <a:lnTo>
                    <a:pt x="16954" y="17843"/>
                  </a:lnTo>
                  <a:lnTo>
                    <a:pt x="15989" y="16179"/>
                  </a:lnTo>
                  <a:lnTo>
                    <a:pt x="13766" y="15227"/>
                  </a:lnTo>
                  <a:lnTo>
                    <a:pt x="12090" y="14516"/>
                  </a:lnTo>
                  <a:lnTo>
                    <a:pt x="9258" y="21120"/>
                  </a:lnTo>
                  <a:lnTo>
                    <a:pt x="8369" y="23177"/>
                  </a:lnTo>
                  <a:lnTo>
                    <a:pt x="8864" y="24155"/>
                  </a:lnTo>
                  <a:lnTo>
                    <a:pt x="10972" y="25069"/>
                  </a:lnTo>
                  <a:lnTo>
                    <a:pt x="10553" y="26035"/>
                  </a:lnTo>
                  <a:lnTo>
                    <a:pt x="0" y="21513"/>
                  </a:lnTo>
                  <a:lnTo>
                    <a:pt x="419" y="20535"/>
                  </a:lnTo>
                  <a:lnTo>
                    <a:pt x="2540" y="21450"/>
                  </a:lnTo>
                  <a:lnTo>
                    <a:pt x="3556" y="21120"/>
                  </a:lnTo>
                  <a:lnTo>
                    <a:pt x="4432" y="19062"/>
                  </a:lnTo>
                  <a:lnTo>
                    <a:pt x="10502" y="4889"/>
                  </a:lnTo>
                  <a:lnTo>
                    <a:pt x="11379" y="2832"/>
                  </a:lnTo>
                  <a:lnTo>
                    <a:pt x="10922" y="1879"/>
                  </a:lnTo>
                  <a:lnTo>
                    <a:pt x="8813" y="965"/>
                  </a:lnTo>
                  <a:lnTo>
                    <a:pt x="9220" y="0"/>
                  </a:lnTo>
                  <a:lnTo>
                    <a:pt x="26682" y="7480"/>
                  </a:lnTo>
                  <a:lnTo>
                    <a:pt x="25895" y="13957"/>
                  </a:lnTo>
                  <a:lnTo>
                    <a:pt x="24726" y="13906"/>
                  </a:lnTo>
                  <a:lnTo>
                    <a:pt x="24130" y="10452"/>
                  </a:lnTo>
                  <a:lnTo>
                    <a:pt x="22110" y="6870"/>
                  </a:lnTo>
                  <a:lnTo>
                    <a:pt x="18757" y="5435"/>
                  </a:lnTo>
                  <a:lnTo>
                    <a:pt x="16573" y="4508"/>
                  </a:lnTo>
                  <a:lnTo>
                    <a:pt x="16205" y="4902"/>
                  </a:lnTo>
                  <a:lnTo>
                    <a:pt x="15354" y="6870"/>
                  </a:lnTo>
                  <a:lnTo>
                    <a:pt x="12674" y="13131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8" name="object 230">
              <a:extLst>
                <a:ext uri="{FF2B5EF4-FFF2-40B4-BE49-F238E27FC236}">
                  <a16:creationId xmlns:a16="http://schemas.microsoft.com/office/drawing/2014/main" id="{F88D578C-B091-4505-9A1F-02839C8B1CA4}"/>
                </a:ext>
              </a:extLst>
            </p:cNvPr>
            <p:cNvSpPr/>
            <p:nvPr/>
          </p:nvSpPr>
          <p:spPr>
            <a:xfrm>
              <a:off x="8116296" y="6142004"/>
              <a:ext cx="29209" cy="30480"/>
            </a:xfrm>
            <a:custGeom>
              <a:avLst/>
              <a:gdLst/>
              <a:ahLst/>
              <a:cxnLst/>
              <a:rect l="l" t="t" r="r" b="b"/>
              <a:pathLst>
                <a:path w="29209" h="30479">
                  <a:moveTo>
                    <a:pt x="13411" y="0"/>
                  </a:moveTo>
                  <a:lnTo>
                    <a:pt x="12814" y="863"/>
                  </a:lnTo>
                  <a:lnTo>
                    <a:pt x="14693" y="2184"/>
                  </a:lnTo>
                  <a:lnTo>
                    <a:pt x="14947" y="3213"/>
                  </a:lnTo>
                  <a:lnTo>
                    <a:pt x="3543" y="19519"/>
                  </a:lnTo>
                  <a:lnTo>
                    <a:pt x="2489" y="19634"/>
                  </a:lnTo>
                  <a:lnTo>
                    <a:pt x="596" y="18313"/>
                  </a:lnTo>
                  <a:lnTo>
                    <a:pt x="0" y="19177"/>
                  </a:lnTo>
                  <a:lnTo>
                    <a:pt x="15798" y="30238"/>
                  </a:lnTo>
                  <a:lnTo>
                    <a:pt x="21170" y="26733"/>
                  </a:lnTo>
                  <a:lnTo>
                    <a:pt x="20713" y="25869"/>
                  </a:lnTo>
                  <a:lnTo>
                    <a:pt x="17005" y="26822"/>
                  </a:lnTo>
                  <a:lnTo>
                    <a:pt x="12814" y="26619"/>
                  </a:lnTo>
                  <a:lnTo>
                    <a:pt x="7696" y="23050"/>
                  </a:lnTo>
                  <a:lnTo>
                    <a:pt x="8267" y="21920"/>
                  </a:lnTo>
                  <a:lnTo>
                    <a:pt x="13195" y="14871"/>
                  </a:lnTo>
                  <a:lnTo>
                    <a:pt x="16344" y="17068"/>
                  </a:lnTo>
                  <a:lnTo>
                    <a:pt x="17246" y="18605"/>
                  </a:lnTo>
                  <a:lnTo>
                    <a:pt x="16103" y="21755"/>
                  </a:lnTo>
                  <a:lnTo>
                    <a:pt x="17132" y="22466"/>
                  </a:lnTo>
                  <a:lnTo>
                    <a:pt x="22428" y="14897"/>
                  </a:lnTo>
                  <a:lnTo>
                    <a:pt x="21399" y="14185"/>
                  </a:lnTo>
                  <a:lnTo>
                    <a:pt x="18656" y="16205"/>
                  </a:lnTo>
                  <a:lnTo>
                    <a:pt x="17195" y="15836"/>
                  </a:lnTo>
                  <a:lnTo>
                    <a:pt x="14058" y="13639"/>
                  </a:lnTo>
                  <a:lnTo>
                    <a:pt x="19545" y="5803"/>
                  </a:lnTo>
                  <a:lnTo>
                    <a:pt x="24853" y="9525"/>
                  </a:lnTo>
                  <a:lnTo>
                    <a:pt x="26225" y="13373"/>
                  </a:lnTo>
                  <a:lnTo>
                    <a:pt x="26377" y="16878"/>
                  </a:lnTo>
                  <a:lnTo>
                    <a:pt x="27432" y="17106"/>
                  </a:lnTo>
                  <a:lnTo>
                    <a:pt x="29210" y="11061"/>
                  </a:lnTo>
                  <a:lnTo>
                    <a:pt x="13411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9" name="object 231">
              <a:extLst>
                <a:ext uri="{FF2B5EF4-FFF2-40B4-BE49-F238E27FC236}">
                  <a16:creationId xmlns:a16="http://schemas.microsoft.com/office/drawing/2014/main" id="{2DB91825-E0E6-413A-B977-AB90A5D29333}"/>
                </a:ext>
              </a:extLst>
            </p:cNvPr>
            <p:cNvSpPr/>
            <p:nvPr/>
          </p:nvSpPr>
          <p:spPr>
            <a:xfrm>
              <a:off x="8116296" y="6142004"/>
              <a:ext cx="29209" cy="30480"/>
            </a:xfrm>
            <a:custGeom>
              <a:avLst/>
              <a:gdLst/>
              <a:ahLst/>
              <a:cxnLst/>
              <a:rect l="l" t="t" r="r" b="b"/>
              <a:pathLst>
                <a:path w="29209" h="30479">
                  <a:moveTo>
                    <a:pt x="596" y="18313"/>
                  </a:moveTo>
                  <a:lnTo>
                    <a:pt x="2489" y="19634"/>
                  </a:lnTo>
                  <a:lnTo>
                    <a:pt x="3543" y="19519"/>
                  </a:lnTo>
                  <a:lnTo>
                    <a:pt x="4826" y="17678"/>
                  </a:lnTo>
                  <a:lnTo>
                    <a:pt x="13665" y="5054"/>
                  </a:lnTo>
                  <a:lnTo>
                    <a:pt x="14947" y="3213"/>
                  </a:lnTo>
                  <a:lnTo>
                    <a:pt x="14693" y="2184"/>
                  </a:lnTo>
                  <a:lnTo>
                    <a:pt x="12814" y="863"/>
                  </a:lnTo>
                  <a:lnTo>
                    <a:pt x="13411" y="0"/>
                  </a:lnTo>
                  <a:lnTo>
                    <a:pt x="29210" y="11061"/>
                  </a:lnTo>
                  <a:lnTo>
                    <a:pt x="27432" y="17106"/>
                  </a:lnTo>
                  <a:lnTo>
                    <a:pt x="26377" y="16878"/>
                  </a:lnTo>
                  <a:lnTo>
                    <a:pt x="26225" y="13373"/>
                  </a:lnTo>
                  <a:lnTo>
                    <a:pt x="24853" y="9525"/>
                  </a:lnTo>
                  <a:lnTo>
                    <a:pt x="21869" y="7442"/>
                  </a:lnTo>
                  <a:lnTo>
                    <a:pt x="19545" y="5803"/>
                  </a:lnTo>
                  <a:lnTo>
                    <a:pt x="18986" y="6591"/>
                  </a:lnTo>
                  <a:lnTo>
                    <a:pt x="17627" y="8534"/>
                  </a:lnTo>
                  <a:lnTo>
                    <a:pt x="14058" y="13639"/>
                  </a:lnTo>
                  <a:lnTo>
                    <a:pt x="14579" y="14008"/>
                  </a:lnTo>
                  <a:lnTo>
                    <a:pt x="17195" y="15836"/>
                  </a:lnTo>
                  <a:lnTo>
                    <a:pt x="18656" y="16205"/>
                  </a:lnTo>
                  <a:lnTo>
                    <a:pt x="21399" y="14185"/>
                  </a:lnTo>
                  <a:lnTo>
                    <a:pt x="22428" y="14897"/>
                  </a:lnTo>
                  <a:lnTo>
                    <a:pt x="17132" y="22466"/>
                  </a:lnTo>
                  <a:lnTo>
                    <a:pt x="16103" y="21755"/>
                  </a:lnTo>
                  <a:lnTo>
                    <a:pt x="17246" y="18605"/>
                  </a:lnTo>
                  <a:lnTo>
                    <a:pt x="16344" y="17068"/>
                  </a:lnTo>
                  <a:lnTo>
                    <a:pt x="13766" y="15278"/>
                  </a:lnTo>
                  <a:lnTo>
                    <a:pt x="13195" y="14871"/>
                  </a:lnTo>
                  <a:lnTo>
                    <a:pt x="9321" y="20396"/>
                  </a:lnTo>
                  <a:lnTo>
                    <a:pt x="8267" y="21920"/>
                  </a:lnTo>
                  <a:lnTo>
                    <a:pt x="7696" y="23050"/>
                  </a:lnTo>
                  <a:lnTo>
                    <a:pt x="9563" y="24345"/>
                  </a:lnTo>
                  <a:lnTo>
                    <a:pt x="12814" y="26619"/>
                  </a:lnTo>
                  <a:lnTo>
                    <a:pt x="17005" y="26822"/>
                  </a:lnTo>
                  <a:lnTo>
                    <a:pt x="20713" y="25869"/>
                  </a:lnTo>
                  <a:lnTo>
                    <a:pt x="21170" y="26733"/>
                  </a:lnTo>
                  <a:lnTo>
                    <a:pt x="15798" y="30238"/>
                  </a:lnTo>
                  <a:lnTo>
                    <a:pt x="0" y="19177"/>
                  </a:lnTo>
                  <a:lnTo>
                    <a:pt x="596" y="18313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0" name="object 232">
              <a:extLst>
                <a:ext uri="{FF2B5EF4-FFF2-40B4-BE49-F238E27FC236}">
                  <a16:creationId xmlns:a16="http://schemas.microsoft.com/office/drawing/2014/main" id="{1CEC79B8-3B0A-460D-9F08-D052312F7CBE}"/>
                </a:ext>
              </a:extLst>
            </p:cNvPr>
            <p:cNvSpPr/>
            <p:nvPr/>
          </p:nvSpPr>
          <p:spPr>
            <a:xfrm>
              <a:off x="8134431" y="6157093"/>
              <a:ext cx="34290" cy="31750"/>
            </a:xfrm>
            <a:custGeom>
              <a:avLst/>
              <a:gdLst/>
              <a:ahLst/>
              <a:cxnLst/>
              <a:rect l="l" t="t" r="r" b="b"/>
              <a:pathLst>
                <a:path w="34290" h="31750">
                  <a:moveTo>
                    <a:pt x="16382" y="0"/>
                  </a:moveTo>
                  <a:lnTo>
                    <a:pt x="15646" y="749"/>
                  </a:lnTo>
                  <a:lnTo>
                    <a:pt x="16446" y="1943"/>
                  </a:lnTo>
                  <a:lnTo>
                    <a:pt x="16840" y="3454"/>
                  </a:lnTo>
                  <a:lnTo>
                    <a:pt x="16700" y="4876"/>
                  </a:lnTo>
                  <a:lnTo>
                    <a:pt x="4356" y="17500"/>
                  </a:lnTo>
                  <a:lnTo>
                    <a:pt x="3276" y="17779"/>
                  </a:lnTo>
                  <a:lnTo>
                    <a:pt x="749" y="15976"/>
                  </a:lnTo>
                  <a:lnTo>
                    <a:pt x="0" y="16738"/>
                  </a:lnTo>
                  <a:lnTo>
                    <a:pt x="6476" y="23063"/>
                  </a:lnTo>
                  <a:lnTo>
                    <a:pt x="7213" y="22301"/>
                  </a:lnTo>
                  <a:lnTo>
                    <a:pt x="5308" y="19456"/>
                  </a:lnTo>
                  <a:lnTo>
                    <a:pt x="5499" y="18707"/>
                  </a:lnTo>
                  <a:lnTo>
                    <a:pt x="16522" y="7442"/>
                  </a:lnTo>
                  <a:lnTo>
                    <a:pt x="12992" y="29438"/>
                  </a:lnTo>
                  <a:lnTo>
                    <a:pt x="15074" y="31457"/>
                  </a:lnTo>
                  <a:lnTo>
                    <a:pt x="29489" y="16725"/>
                  </a:lnTo>
                  <a:lnTo>
                    <a:pt x="30556" y="16052"/>
                  </a:lnTo>
                  <a:lnTo>
                    <a:pt x="33070" y="17818"/>
                  </a:lnTo>
                  <a:lnTo>
                    <a:pt x="33820" y="17068"/>
                  </a:lnTo>
                  <a:lnTo>
                    <a:pt x="27800" y="11175"/>
                  </a:lnTo>
                  <a:lnTo>
                    <a:pt x="27063" y="11937"/>
                  </a:lnTo>
                  <a:lnTo>
                    <a:pt x="29121" y="14350"/>
                  </a:lnTo>
                  <a:lnTo>
                    <a:pt x="28232" y="15633"/>
                  </a:lnTo>
                  <a:lnTo>
                    <a:pt x="18872" y="25209"/>
                  </a:lnTo>
                  <a:lnTo>
                    <a:pt x="22186" y="5676"/>
                  </a:lnTo>
                  <a:lnTo>
                    <a:pt x="16382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1" name="object 233">
              <a:extLst>
                <a:ext uri="{FF2B5EF4-FFF2-40B4-BE49-F238E27FC236}">
                  <a16:creationId xmlns:a16="http://schemas.microsoft.com/office/drawing/2014/main" id="{DB5158E9-C166-4F07-A0FC-971996F4ADED}"/>
                </a:ext>
              </a:extLst>
            </p:cNvPr>
            <p:cNvSpPr/>
            <p:nvPr/>
          </p:nvSpPr>
          <p:spPr>
            <a:xfrm>
              <a:off x="8134431" y="6157093"/>
              <a:ext cx="34290" cy="31750"/>
            </a:xfrm>
            <a:custGeom>
              <a:avLst/>
              <a:gdLst/>
              <a:ahLst/>
              <a:cxnLst/>
              <a:rect l="l" t="t" r="r" b="b"/>
              <a:pathLst>
                <a:path w="34290" h="31750">
                  <a:moveTo>
                    <a:pt x="18872" y="25209"/>
                  </a:moveTo>
                  <a:lnTo>
                    <a:pt x="26339" y="17576"/>
                  </a:lnTo>
                  <a:lnTo>
                    <a:pt x="28232" y="15633"/>
                  </a:lnTo>
                  <a:lnTo>
                    <a:pt x="29121" y="14350"/>
                  </a:lnTo>
                  <a:lnTo>
                    <a:pt x="27063" y="11937"/>
                  </a:lnTo>
                  <a:lnTo>
                    <a:pt x="27800" y="11175"/>
                  </a:lnTo>
                  <a:lnTo>
                    <a:pt x="33820" y="17068"/>
                  </a:lnTo>
                  <a:lnTo>
                    <a:pt x="33070" y="17818"/>
                  </a:lnTo>
                  <a:lnTo>
                    <a:pt x="30556" y="16052"/>
                  </a:lnTo>
                  <a:lnTo>
                    <a:pt x="29489" y="16725"/>
                  </a:lnTo>
                  <a:lnTo>
                    <a:pt x="27520" y="18732"/>
                  </a:lnTo>
                  <a:lnTo>
                    <a:pt x="15074" y="31457"/>
                  </a:lnTo>
                  <a:lnTo>
                    <a:pt x="12992" y="29438"/>
                  </a:lnTo>
                  <a:lnTo>
                    <a:pt x="16522" y="7442"/>
                  </a:lnTo>
                  <a:lnTo>
                    <a:pt x="7937" y="16217"/>
                  </a:lnTo>
                  <a:lnTo>
                    <a:pt x="5499" y="18707"/>
                  </a:lnTo>
                  <a:lnTo>
                    <a:pt x="5308" y="19456"/>
                  </a:lnTo>
                  <a:lnTo>
                    <a:pt x="7213" y="22301"/>
                  </a:lnTo>
                  <a:lnTo>
                    <a:pt x="6476" y="23063"/>
                  </a:lnTo>
                  <a:lnTo>
                    <a:pt x="0" y="16738"/>
                  </a:lnTo>
                  <a:lnTo>
                    <a:pt x="749" y="15976"/>
                  </a:lnTo>
                  <a:lnTo>
                    <a:pt x="3276" y="17779"/>
                  </a:lnTo>
                  <a:lnTo>
                    <a:pt x="4356" y="17500"/>
                  </a:lnTo>
                  <a:lnTo>
                    <a:pt x="6413" y="15392"/>
                  </a:lnTo>
                  <a:lnTo>
                    <a:pt x="16700" y="4876"/>
                  </a:lnTo>
                  <a:lnTo>
                    <a:pt x="16840" y="3454"/>
                  </a:lnTo>
                  <a:lnTo>
                    <a:pt x="16446" y="1943"/>
                  </a:lnTo>
                  <a:lnTo>
                    <a:pt x="15646" y="749"/>
                  </a:lnTo>
                  <a:lnTo>
                    <a:pt x="16382" y="0"/>
                  </a:lnTo>
                  <a:lnTo>
                    <a:pt x="22186" y="5676"/>
                  </a:lnTo>
                  <a:lnTo>
                    <a:pt x="18872" y="25209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2" name="object 234">
              <a:extLst>
                <a:ext uri="{FF2B5EF4-FFF2-40B4-BE49-F238E27FC236}">
                  <a16:creationId xmlns:a16="http://schemas.microsoft.com/office/drawing/2014/main" id="{F069F7C0-E203-42D9-99A3-F1802DA33791}"/>
                </a:ext>
              </a:extLst>
            </p:cNvPr>
            <p:cNvSpPr/>
            <p:nvPr/>
          </p:nvSpPr>
          <p:spPr>
            <a:xfrm>
              <a:off x="8151756" y="6176970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18770" y="0"/>
                  </a:moveTo>
                  <a:lnTo>
                    <a:pt x="17932" y="635"/>
                  </a:lnTo>
                  <a:lnTo>
                    <a:pt x="19304" y="2476"/>
                  </a:lnTo>
                  <a:lnTo>
                    <a:pt x="19215" y="3543"/>
                  </a:lnTo>
                  <a:lnTo>
                    <a:pt x="3251" y="15405"/>
                  </a:lnTo>
                  <a:lnTo>
                    <a:pt x="2209" y="15176"/>
                  </a:lnTo>
                  <a:lnTo>
                    <a:pt x="838" y="13335"/>
                  </a:lnTo>
                  <a:lnTo>
                    <a:pt x="0" y="13970"/>
                  </a:lnTo>
                  <a:lnTo>
                    <a:pt x="11493" y="29438"/>
                  </a:lnTo>
                  <a:lnTo>
                    <a:pt x="17703" y="27813"/>
                  </a:lnTo>
                  <a:lnTo>
                    <a:pt x="17538" y="26860"/>
                  </a:lnTo>
                  <a:lnTo>
                    <a:pt x="13728" y="26593"/>
                  </a:lnTo>
                  <a:lnTo>
                    <a:pt x="9804" y="25069"/>
                  </a:lnTo>
                  <a:lnTo>
                    <a:pt x="6096" y="20078"/>
                  </a:lnTo>
                  <a:lnTo>
                    <a:pt x="6972" y="19177"/>
                  </a:lnTo>
                  <a:lnTo>
                    <a:pt x="13881" y="14046"/>
                  </a:lnTo>
                  <a:lnTo>
                    <a:pt x="16167" y="17119"/>
                  </a:lnTo>
                  <a:lnTo>
                    <a:pt x="16548" y="18872"/>
                  </a:lnTo>
                  <a:lnTo>
                    <a:pt x="14465" y="21488"/>
                  </a:lnTo>
                  <a:lnTo>
                    <a:pt x="15214" y="22491"/>
                  </a:lnTo>
                  <a:lnTo>
                    <a:pt x="22631" y="16967"/>
                  </a:lnTo>
                  <a:lnTo>
                    <a:pt x="21882" y="15976"/>
                  </a:lnTo>
                  <a:lnTo>
                    <a:pt x="18643" y="17030"/>
                  </a:lnTo>
                  <a:lnTo>
                    <a:pt x="17373" y="16217"/>
                  </a:lnTo>
                  <a:lnTo>
                    <a:pt x="15074" y="13144"/>
                  </a:lnTo>
                  <a:lnTo>
                    <a:pt x="22758" y="7442"/>
                  </a:lnTo>
                  <a:lnTo>
                    <a:pt x="26631" y="12649"/>
                  </a:lnTo>
                  <a:lnTo>
                    <a:pt x="26708" y="16725"/>
                  </a:lnTo>
                  <a:lnTo>
                    <a:pt x="25755" y="20104"/>
                  </a:lnTo>
                  <a:lnTo>
                    <a:pt x="26682" y="20650"/>
                  </a:lnTo>
                  <a:lnTo>
                    <a:pt x="30276" y="15468"/>
                  </a:lnTo>
                  <a:lnTo>
                    <a:pt x="18770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3" name="object 235">
              <a:extLst>
                <a:ext uri="{FF2B5EF4-FFF2-40B4-BE49-F238E27FC236}">
                  <a16:creationId xmlns:a16="http://schemas.microsoft.com/office/drawing/2014/main" id="{0F8056AB-60A9-446C-BB65-30C12677F2F2}"/>
                </a:ext>
              </a:extLst>
            </p:cNvPr>
            <p:cNvSpPr/>
            <p:nvPr/>
          </p:nvSpPr>
          <p:spPr>
            <a:xfrm>
              <a:off x="8151756" y="6176970"/>
              <a:ext cx="30480" cy="29845"/>
            </a:xfrm>
            <a:custGeom>
              <a:avLst/>
              <a:gdLst/>
              <a:ahLst/>
              <a:cxnLst/>
              <a:rect l="l" t="t" r="r" b="b"/>
              <a:pathLst>
                <a:path w="30479" h="29845">
                  <a:moveTo>
                    <a:pt x="838" y="13335"/>
                  </a:moveTo>
                  <a:lnTo>
                    <a:pt x="2209" y="15176"/>
                  </a:lnTo>
                  <a:lnTo>
                    <a:pt x="3251" y="15405"/>
                  </a:lnTo>
                  <a:lnTo>
                    <a:pt x="5041" y="14071"/>
                  </a:lnTo>
                  <a:lnTo>
                    <a:pt x="17424" y="4876"/>
                  </a:lnTo>
                  <a:lnTo>
                    <a:pt x="19215" y="3543"/>
                  </a:lnTo>
                  <a:lnTo>
                    <a:pt x="19304" y="2476"/>
                  </a:lnTo>
                  <a:lnTo>
                    <a:pt x="17932" y="635"/>
                  </a:lnTo>
                  <a:lnTo>
                    <a:pt x="18770" y="0"/>
                  </a:lnTo>
                  <a:lnTo>
                    <a:pt x="30276" y="15468"/>
                  </a:lnTo>
                  <a:lnTo>
                    <a:pt x="26682" y="20650"/>
                  </a:lnTo>
                  <a:lnTo>
                    <a:pt x="25755" y="20104"/>
                  </a:lnTo>
                  <a:lnTo>
                    <a:pt x="26708" y="16725"/>
                  </a:lnTo>
                  <a:lnTo>
                    <a:pt x="26631" y="12649"/>
                  </a:lnTo>
                  <a:lnTo>
                    <a:pt x="24447" y="9715"/>
                  </a:lnTo>
                  <a:lnTo>
                    <a:pt x="22758" y="7442"/>
                  </a:lnTo>
                  <a:lnTo>
                    <a:pt x="21983" y="8013"/>
                  </a:lnTo>
                  <a:lnTo>
                    <a:pt x="20091" y="9423"/>
                  </a:lnTo>
                  <a:lnTo>
                    <a:pt x="15074" y="13144"/>
                  </a:lnTo>
                  <a:lnTo>
                    <a:pt x="15455" y="13652"/>
                  </a:lnTo>
                  <a:lnTo>
                    <a:pt x="17373" y="16217"/>
                  </a:lnTo>
                  <a:lnTo>
                    <a:pt x="18643" y="17030"/>
                  </a:lnTo>
                  <a:lnTo>
                    <a:pt x="21882" y="15976"/>
                  </a:lnTo>
                  <a:lnTo>
                    <a:pt x="22631" y="16967"/>
                  </a:lnTo>
                  <a:lnTo>
                    <a:pt x="15214" y="22491"/>
                  </a:lnTo>
                  <a:lnTo>
                    <a:pt x="14465" y="21488"/>
                  </a:lnTo>
                  <a:lnTo>
                    <a:pt x="16548" y="18872"/>
                  </a:lnTo>
                  <a:lnTo>
                    <a:pt x="16167" y="17119"/>
                  </a:lnTo>
                  <a:lnTo>
                    <a:pt x="14300" y="14605"/>
                  </a:lnTo>
                  <a:lnTo>
                    <a:pt x="13881" y="14046"/>
                  </a:lnTo>
                  <a:lnTo>
                    <a:pt x="8458" y="18072"/>
                  </a:lnTo>
                  <a:lnTo>
                    <a:pt x="6972" y="19177"/>
                  </a:lnTo>
                  <a:lnTo>
                    <a:pt x="6096" y="20078"/>
                  </a:lnTo>
                  <a:lnTo>
                    <a:pt x="7442" y="21894"/>
                  </a:lnTo>
                  <a:lnTo>
                    <a:pt x="9804" y="25069"/>
                  </a:lnTo>
                  <a:lnTo>
                    <a:pt x="13728" y="26593"/>
                  </a:lnTo>
                  <a:lnTo>
                    <a:pt x="17538" y="26860"/>
                  </a:lnTo>
                  <a:lnTo>
                    <a:pt x="17703" y="27813"/>
                  </a:lnTo>
                  <a:lnTo>
                    <a:pt x="11493" y="29438"/>
                  </a:lnTo>
                  <a:lnTo>
                    <a:pt x="0" y="13970"/>
                  </a:lnTo>
                  <a:lnTo>
                    <a:pt x="838" y="13335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4" name="object 236">
              <a:extLst>
                <a:ext uri="{FF2B5EF4-FFF2-40B4-BE49-F238E27FC236}">
                  <a16:creationId xmlns:a16="http://schemas.microsoft.com/office/drawing/2014/main" id="{9877F556-BD9F-49EA-8D1C-B622D1C58968}"/>
                </a:ext>
              </a:extLst>
            </p:cNvPr>
            <p:cNvSpPr/>
            <p:nvPr/>
          </p:nvSpPr>
          <p:spPr>
            <a:xfrm>
              <a:off x="8164752" y="6197512"/>
              <a:ext cx="29845" cy="32384"/>
            </a:xfrm>
            <a:custGeom>
              <a:avLst/>
              <a:gdLst/>
              <a:ahLst/>
              <a:cxnLst/>
              <a:rect l="l" t="t" r="r" b="b"/>
              <a:pathLst>
                <a:path w="29845" h="32384">
                  <a:moveTo>
                    <a:pt x="15087" y="12395"/>
                  </a:moveTo>
                  <a:lnTo>
                    <a:pt x="13755" y="13096"/>
                  </a:lnTo>
                  <a:lnTo>
                    <a:pt x="14389" y="14274"/>
                  </a:lnTo>
                  <a:lnTo>
                    <a:pt x="14655" y="15557"/>
                  </a:lnTo>
                  <a:lnTo>
                    <a:pt x="9232" y="22694"/>
                  </a:lnTo>
                  <a:lnTo>
                    <a:pt x="8648" y="23520"/>
                  </a:lnTo>
                  <a:lnTo>
                    <a:pt x="7988" y="24307"/>
                  </a:lnTo>
                  <a:lnTo>
                    <a:pt x="7505" y="25171"/>
                  </a:lnTo>
                  <a:lnTo>
                    <a:pt x="11188" y="32156"/>
                  </a:lnTo>
                  <a:lnTo>
                    <a:pt x="12115" y="31661"/>
                  </a:lnTo>
                  <a:lnTo>
                    <a:pt x="10998" y="29146"/>
                  </a:lnTo>
                  <a:lnTo>
                    <a:pt x="13645" y="25171"/>
                  </a:lnTo>
                  <a:lnTo>
                    <a:pt x="16600" y="21031"/>
                  </a:lnTo>
                  <a:lnTo>
                    <a:pt x="17310" y="20116"/>
                  </a:lnTo>
                  <a:lnTo>
                    <a:pt x="17437" y="18922"/>
                  </a:lnTo>
                  <a:lnTo>
                    <a:pt x="28698" y="18922"/>
                  </a:lnTo>
                  <a:lnTo>
                    <a:pt x="28868" y="18211"/>
                  </a:lnTo>
                  <a:lnTo>
                    <a:pt x="20104" y="18211"/>
                  </a:lnTo>
                  <a:lnTo>
                    <a:pt x="17830" y="17602"/>
                  </a:lnTo>
                  <a:lnTo>
                    <a:pt x="15087" y="12395"/>
                  </a:lnTo>
                  <a:close/>
                </a:path>
                <a:path w="29845" h="32384">
                  <a:moveTo>
                    <a:pt x="28698" y="18922"/>
                  </a:moveTo>
                  <a:lnTo>
                    <a:pt x="17437" y="18922"/>
                  </a:lnTo>
                  <a:lnTo>
                    <a:pt x="19380" y="21374"/>
                  </a:lnTo>
                  <a:lnTo>
                    <a:pt x="22301" y="23342"/>
                  </a:lnTo>
                  <a:lnTo>
                    <a:pt x="28412" y="20116"/>
                  </a:lnTo>
                  <a:lnTo>
                    <a:pt x="28698" y="18922"/>
                  </a:lnTo>
                  <a:close/>
                </a:path>
                <a:path w="29845" h="32384">
                  <a:moveTo>
                    <a:pt x="927" y="10413"/>
                  </a:moveTo>
                  <a:lnTo>
                    <a:pt x="0" y="10909"/>
                  </a:lnTo>
                  <a:lnTo>
                    <a:pt x="5321" y="21031"/>
                  </a:lnTo>
                  <a:lnTo>
                    <a:pt x="6261" y="20548"/>
                  </a:lnTo>
                  <a:lnTo>
                    <a:pt x="5194" y="18516"/>
                  </a:lnTo>
                  <a:lnTo>
                    <a:pt x="5435" y="17475"/>
                  </a:lnTo>
                  <a:lnTo>
                    <a:pt x="13755" y="13096"/>
                  </a:lnTo>
                  <a:lnTo>
                    <a:pt x="14239" y="12839"/>
                  </a:lnTo>
                  <a:lnTo>
                    <a:pt x="2997" y="12839"/>
                  </a:lnTo>
                  <a:lnTo>
                    <a:pt x="2006" y="12458"/>
                  </a:lnTo>
                  <a:lnTo>
                    <a:pt x="927" y="10413"/>
                  </a:lnTo>
                  <a:close/>
                </a:path>
                <a:path w="29845" h="32384">
                  <a:moveTo>
                    <a:pt x="24939" y="8051"/>
                  </a:moveTo>
                  <a:lnTo>
                    <a:pt x="23533" y="8051"/>
                  </a:lnTo>
                  <a:lnTo>
                    <a:pt x="26051" y="12839"/>
                  </a:lnTo>
                  <a:lnTo>
                    <a:pt x="26018" y="14274"/>
                  </a:lnTo>
                  <a:lnTo>
                    <a:pt x="25958" y="15125"/>
                  </a:lnTo>
                  <a:lnTo>
                    <a:pt x="20104" y="18211"/>
                  </a:lnTo>
                  <a:lnTo>
                    <a:pt x="28868" y="18211"/>
                  </a:lnTo>
                  <a:lnTo>
                    <a:pt x="29311" y="16357"/>
                  </a:lnTo>
                  <a:lnTo>
                    <a:pt x="24939" y="8051"/>
                  </a:lnTo>
                  <a:close/>
                </a:path>
                <a:path w="29845" h="32384">
                  <a:moveTo>
                    <a:pt x="20700" y="0"/>
                  </a:moveTo>
                  <a:lnTo>
                    <a:pt x="19761" y="495"/>
                  </a:lnTo>
                  <a:lnTo>
                    <a:pt x="20840" y="2527"/>
                  </a:lnTo>
                  <a:lnTo>
                    <a:pt x="20599" y="3568"/>
                  </a:lnTo>
                  <a:lnTo>
                    <a:pt x="2997" y="12839"/>
                  </a:lnTo>
                  <a:lnTo>
                    <a:pt x="14239" y="12839"/>
                  </a:lnTo>
                  <a:lnTo>
                    <a:pt x="22783" y="8343"/>
                  </a:lnTo>
                  <a:lnTo>
                    <a:pt x="23533" y="8051"/>
                  </a:lnTo>
                  <a:lnTo>
                    <a:pt x="24939" y="8051"/>
                  </a:lnTo>
                  <a:lnTo>
                    <a:pt x="20700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5" name="object 237">
              <a:extLst>
                <a:ext uri="{FF2B5EF4-FFF2-40B4-BE49-F238E27FC236}">
                  <a16:creationId xmlns:a16="http://schemas.microsoft.com/office/drawing/2014/main" id="{EBE3DC3A-81C3-4940-9925-1F04B9960A12}"/>
                </a:ext>
              </a:extLst>
            </p:cNvPr>
            <p:cNvSpPr/>
            <p:nvPr/>
          </p:nvSpPr>
          <p:spPr>
            <a:xfrm>
              <a:off x="8164752" y="6197512"/>
              <a:ext cx="29845" cy="32384"/>
            </a:xfrm>
            <a:custGeom>
              <a:avLst/>
              <a:gdLst/>
              <a:ahLst/>
              <a:cxnLst/>
              <a:rect l="l" t="t" r="r" b="b"/>
              <a:pathLst>
                <a:path w="29845" h="32384">
                  <a:moveTo>
                    <a:pt x="15087" y="12395"/>
                  </a:moveTo>
                  <a:lnTo>
                    <a:pt x="21170" y="9194"/>
                  </a:lnTo>
                  <a:lnTo>
                    <a:pt x="22783" y="8343"/>
                  </a:lnTo>
                  <a:lnTo>
                    <a:pt x="23533" y="8051"/>
                  </a:lnTo>
                  <a:lnTo>
                    <a:pt x="24523" y="9918"/>
                  </a:lnTo>
                  <a:lnTo>
                    <a:pt x="26111" y="12953"/>
                  </a:lnTo>
                  <a:lnTo>
                    <a:pt x="25958" y="15125"/>
                  </a:lnTo>
                  <a:lnTo>
                    <a:pt x="23101" y="16624"/>
                  </a:lnTo>
                  <a:lnTo>
                    <a:pt x="20104" y="18211"/>
                  </a:lnTo>
                  <a:lnTo>
                    <a:pt x="17830" y="17602"/>
                  </a:lnTo>
                  <a:lnTo>
                    <a:pt x="15366" y="12928"/>
                  </a:lnTo>
                  <a:lnTo>
                    <a:pt x="15087" y="12395"/>
                  </a:lnTo>
                  <a:lnTo>
                    <a:pt x="13754" y="13093"/>
                  </a:lnTo>
                  <a:lnTo>
                    <a:pt x="14389" y="14274"/>
                  </a:lnTo>
                  <a:lnTo>
                    <a:pt x="14655" y="15557"/>
                  </a:lnTo>
                  <a:lnTo>
                    <a:pt x="11899" y="19176"/>
                  </a:lnTo>
                  <a:lnTo>
                    <a:pt x="9232" y="22694"/>
                  </a:lnTo>
                  <a:lnTo>
                    <a:pt x="8648" y="23520"/>
                  </a:lnTo>
                  <a:lnTo>
                    <a:pt x="7988" y="24307"/>
                  </a:lnTo>
                  <a:lnTo>
                    <a:pt x="7505" y="25171"/>
                  </a:lnTo>
                  <a:lnTo>
                    <a:pt x="11188" y="32156"/>
                  </a:lnTo>
                  <a:lnTo>
                    <a:pt x="12115" y="31661"/>
                  </a:lnTo>
                  <a:lnTo>
                    <a:pt x="10998" y="29146"/>
                  </a:lnTo>
                  <a:lnTo>
                    <a:pt x="12255" y="27254"/>
                  </a:lnTo>
                  <a:lnTo>
                    <a:pt x="13627" y="25196"/>
                  </a:lnTo>
                  <a:lnTo>
                    <a:pt x="15874" y="22059"/>
                  </a:lnTo>
                  <a:lnTo>
                    <a:pt x="16560" y="21081"/>
                  </a:lnTo>
                  <a:lnTo>
                    <a:pt x="17310" y="20116"/>
                  </a:lnTo>
                  <a:lnTo>
                    <a:pt x="17437" y="18922"/>
                  </a:lnTo>
                  <a:lnTo>
                    <a:pt x="19380" y="21374"/>
                  </a:lnTo>
                  <a:lnTo>
                    <a:pt x="22301" y="23342"/>
                  </a:lnTo>
                  <a:lnTo>
                    <a:pt x="25412" y="21704"/>
                  </a:lnTo>
                  <a:lnTo>
                    <a:pt x="28409" y="20129"/>
                  </a:lnTo>
                  <a:lnTo>
                    <a:pt x="29311" y="16357"/>
                  </a:lnTo>
                  <a:lnTo>
                    <a:pt x="27114" y="12166"/>
                  </a:lnTo>
                  <a:lnTo>
                    <a:pt x="20700" y="0"/>
                  </a:lnTo>
                  <a:lnTo>
                    <a:pt x="19761" y="495"/>
                  </a:lnTo>
                  <a:lnTo>
                    <a:pt x="20840" y="2527"/>
                  </a:lnTo>
                  <a:lnTo>
                    <a:pt x="20599" y="3568"/>
                  </a:lnTo>
                  <a:lnTo>
                    <a:pt x="18618" y="4610"/>
                  </a:lnTo>
                  <a:lnTo>
                    <a:pt x="4978" y="11798"/>
                  </a:lnTo>
                  <a:lnTo>
                    <a:pt x="2997" y="12839"/>
                  </a:lnTo>
                  <a:lnTo>
                    <a:pt x="2006" y="12458"/>
                  </a:lnTo>
                  <a:lnTo>
                    <a:pt x="927" y="10413"/>
                  </a:lnTo>
                  <a:lnTo>
                    <a:pt x="0" y="10909"/>
                  </a:lnTo>
                  <a:lnTo>
                    <a:pt x="5321" y="21031"/>
                  </a:lnTo>
                  <a:lnTo>
                    <a:pt x="6261" y="20548"/>
                  </a:lnTo>
                  <a:lnTo>
                    <a:pt x="5194" y="18516"/>
                  </a:lnTo>
                  <a:lnTo>
                    <a:pt x="5435" y="17475"/>
                  </a:lnTo>
                  <a:lnTo>
                    <a:pt x="7416" y="16433"/>
                  </a:lnTo>
                  <a:lnTo>
                    <a:pt x="13754" y="13093"/>
                  </a:lnTo>
                  <a:lnTo>
                    <a:pt x="15087" y="12395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6" name="object 238">
              <a:extLst>
                <a:ext uri="{FF2B5EF4-FFF2-40B4-BE49-F238E27FC236}">
                  <a16:creationId xmlns:a16="http://schemas.microsoft.com/office/drawing/2014/main" id="{ED0682A6-2B66-46A1-8990-9DE96D44C81F}"/>
                </a:ext>
              </a:extLst>
            </p:cNvPr>
            <p:cNvSpPr/>
            <p:nvPr/>
          </p:nvSpPr>
          <p:spPr>
            <a:xfrm>
              <a:off x="8175980" y="6222488"/>
              <a:ext cx="27940" cy="24765"/>
            </a:xfrm>
            <a:custGeom>
              <a:avLst/>
              <a:gdLst/>
              <a:ahLst/>
              <a:cxnLst/>
              <a:rect l="l" t="t" r="r" b="b"/>
              <a:pathLst>
                <a:path w="27940" h="24765">
                  <a:moveTo>
                    <a:pt x="15557" y="0"/>
                  </a:moveTo>
                  <a:lnTo>
                    <a:pt x="2959" y="4330"/>
                  </a:lnTo>
                  <a:lnTo>
                    <a:pt x="0" y="9906"/>
                  </a:lnTo>
                  <a:lnTo>
                    <a:pt x="2793" y="18046"/>
                  </a:lnTo>
                  <a:lnTo>
                    <a:pt x="6007" y="22517"/>
                  </a:lnTo>
                  <a:lnTo>
                    <a:pt x="6756" y="24625"/>
                  </a:lnTo>
                  <a:lnTo>
                    <a:pt x="13538" y="22301"/>
                  </a:lnTo>
                  <a:lnTo>
                    <a:pt x="14325" y="22326"/>
                  </a:lnTo>
                  <a:lnTo>
                    <a:pt x="15455" y="24726"/>
                  </a:lnTo>
                  <a:lnTo>
                    <a:pt x="16636" y="24320"/>
                  </a:lnTo>
                  <a:lnTo>
                    <a:pt x="13119" y="14058"/>
                  </a:lnTo>
                  <a:lnTo>
                    <a:pt x="11937" y="14465"/>
                  </a:lnTo>
                  <a:lnTo>
                    <a:pt x="12585" y="16852"/>
                  </a:lnTo>
                  <a:lnTo>
                    <a:pt x="12585" y="17551"/>
                  </a:lnTo>
                  <a:lnTo>
                    <a:pt x="7302" y="19367"/>
                  </a:lnTo>
                  <a:lnTo>
                    <a:pt x="4673" y="19697"/>
                  </a:lnTo>
                  <a:lnTo>
                    <a:pt x="2374" y="13004"/>
                  </a:lnTo>
                  <a:lnTo>
                    <a:pt x="4419" y="9702"/>
                  </a:lnTo>
                  <a:lnTo>
                    <a:pt x="19697" y="4470"/>
                  </a:lnTo>
                  <a:lnTo>
                    <a:pt x="23494" y="6553"/>
                  </a:lnTo>
                  <a:lnTo>
                    <a:pt x="25412" y="12179"/>
                  </a:lnTo>
                  <a:lnTo>
                    <a:pt x="24091" y="14732"/>
                  </a:lnTo>
                  <a:lnTo>
                    <a:pt x="21399" y="18719"/>
                  </a:lnTo>
                  <a:lnTo>
                    <a:pt x="22110" y="19596"/>
                  </a:lnTo>
                  <a:lnTo>
                    <a:pt x="27889" y="15557"/>
                  </a:lnTo>
                  <a:lnTo>
                    <a:pt x="27241" y="15036"/>
                  </a:lnTo>
                  <a:lnTo>
                    <a:pt x="26415" y="14109"/>
                  </a:lnTo>
                  <a:lnTo>
                    <a:pt x="25958" y="12763"/>
                  </a:lnTo>
                  <a:lnTo>
                    <a:pt x="25971" y="11315"/>
                  </a:lnTo>
                  <a:lnTo>
                    <a:pt x="25895" y="9715"/>
                  </a:lnTo>
                  <a:lnTo>
                    <a:pt x="23317" y="2184"/>
                  </a:lnTo>
                  <a:lnTo>
                    <a:pt x="15557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7" name="object 239">
              <a:extLst>
                <a:ext uri="{FF2B5EF4-FFF2-40B4-BE49-F238E27FC236}">
                  <a16:creationId xmlns:a16="http://schemas.microsoft.com/office/drawing/2014/main" id="{A8125692-DE52-41E3-BBB9-CA5DFEA26945}"/>
                </a:ext>
              </a:extLst>
            </p:cNvPr>
            <p:cNvSpPr/>
            <p:nvPr/>
          </p:nvSpPr>
          <p:spPr>
            <a:xfrm>
              <a:off x="8175980" y="6222488"/>
              <a:ext cx="27940" cy="24765"/>
            </a:xfrm>
            <a:custGeom>
              <a:avLst/>
              <a:gdLst/>
              <a:ahLst/>
              <a:cxnLst/>
              <a:rect l="l" t="t" r="r" b="b"/>
              <a:pathLst>
                <a:path w="27940" h="24765">
                  <a:moveTo>
                    <a:pt x="22110" y="19596"/>
                  </a:moveTo>
                  <a:lnTo>
                    <a:pt x="21399" y="18719"/>
                  </a:lnTo>
                  <a:lnTo>
                    <a:pt x="24091" y="14732"/>
                  </a:lnTo>
                  <a:lnTo>
                    <a:pt x="25412" y="12179"/>
                  </a:lnTo>
                  <a:lnTo>
                    <a:pt x="24485" y="9461"/>
                  </a:lnTo>
                  <a:lnTo>
                    <a:pt x="23494" y="6553"/>
                  </a:lnTo>
                  <a:lnTo>
                    <a:pt x="19697" y="4470"/>
                  </a:lnTo>
                  <a:lnTo>
                    <a:pt x="12014" y="7099"/>
                  </a:lnTo>
                  <a:lnTo>
                    <a:pt x="4419" y="9702"/>
                  </a:lnTo>
                  <a:lnTo>
                    <a:pt x="2374" y="13004"/>
                  </a:lnTo>
                  <a:lnTo>
                    <a:pt x="3530" y="16370"/>
                  </a:lnTo>
                  <a:lnTo>
                    <a:pt x="4673" y="19697"/>
                  </a:lnTo>
                  <a:lnTo>
                    <a:pt x="7302" y="19367"/>
                  </a:lnTo>
                  <a:lnTo>
                    <a:pt x="10109" y="18402"/>
                  </a:lnTo>
                  <a:lnTo>
                    <a:pt x="12585" y="17551"/>
                  </a:lnTo>
                  <a:lnTo>
                    <a:pt x="12585" y="16852"/>
                  </a:lnTo>
                  <a:lnTo>
                    <a:pt x="11937" y="14465"/>
                  </a:lnTo>
                  <a:lnTo>
                    <a:pt x="13119" y="14058"/>
                  </a:lnTo>
                  <a:lnTo>
                    <a:pt x="16636" y="24320"/>
                  </a:lnTo>
                  <a:lnTo>
                    <a:pt x="15455" y="24726"/>
                  </a:lnTo>
                  <a:lnTo>
                    <a:pt x="14325" y="22326"/>
                  </a:lnTo>
                  <a:lnTo>
                    <a:pt x="13538" y="22301"/>
                  </a:lnTo>
                  <a:lnTo>
                    <a:pt x="11239" y="23088"/>
                  </a:lnTo>
                  <a:lnTo>
                    <a:pt x="6756" y="24625"/>
                  </a:lnTo>
                  <a:lnTo>
                    <a:pt x="6007" y="22517"/>
                  </a:lnTo>
                  <a:lnTo>
                    <a:pt x="5892" y="22377"/>
                  </a:lnTo>
                  <a:lnTo>
                    <a:pt x="4673" y="20675"/>
                  </a:lnTo>
                  <a:lnTo>
                    <a:pt x="3644" y="19265"/>
                  </a:lnTo>
                  <a:lnTo>
                    <a:pt x="2793" y="18046"/>
                  </a:lnTo>
                  <a:lnTo>
                    <a:pt x="2209" y="16383"/>
                  </a:lnTo>
                  <a:lnTo>
                    <a:pt x="0" y="9906"/>
                  </a:lnTo>
                  <a:lnTo>
                    <a:pt x="2959" y="4330"/>
                  </a:lnTo>
                  <a:lnTo>
                    <a:pt x="9423" y="2108"/>
                  </a:lnTo>
                  <a:lnTo>
                    <a:pt x="15557" y="0"/>
                  </a:lnTo>
                  <a:lnTo>
                    <a:pt x="23317" y="2184"/>
                  </a:lnTo>
                  <a:lnTo>
                    <a:pt x="25577" y="8813"/>
                  </a:lnTo>
                  <a:lnTo>
                    <a:pt x="25895" y="9715"/>
                  </a:lnTo>
                  <a:lnTo>
                    <a:pt x="25933" y="10553"/>
                  </a:lnTo>
                  <a:lnTo>
                    <a:pt x="25971" y="11315"/>
                  </a:lnTo>
                  <a:lnTo>
                    <a:pt x="25958" y="12090"/>
                  </a:lnTo>
                  <a:lnTo>
                    <a:pt x="25958" y="12763"/>
                  </a:lnTo>
                  <a:lnTo>
                    <a:pt x="26149" y="13309"/>
                  </a:lnTo>
                  <a:lnTo>
                    <a:pt x="26415" y="14109"/>
                  </a:lnTo>
                  <a:lnTo>
                    <a:pt x="27241" y="15036"/>
                  </a:lnTo>
                  <a:lnTo>
                    <a:pt x="27889" y="15557"/>
                  </a:lnTo>
                  <a:lnTo>
                    <a:pt x="22110" y="19596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8" name="object 240">
              <a:extLst>
                <a:ext uri="{FF2B5EF4-FFF2-40B4-BE49-F238E27FC236}">
                  <a16:creationId xmlns:a16="http://schemas.microsoft.com/office/drawing/2014/main" id="{ABE600D6-A108-4306-A626-4A2480A11035}"/>
                </a:ext>
              </a:extLst>
            </p:cNvPr>
            <p:cNvSpPr/>
            <p:nvPr/>
          </p:nvSpPr>
          <p:spPr>
            <a:xfrm>
              <a:off x="8182840" y="6242145"/>
              <a:ext cx="26670" cy="24130"/>
            </a:xfrm>
            <a:custGeom>
              <a:avLst/>
              <a:gdLst/>
              <a:ahLst/>
              <a:cxnLst/>
              <a:rect l="l" t="t" r="r" b="b"/>
              <a:pathLst>
                <a:path w="26670" h="24129">
                  <a:moveTo>
                    <a:pt x="21843" y="0"/>
                  </a:moveTo>
                  <a:lnTo>
                    <a:pt x="20802" y="203"/>
                  </a:lnTo>
                  <a:lnTo>
                    <a:pt x="20840" y="1943"/>
                  </a:lnTo>
                  <a:lnTo>
                    <a:pt x="20446" y="2603"/>
                  </a:lnTo>
                  <a:lnTo>
                    <a:pt x="10502" y="11607"/>
                  </a:lnTo>
                  <a:lnTo>
                    <a:pt x="1892" y="13246"/>
                  </a:lnTo>
                  <a:lnTo>
                    <a:pt x="1638" y="12217"/>
                  </a:lnTo>
                  <a:lnTo>
                    <a:pt x="1028" y="10223"/>
                  </a:lnTo>
                  <a:lnTo>
                    <a:pt x="0" y="10413"/>
                  </a:lnTo>
                  <a:lnTo>
                    <a:pt x="2133" y="21729"/>
                  </a:lnTo>
                  <a:lnTo>
                    <a:pt x="3174" y="21526"/>
                  </a:lnTo>
                  <a:lnTo>
                    <a:pt x="2717" y="19138"/>
                  </a:lnTo>
                  <a:lnTo>
                    <a:pt x="3441" y="18326"/>
                  </a:lnTo>
                  <a:lnTo>
                    <a:pt x="25311" y="23939"/>
                  </a:lnTo>
                  <a:lnTo>
                    <a:pt x="26339" y="23748"/>
                  </a:lnTo>
                  <a:lnTo>
                    <a:pt x="24739" y="15303"/>
                  </a:lnTo>
                  <a:lnTo>
                    <a:pt x="23698" y="15493"/>
                  </a:lnTo>
                  <a:lnTo>
                    <a:pt x="23787" y="16611"/>
                  </a:lnTo>
                  <a:lnTo>
                    <a:pt x="24002" y="18072"/>
                  </a:lnTo>
                  <a:lnTo>
                    <a:pt x="21856" y="18478"/>
                  </a:lnTo>
                  <a:lnTo>
                    <a:pt x="21031" y="18211"/>
                  </a:lnTo>
                  <a:lnTo>
                    <a:pt x="13842" y="15481"/>
                  </a:lnTo>
                  <a:lnTo>
                    <a:pt x="20751" y="9347"/>
                  </a:lnTo>
                  <a:lnTo>
                    <a:pt x="22034" y="9105"/>
                  </a:lnTo>
                  <a:lnTo>
                    <a:pt x="22428" y="9486"/>
                  </a:lnTo>
                  <a:lnTo>
                    <a:pt x="22859" y="11061"/>
                  </a:lnTo>
                  <a:lnTo>
                    <a:pt x="23901" y="10871"/>
                  </a:lnTo>
                  <a:lnTo>
                    <a:pt x="21843" y="0"/>
                  </a:lnTo>
                  <a:close/>
                </a:path>
              </a:pathLst>
            </a:custGeom>
            <a:solidFill>
              <a:srgbClr val="A386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49" name="object 241">
              <a:extLst>
                <a:ext uri="{FF2B5EF4-FFF2-40B4-BE49-F238E27FC236}">
                  <a16:creationId xmlns:a16="http://schemas.microsoft.com/office/drawing/2014/main" id="{6FCB15A9-0862-4B03-8296-9E3F08BE1639}"/>
                </a:ext>
              </a:extLst>
            </p:cNvPr>
            <p:cNvSpPr/>
            <p:nvPr/>
          </p:nvSpPr>
          <p:spPr>
            <a:xfrm>
              <a:off x="8182840" y="6242145"/>
              <a:ext cx="26670" cy="24130"/>
            </a:xfrm>
            <a:custGeom>
              <a:avLst/>
              <a:gdLst/>
              <a:ahLst/>
              <a:cxnLst/>
              <a:rect l="l" t="t" r="r" b="b"/>
              <a:pathLst>
                <a:path w="26670" h="24129">
                  <a:moveTo>
                    <a:pt x="23901" y="10871"/>
                  </a:moveTo>
                  <a:lnTo>
                    <a:pt x="22859" y="11061"/>
                  </a:lnTo>
                  <a:lnTo>
                    <a:pt x="22428" y="9486"/>
                  </a:lnTo>
                  <a:lnTo>
                    <a:pt x="22034" y="9105"/>
                  </a:lnTo>
                  <a:lnTo>
                    <a:pt x="21310" y="9245"/>
                  </a:lnTo>
                  <a:lnTo>
                    <a:pt x="20751" y="9347"/>
                  </a:lnTo>
                  <a:lnTo>
                    <a:pt x="20421" y="9639"/>
                  </a:lnTo>
                  <a:lnTo>
                    <a:pt x="20027" y="10007"/>
                  </a:lnTo>
                  <a:lnTo>
                    <a:pt x="13842" y="15481"/>
                  </a:lnTo>
                  <a:lnTo>
                    <a:pt x="20434" y="17970"/>
                  </a:lnTo>
                  <a:lnTo>
                    <a:pt x="21031" y="18211"/>
                  </a:lnTo>
                  <a:lnTo>
                    <a:pt x="21856" y="18478"/>
                  </a:lnTo>
                  <a:lnTo>
                    <a:pt x="22517" y="18364"/>
                  </a:lnTo>
                  <a:lnTo>
                    <a:pt x="24002" y="18072"/>
                  </a:lnTo>
                  <a:lnTo>
                    <a:pt x="23787" y="16611"/>
                  </a:lnTo>
                  <a:lnTo>
                    <a:pt x="23698" y="15493"/>
                  </a:lnTo>
                  <a:lnTo>
                    <a:pt x="24739" y="15303"/>
                  </a:lnTo>
                  <a:lnTo>
                    <a:pt x="26339" y="23748"/>
                  </a:lnTo>
                  <a:lnTo>
                    <a:pt x="25311" y="23939"/>
                  </a:lnTo>
                  <a:lnTo>
                    <a:pt x="24625" y="21729"/>
                  </a:lnTo>
                  <a:lnTo>
                    <a:pt x="23621" y="21107"/>
                  </a:lnTo>
                  <a:lnTo>
                    <a:pt x="21602" y="20218"/>
                  </a:lnTo>
                  <a:lnTo>
                    <a:pt x="20789" y="19888"/>
                  </a:lnTo>
                  <a:lnTo>
                    <a:pt x="12484" y="16573"/>
                  </a:lnTo>
                  <a:lnTo>
                    <a:pt x="5473" y="17906"/>
                  </a:lnTo>
                  <a:lnTo>
                    <a:pt x="3441" y="18326"/>
                  </a:lnTo>
                  <a:lnTo>
                    <a:pt x="2717" y="19138"/>
                  </a:lnTo>
                  <a:lnTo>
                    <a:pt x="3174" y="21526"/>
                  </a:lnTo>
                  <a:lnTo>
                    <a:pt x="2133" y="21729"/>
                  </a:lnTo>
                  <a:lnTo>
                    <a:pt x="0" y="10413"/>
                  </a:lnTo>
                  <a:lnTo>
                    <a:pt x="1028" y="10223"/>
                  </a:lnTo>
                  <a:lnTo>
                    <a:pt x="1638" y="12217"/>
                  </a:lnTo>
                  <a:lnTo>
                    <a:pt x="1892" y="13246"/>
                  </a:lnTo>
                  <a:lnTo>
                    <a:pt x="4508" y="12750"/>
                  </a:lnTo>
                  <a:lnTo>
                    <a:pt x="10502" y="11607"/>
                  </a:lnTo>
                  <a:lnTo>
                    <a:pt x="19138" y="3771"/>
                  </a:lnTo>
                  <a:lnTo>
                    <a:pt x="20446" y="2603"/>
                  </a:lnTo>
                  <a:lnTo>
                    <a:pt x="20840" y="1943"/>
                  </a:lnTo>
                  <a:lnTo>
                    <a:pt x="20802" y="203"/>
                  </a:lnTo>
                  <a:lnTo>
                    <a:pt x="21843" y="0"/>
                  </a:lnTo>
                  <a:lnTo>
                    <a:pt x="23901" y="10871"/>
                  </a:lnTo>
                  <a:close/>
                </a:path>
              </a:pathLst>
            </a:custGeom>
            <a:ln w="3175">
              <a:solidFill>
                <a:srgbClr val="A3862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0" name="object 242">
              <a:extLst>
                <a:ext uri="{FF2B5EF4-FFF2-40B4-BE49-F238E27FC236}">
                  <a16:creationId xmlns:a16="http://schemas.microsoft.com/office/drawing/2014/main" id="{DD49E47A-E98D-4B18-BF9B-CA4AD501F3FD}"/>
                </a:ext>
              </a:extLst>
            </p:cNvPr>
            <p:cNvSpPr/>
            <p:nvPr/>
          </p:nvSpPr>
          <p:spPr>
            <a:xfrm>
              <a:off x="7875981" y="6117200"/>
              <a:ext cx="188595" cy="149225"/>
            </a:xfrm>
            <a:custGeom>
              <a:avLst/>
              <a:gdLst/>
              <a:ahLst/>
              <a:cxnLst/>
              <a:rect l="l" t="t" r="r" b="b"/>
              <a:pathLst>
                <a:path w="188595" h="149225">
                  <a:moveTo>
                    <a:pt x="25895" y="134327"/>
                  </a:moveTo>
                  <a:lnTo>
                    <a:pt x="24942" y="128435"/>
                  </a:lnTo>
                  <a:lnTo>
                    <a:pt x="24853" y="133985"/>
                  </a:lnTo>
                  <a:lnTo>
                    <a:pt x="24015" y="137883"/>
                  </a:lnTo>
                  <a:lnTo>
                    <a:pt x="23418" y="140639"/>
                  </a:lnTo>
                  <a:lnTo>
                    <a:pt x="2984" y="136232"/>
                  </a:lnTo>
                  <a:lnTo>
                    <a:pt x="4419" y="129578"/>
                  </a:lnTo>
                  <a:lnTo>
                    <a:pt x="7010" y="127088"/>
                  </a:lnTo>
                  <a:lnTo>
                    <a:pt x="23291" y="130606"/>
                  </a:lnTo>
                  <a:lnTo>
                    <a:pt x="24853" y="133985"/>
                  </a:lnTo>
                  <a:lnTo>
                    <a:pt x="24853" y="128333"/>
                  </a:lnTo>
                  <a:lnTo>
                    <a:pt x="23837" y="127088"/>
                  </a:lnTo>
                  <a:lnTo>
                    <a:pt x="21780" y="124587"/>
                  </a:lnTo>
                  <a:lnTo>
                    <a:pt x="11150" y="122288"/>
                  </a:lnTo>
                  <a:lnTo>
                    <a:pt x="6794" y="124434"/>
                  </a:lnTo>
                  <a:lnTo>
                    <a:pt x="3352" y="129603"/>
                  </a:lnTo>
                  <a:lnTo>
                    <a:pt x="2768" y="131318"/>
                  </a:lnTo>
                  <a:lnTo>
                    <a:pt x="0" y="144132"/>
                  </a:lnTo>
                  <a:lnTo>
                    <a:pt x="1041" y="144348"/>
                  </a:lnTo>
                  <a:lnTo>
                    <a:pt x="1524" y="142100"/>
                  </a:lnTo>
                  <a:lnTo>
                    <a:pt x="2374" y="141465"/>
                  </a:lnTo>
                  <a:lnTo>
                    <a:pt x="21818" y="145656"/>
                  </a:lnTo>
                  <a:lnTo>
                    <a:pt x="22339" y="146583"/>
                  </a:lnTo>
                  <a:lnTo>
                    <a:pt x="21856" y="148844"/>
                  </a:lnTo>
                  <a:lnTo>
                    <a:pt x="22885" y="149059"/>
                  </a:lnTo>
                  <a:lnTo>
                    <a:pt x="24523" y="141465"/>
                  </a:lnTo>
                  <a:lnTo>
                    <a:pt x="24701" y="140639"/>
                  </a:lnTo>
                  <a:lnTo>
                    <a:pt x="25222" y="138176"/>
                  </a:lnTo>
                  <a:lnTo>
                    <a:pt x="25654" y="136182"/>
                  </a:lnTo>
                  <a:lnTo>
                    <a:pt x="25895" y="134327"/>
                  </a:lnTo>
                  <a:close/>
                </a:path>
                <a:path w="188595" h="149225">
                  <a:moveTo>
                    <a:pt x="34277" y="109283"/>
                  </a:moveTo>
                  <a:lnTo>
                    <a:pt x="29540" y="104965"/>
                  </a:lnTo>
                  <a:lnTo>
                    <a:pt x="28816" y="105613"/>
                  </a:lnTo>
                  <a:lnTo>
                    <a:pt x="30670" y="108978"/>
                  </a:lnTo>
                  <a:lnTo>
                    <a:pt x="31521" y="113080"/>
                  </a:lnTo>
                  <a:lnTo>
                    <a:pt x="29349" y="118922"/>
                  </a:lnTo>
                  <a:lnTo>
                    <a:pt x="28117" y="118668"/>
                  </a:lnTo>
                  <a:lnTo>
                    <a:pt x="20053" y="115658"/>
                  </a:lnTo>
                  <a:lnTo>
                    <a:pt x="21399" y="112064"/>
                  </a:lnTo>
                  <a:lnTo>
                    <a:pt x="22656" y="110794"/>
                  </a:lnTo>
                  <a:lnTo>
                    <a:pt x="25984" y="111112"/>
                  </a:lnTo>
                  <a:lnTo>
                    <a:pt x="26416" y="109943"/>
                  </a:lnTo>
                  <a:lnTo>
                    <a:pt x="17754" y="106718"/>
                  </a:lnTo>
                  <a:lnTo>
                    <a:pt x="17322" y="107886"/>
                  </a:lnTo>
                  <a:lnTo>
                    <a:pt x="19977" y="110032"/>
                  </a:lnTo>
                  <a:lnTo>
                    <a:pt x="19989" y="111544"/>
                  </a:lnTo>
                  <a:lnTo>
                    <a:pt x="18643" y="115125"/>
                  </a:lnTo>
                  <a:lnTo>
                    <a:pt x="9690" y="111785"/>
                  </a:lnTo>
                  <a:lnTo>
                    <a:pt x="11963" y="105714"/>
                  </a:lnTo>
                  <a:lnTo>
                    <a:pt x="15341" y="103416"/>
                  </a:lnTo>
                  <a:lnTo>
                    <a:pt x="18694" y="102387"/>
                  </a:lnTo>
                  <a:lnTo>
                    <a:pt x="18656" y="101307"/>
                  </a:lnTo>
                  <a:lnTo>
                    <a:pt x="12344" y="101104"/>
                  </a:lnTo>
                  <a:lnTo>
                    <a:pt x="5600" y="119176"/>
                  </a:lnTo>
                  <a:lnTo>
                    <a:pt x="6591" y="119545"/>
                  </a:lnTo>
                  <a:lnTo>
                    <a:pt x="7391" y="117386"/>
                  </a:lnTo>
                  <a:lnTo>
                    <a:pt x="8331" y="116878"/>
                  </a:lnTo>
                  <a:lnTo>
                    <a:pt x="26962" y="123837"/>
                  </a:lnTo>
                  <a:lnTo>
                    <a:pt x="27343" y="124828"/>
                  </a:lnTo>
                  <a:lnTo>
                    <a:pt x="26543" y="126987"/>
                  </a:lnTo>
                  <a:lnTo>
                    <a:pt x="27533" y="127355"/>
                  </a:lnTo>
                  <a:lnTo>
                    <a:pt x="34277" y="109283"/>
                  </a:lnTo>
                  <a:close/>
                </a:path>
                <a:path w="188595" h="149225">
                  <a:moveTo>
                    <a:pt x="41059" y="96481"/>
                  </a:moveTo>
                  <a:lnTo>
                    <a:pt x="40144" y="95961"/>
                  </a:lnTo>
                  <a:lnTo>
                    <a:pt x="39014" y="97967"/>
                  </a:lnTo>
                  <a:lnTo>
                    <a:pt x="38011" y="98310"/>
                  </a:lnTo>
                  <a:lnTo>
                    <a:pt x="30187" y="93903"/>
                  </a:lnTo>
                  <a:lnTo>
                    <a:pt x="28778" y="93103"/>
                  </a:lnTo>
                  <a:lnTo>
                    <a:pt x="20243" y="88277"/>
                  </a:lnTo>
                  <a:lnTo>
                    <a:pt x="22987" y="83413"/>
                  </a:lnTo>
                  <a:lnTo>
                    <a:pt x="25234" y="82499"/>
                  </a:lnTo>
                  <a:lnTo>
                    <a:pt x="31546" y="86080"/>
                  </a:lnTo>
                  <a:lnTo>
                    <a:pt x="31889" y="88328"/>
                  </a:lnTo>
                  <a:lnTo>
                    <a:pt x="29095" y="93281"/>
                  </a:lnTo>
                  <a:lnTo>
                    <a:pt x="30175" y="93891"/>
                  </a:lnTo>
                  <a:lnTo>
                    <a:pt x="33782" y="87515"/>
                  </a:lnTo>
                  <a:lnTo>
                    <a:pt x="35941" y="82499"/>
                  </a:lnTo>
                  <a:lnTo>
                    <a:pt x="36068" y="82232"/>
                  </a:lnTo>
                  <a:lnTo>
                    <a:pt x="28194" y="77787"/>
                  </a:lnTo>
                  <a:lnTo>
                    <a:pt x="24231" y="78676"/>
                  </a:lnTo>
                  <a:lnTo>
                    <a:pt x="15049" y="94932"/>
                  </a:lnTo>
                  <a:lnTo>
                    <a:pt x="15976" y="95453"/>
                  </a:lnTo>
                  <a:lnTo>
                    <a:pt x="17106" y="93446"/>
                  </a:lnTo>
                  <a:lnTo>
                    <a:pt x="18110" y="93103"/>
                  </a:lnTo>
                  <a:lnTo>
                    <a:pt x="35433" y="102882"/>
                  </a:lnTo>
                  <a:lnTo>
                    <a:pt x="35648" y="103924"/>
                  </a:lnTo>
                  <a:lnTo>
                    <a:pt x="34505" y="105930"/>
                  </a:lnTo>
                  <a:lnTo>
                    <a:pt x="35433" y="106438"/>
                  </a:lnTo>
                  <a:lnTo>
                    <a:pt x="40017" y="98310"/>
                  </a:lnTo>
                  <a:lnTo>
                    <a:pt x="41059" y="96481"/>
                  </a:lnTo>
                  <a:close/>
                </a:path>
                <a:path w="188595" h="149225">
                  <a:moveTo>
                    <a:pt x="57746" y="72186"/>
                  </a:moveTo>
                  <a:lnTo>
                    <a:pt x="56896" y="71564"/>
                  </a:lnTo>
                  <a:lnTo>
                    <a:pt x="55143" y="73837"/>
                  </a:lnTo>
                  <a:lnTo>
                    <a:pt x="53619" y="73113"/>
                  </a:lnTo>
                  <a:lnTo>
                    <a:pt x="49276" y="71602"/>
                  </a:lnTo>
                  <a:lnTo>
                    <a:pt x="32397" y="65735"/>
                  </a:lnTo>
                  <a:lnTo>
                    <a:pt x="30835" y="70370"/>
                  </a:lnTo>
                  <a:lnTo>
                    <a:pt x="42037" y="87617"/>
                  </a:lnTo>
                  <a:lnTo>
                    <a:pt x="42951" y="89077"/>
                  </a:lnTo>
                  <a:lnTo>
                    <a:pt x="41859" y="91960"/>
                  </a:lnTo>
                  <a:lnTo>
                    <a:pt x="42697" y="92595"/>
                  </a:lnTo>
                  <a:lnTo>
                    <a:pt x="46837" y="86995"/>
                  </a:lnTo>
                  <a:lnTo>
                    <a:pt x="47752" y="85750"/>
                  </a:lnTo>
                  <a:lnTo>
                    <a:pt x="46901" y="85128"/>
                  </a:lnTo>
                  <a:lnTo>
                    <a:pt x="45986" y="86194"/>
                  </a:lnTo>
                  <a:lnTo>
                    <a:pt x="44602" y="86995"/>
                  </a:lnTo>
                  <a:lnTo>
                    <a:pt x="42570" y="85509"/>
                  </a:lnTo>
                  <a:lnTo>
                    <a:pt x="40297" y="82169"/>
                  </a:lnTo>
                  <a:lnTo>
                    <a:pt x="39357" y="80594"/>
                  </a:lnTo>
                  <a:lnTo>
                    <a:pt x="33477" y="71602"/>
                  </a:lnTo>
                  <a:lnTo>
                    <a:pt x="43624" y="75120"/>
                  </a:lnTo>
                  <a:lnTo>
                    <a:pt x="39471" y="80759"/>
                  </a:lnTo>
                  <a:lnTo>
                    <a:pt x="40297" y="82169"/>
                  </a:lnTo>
                  <a:lnTo>
                    <a:pt x="45148" y="75603"/>
                  </a:lnTo>
                  <a:lnTo>
                    <a:pt x="50088" y="77343"/>
                  </a:lnTo>
                  <a:lnTo>
                    <a:pt x="51346" y="78282"/>
                  </a:lnTo>
                  <a:lnTo>
                    <a:pt x="51409" y="78905"/>
                  </a:lnTo>
                  <a:lnTo>
                    <a:pt x="50241" y="80594"/>
                  </a:lnTo>
                  <a:lnTo>
                    <a:pt x="51092" y="81216"/>
                  </a:lnTo>
                  <a:lnTo>
                    <a:pt x="55232" y="75603"/>
                  </a:lnTo>
                  <a:lnTo>
                    <a:pt x="56527" y="73837"/>
                  </a:lnTo>
                  <a:lnTo>
                    <a:pt x="57746" y="72186"/>
                  </a:lnTo>
                  <a:close/>
                </a:path>
                <a:path w="188595" h="149225">
                  <a:moveTo>
                    <a:pt x="77050" y="53949"/>
                  </a:moveTo>
                  <a:lnTo>
                    <a:pt x="76327" y="53187"/>
                  </a:lnTo>
                  <a:lnTo>
                    <a:pt x="74193" y="54914"/>
                  </a:lnTo>
                  <a:lnTo>
                    <a:pt x="69697" y="53441"/>
                  </a:lnTo>
                  <a:lnTo>
                    <a:pt x="64960" y="51701"/>
                  </a:lnTo>
                  <a:lnTo>
                    <a:pt x="64262" y="51422"/>
                  </a:lnTo>
                  <a:lnTo>
                    <a:pt x="63817" y="51244"/>
                  </a:lnTo>
                  <a:lnTo>
                    <a:pt x="62636" y="51422"/>
                  </a:lnTo>
                  <a:lnTo>
                    <a:pt x="64477" y="48907"/>
                  </a:lnTo>
                  <a:lnTo>
                    <a:pt x="65608" y="45567"/>
                  </a:lnTo>
                  <a:lnTo>
                    <a:pt x="64350" y="44221"/>
                  </a:lnTo>
                  <a:lnTo>
                    <a:pt x="61239" y="40932"/>
                  </a:lnTo>
                  <a:lnTo>
                    <a:pt x="61239" y="49060"/>
                  </a:lnTo>
                  <a:lnTo>
                    <a:pt x="61239" y="51422"/>
                  </a:lnTo>
                  <a:lnTo>
                    <a:pt x="57404" y="55016"/>
                  </a:lnTo>
                  <a:lnTo>
                    <a:pt x="56959" y="55435"/>
                  </a:lnTo>
                  <a:lnTo>
                    <a:pt x="54178" y="52463"/>
                  </a:lnTo>
                  <a:lnTo>
                    <a:pt x="51003" y="49060"/>
                  </a:lnTo>
                  <a:lnTo>
                    <a:pt x="50533" y="48437"/>
                  </a:lnTo>
                  <a:lnTo>
                    <a:pt x="54571" y="44653"/>
                  </a:lnTo>
                  <a:lnTo>
                    <a:pt x="56705" y="44221"/>
                  </a:lnTo>
                  <a:lnTo>
                    <a:pt x="61239" y="49060"/>
                  </a:lnTo>
                  <a:lnTo>
                    <a:pt x="61239" y="40932"/>
                  </a:lnTo>
                  <a:lnTo>
                    <a:pt x="60871" y="40538"/>
                  </a:lnTo>
                  <a:lnTo>
                    <a:pt x="57010" y="40665"/>
                  </a:lnTo>
                  <a:lnTo>
                    <a:pt x="43535" y="53301"/>
                  </a:lnTo>
                  <a:lnTo>
                    <a:pt x="44246" y="54076"/>
                  </a:lnTo>
                  <a:lnTo>
                    <a:pt x="45923" y="52501"/>
                  </a:lnTo>
                  <a:lnTo>
                    <a:pt x="46990" y="52463"/>
                  </a:lnTo>
                  <a:lnTo>
                    <a:pt x="60591" y="66967"/>
                  </a:lnTo>
                  <a:lnTo>
                    <a:pt x="60490" y="68021"/>
                  </a:lnTo>
                  <a:lnTo>
                    <a:pt x="58813" y="69608"/>
                  </a:lnTo>
                  <a:lnTo>
                    <a:pt x="59537" y="70370"/>
                  </a:lnTo>
                  <a:lnTo>
                    <a:pt x="66992" y="63385"/>
                  </a:lnTo>
                  <a:lnTo>
                    <a:pt x="67881" y="62547"/>
                  </a:lnTo>
                  <a:lnTo>
                    <a:pt x="67170" y="61772"/>
                  </a:lnTo>
                  <a:lnTo>
                    <a:pt x="65481" y="63347"/>
                  </a:lnTo>
                  <a:lnTo>
                    <a:pt x="64414" y="63385"/>
                  </a:lnTo>
                  <a:lnTo>
                    <a:pt x="57988" y="56527"/>
                  </a:lnTo>
                  <a:lnTo>
                    <a:pt x="58966" y="55613"/>
                  </a:lnTo>
                  <a:lnTo>
                    <a:pt x="60121" y="55003"/>
                  </a:lnTo>
                  <a:lnTo>
                    <a:pt x="68453" y="58331"/>
                  </a:lnTo>
                  <a:lnTo>
                    <a:pt x="69392" y="58674"/>
                  </a:lnTo>
                  <a:lnTo>
                    <a:pt x="70332" y="59118"/>
                  </a:lnTo>
                  <a:lnTo>
                    <a:pt x="71297" y="59359"/>
                  </a:lnTo>
                  <a:lnTo>
                    <a:pt x="75933" y="55003"/>
                  </a:lnTo>
                  <a:lnTo>
                    <a:pt x="77050" y="53949"/>
                  </a:lnTo>
                  <a:close/>
                </a:path>
                <a:path w="188595" h="149225">
                  <a:moveTo>
                    <a:pt x="87833" y="46202"/>
                  </a:moveTo>
                  <a:lnTo>
                    <a:pt x="87223" y="45339"/>
                  </a:lnTo>
                  <a:lnTo>
                    <a:pt x="85344" y="46659"/>
                  </a:lnTo>
                  <a:lnTo>
                    <a:pt x="84289" y="46545"/>
                  </a:lnTo>
                  <a:lnTo>
                    <a:pt x="72555" y="29857"/>
                  </a:lnTo>
                  <a:lnTo>
                    <a:pt x="75095" y="28155"/>
                  </a:lnTo>
                  <a:lnTo>
                    <a:pt x="79159" y="28968"/>
                  </a:lnTo>
                  <a:lnTo>
                    <a:pt x="81788" y="30048"/>
                  </a:lnTo>
                  <a:lnTo>
                    <a:pt x="82575" y="29108"/>
                  </a:lnTo>
                  <a:lnTo>
                    <a:pt x="77482" y="24866"/>
                  </a:lnTo>
                  <a:lnTo>
                    <a:pt x="61810" y="35890"/>
                  </a:lnTo>
                  <a:lnTo>
                    <a:pt x="64211" y="42024"/>
                  </a:lnTo>
                  <a:lnTo>
                    <a:pt x="65366" y="41605"/>
                  </a:lnTo>
                  <a:lnTo>
                    <a:pt x="65265" y="38506"/>
                  </a:lnTo>
                  <a:lnTo>
                    <a:pt x="65862" y="35039"/>
                  </a:lnTo>
                  <a:lnTo>
                    <a:pt x="68262" y="32880"/>
                  </a:lnTo>
                  <a:lnTo>
                    <a:pt x="79997" y="49568"/>
                  </a:lnTo>
                  <a:lnTo>
                    <a:pt x="79743" y="50596"/>
                  </a:lnTo>
                  <a:lnTo>
                    <a:pt x="77863" y="51930"/>
                  </a:lnTo>
                  <a:lnTo>
                    <a:pt x="78473" y="52793"/>
                  </a:lnTo>
                  <a:lnTo>
                    <a:pt x="87833" y="46202"/>
                  </a:lnTo>
                  <a:close/>
                </a:path>
                <a:path w="188595" h="149225">
                  <a:moveTo>
                    <a:pt x="116357" y="31864"/>
                  </a:moveTo>
                  <a:lnTo>
                    <a:pt x="115900" y="30924"/>
                  </a:lnTo>
                  <a:lnTo>
                    <a:pt x="113830" y="31927"/>
                  </a:lnTo>
                  <a:lnTo>
                    <a:pt x="112801" y="31648"/>
                  </a:lnTo>
                  <a:lnTo>
                    <a:pt x="111823" y="29629"/>
                  </a:lnTo>
                  <a:lnTo>
                    <a:pt x="104025" y="13589"/>
                  </a:lnTo>
                  <a:lnTo>
                    <a:pt x="104597" y="12915"/>
                  </a:lnTo>
                  <a:lnTo>
                    <a:pt x="106591" y="11760"/>
                  </a:lnTo>
                  <a:lnTo>
                    <a:pt x="106133" y="10820"/>
                  </a:lnTo>
                  <a:lnTo>
                    <a:pt x="97929" y="14795"/>
                  </a:lnTo>
                  <a:lnTo>
                    <a:pt x="99631" y="30289"/>
                  </a:lnTo>
                  <a:lnTo>
                    <a:pt x="88620" y="19329"/>
                  </a:lnTo>
                  <a:lnTo>
                    <a:pt x="80187" y="23418"/>
                  </a:lnTo>
                  <a:lnTo>
                    <a:pt x="80657" y="24371"/>
                  </a:lnTo>
                  <a:lnTo>
                    <a:pt x="82575" y="23431"/>
                  </a:lnTo>
                  <a:lnTo>
                    <a:pt x="83680" y="23507"/>
                  </a:lnTo>
                  <a:lnTo>
                    <a:pt x="92354" y="41363"/>
                  </a:lnTo>
                  <a:lnTo>
                    <a:pt x="92075" y="41884"/>
                  </a:lnTo>
                  <a:lnTo>
                    <a:pt x="89789" y="43611"/>
                  </a:lnTo>
                  <a:lnTo>
                    <a:pt x="90246" y="44551"/>
                  </a:lnTo>
                  <a:lnTo>
                    <a:pt x="97523" y="41021"/>
                  </a:lnTo>
                  <a:lnTo>
                    <a:pt x="97053" y="40068"/>
                  </a:lnTo>
                  <a:lnTo>
                    <a:pt x="94373" y="41059"/>
                  </a:lnTo>
                  <a:lnTo>
                    <a:pt x="93840" y="40601"/>
                  </a:lnTo>
                  <a:lnTo>
                    <a:pt x="85915" y="24307"/>
                  </a:lnTo>
                  <a:lnTo>
                    <a:pt x="101295" y="39192"/>
                  </a:lnTo>
                  <a:lnTo>
                    <a:pt x="102323" y="38684"/>
                  </a:lnTo>
                  <a:lnTo>
                    <a:pt x="99720" y="16878"/>
                  </a:lnTo>
                  <a:lnTo>
                    <a:pt x="108089" y="33934"/>
                  </a:lnTo>
                  <a:lnTo>
                    <a:pt x="107670" y="34912"/>
                  </a:lnTo>
                  <a:lnTo>
                    <a:pt x="105600" y="35928"/>
                  </a:lnTo>
                  <a:lnTo>
                    <a:pt x="106070" y="36868"/>
                  </a:lnTo>
                  <a:lnTo>
                    <a:pt x="116357" y="31864"/>
                  </a:lnTo>
                  <a:close/>
                </a:path>
                <a:path w="188595" h="149225">
                  <a:moveTo>
                    <a:pt x="139306" y="19532"/>
                  </a:moveTo>
                  <a:lnTo>
                    <a:pt x="138353" y="19316"/>
                  </a:lnTo>
                  <a:lnTo>
                    <a:pt x="136664" y="22758"/>
                  </a:lnTo>
                  <a:lnTo>
                    <a:pt x="133794" y="25806"/>
                  </a:lnTo>
                  <a:lnTo>
                    <a:pt x="127749" y="27368"/>
                  </a:lnTo>
                  <a:lnTo>
                    <a:pt x="127254" y="26200"/>
                  </a:lnTo>
                  <a:lnTo>
                    <a:pt x="125107" y="17868"/>
                  </a:lnTo>
                  <a:lnTo>
                    <a:pt x="128828" y="16916"/>
                  </a:lnTo>
                  <a:lnTo>
                    <a:pt x="130594" y="17221"/>
                  </a:lnTo>
                  <a:lnTo>
                    <a:pt x="132232" y="20142"/>
                  </a:lnTo>
                  <a:lnTo>
                    <a:pt x="133438" y="19824"/>
                  </a:lnTo>
                  <a:lnTo>
                    <a:pt x="131140" y="10871"/>
                  </a:lnTo>
                  <a:lnTo>
                    <a:pt x="129933" y="11188"/>
                  </a:lnTo>
                  <a:lnTo>
                    <a:pt x="129679" y="14579"/>
                  </a:lnTo>
                  <a:lnTo>
                    <a:pt x="128460" y="15455"/>
                  </a:lnTo>
                  <a:lnTo>
                    <a:pt x="124739" y="16421"/>
                  </a:lnTo>
                  <a:lnTo>
                    <a:pt x="122351" y="7162"/>
                  </a:lnTo>
                  <a:lnTo>
                    <a:pt x="128638" y="5537"/>
                  </a:lnTo>
                  <a:lnTo>
                    <a:pt x="132448" y="7010"/>
                  </a:lnTo>
                  <a:lnTo>
                    <a:pt x="135216" y="9156"/>
                  </a:lnTo>
                  <a:lnTo>
                    <a:pt x="136067" y="8509"/>
                  </a:lnTo>
                  <a:lnTo>
                    <a:pt x="132626" y="3225"/>
                  </a:lnTo>
                  <a:lnTo>
                    <a:pt x="113957" y="8026"/>
                  </a:lnTo>
                  <a:lnTo>
                    <a:pt x="114223" y="9055"/>
                  </a:lnTo>
                  <a:lnTo>
                    <a:pt x="116459" y="8483"/>
                  </a:lnTo>
                  <a:lnTo>
                    <a:pt x="117398" y="8966"/>
                  </a:lnTo>
                  <a:lnTo>
                    <a:pt x="122364" y="28219"/>
                  </a:lnTo>
                  <a:lnTo>
                    <a:pt x="121767" y="29095"/>
                  </a:lnTo>
                  <a:lnTo>
                    <a:pt x="119532" y="29679"/>
                  </a:lnTo>
                  <a:lnTo>
                    <a:pt x="119799" y="30695"/>
                  </a:lnTo>
                  <a:lnTo>
                    <a:pt x="138468" y="25895"/>
                  </a:lnTo>
                  <a:lnTo>
                    <a:pt x="139306" y="19532"/>
                  </a:lnTo>
                  <a:close/>
                </a:path>
                <a:path w="188595" h="149225">
                  <a:moveTo>
                    <a:pt x="164134" y="1041"/>
                  </a:moveTo>
                  <a:lnTo>
                    <a:pt x="164045" y="0"/>
                  </a:lnTo>
                  <a:lnTo>
                    <a:pt x="155663" y="698"/>
                  </a:lnTo>
                  <a:lnTo>
                    <a:pt x="155752" y="1752"/>
                  </a:lnTo>
                  <a:lnTo>
                    <a:pt x="158927" y="1778"/>
                  </a:lnTo>
                  <a:lnTo>
                    <a:pt x="159308" y="3276"/>
                  </a:lnTo>
                  <a:lnTo>
                    <a:pt x="160439" y="16637"/>
                  </a:lnTo>
                  <a:lnTo>
                    <a:pt x="147815" y="1358"/>
                  </a:lnTo>
                  <a:lnTo>
                    <a:pt x="139738" y="2044"/>
                  </a:lnTo>
                  <a:lnTo>
                    <a:pt x="139814" y="3098"/>
                  </a:lnTo>
                  <a:lnTo>
                    <a:pt x="141236" y="3263"/>
                  </a:lnTo>
                  <a:lnTo>
                    <a:pt x="142646" y="3949"/>
                  </a:lnTo>
                  <a:lnTo>
                    <a:pt x="143637" y="4991"/>
                  </a:lnTo>
                  <a:lnTo>
                    <a:pt x="145122" y="22580"/>
                  </a:lnTo>
                  <a:lnTo>
                    <a:pt x="144627" y="23583"/>
                  </a:lnTo>
                  <a:lnTo>
                    <a:pt x="141605" y="24320"/>
                  </a:lnTo>
                  <a:lnTo>
                    <a:pt x="141693" y="25374"/>
                  </a:lnTo>
                  <a:lnTo>
                    <a:pt x="150710" y="24612"/>
                  </a:lnTo>
                  <a:lnTo>
                    <a:pt x="150622" y="23558"/>
                  </a:lnTo>
                  <a:lnTo>
                    <a:pt x="147218" y="23139"/>
                  </a:lnTo>
                  <a:lnTo>
                    <a:pt x="146786" y="22504"/>
                  </a:lnTo>
                  <a:lnTo>
                    <a:pt x="145453" y="6794"/>
                  </a:lnTo>
                  <a:lnTo>
                    <a:pt x="159791" y="23850"/>
                  </a:lnTo>
                  <a:lnTo>
                    <a:pt x="162699" y="23596"/>
                  </a:lnTo>
                  <a:lnTo>
                    <a:pt x="160959" y="3048"/>
                  </a:lnTo>
                  <a:lnTo>
                    <a:pt x="161150" y="1816"/>
                  </a:lnTo>
                  <a:lnTo>
                    <a:pt x="164134" y="1041"/>
                  </a:lnTo>
                  <a:close/>
                </a:path>
                <a:path w="188595" h="149225">
                  <a:moveTo>
                    <a:pt x="188150" y="7937"/>
                  </a:moveTo>
                  <a:lnTo>
                    <a:pt x="186855" y="1447"/>
                  </a:lnTo>
                  <a:lnTo>
                    <a:pt x="167741" y="165"/>
                  </a:lnTo>
                  <a:lnTo>
                    <a:pt x="165760" y="6438"/>
                  </a:lnTo>
                  <a:lnTo>
                    <a:pt x="166916" y="6845"/>
                  </a:lnTo>
                  <a:lnTo>
                    <a:pt x="168783" y="4368"/>
                  </a:lnTo>
                  <a:lnTo>
                    <a:pt x="171437" y="2044"/>
                  </a:lnTo>
                  <a:lnTo>
                    <a:pt x="174650" y="1879"/>
                  </a:lnTo>
                  <a:lnTo>
                    <a:pt x="173291" y="22225"/>
                  </a:lnTo>
                  <a:lnTo>
                    <a:pt x="172440" y="22872"/>
                  </a:lnTo>
                  <a:lnTo>
                    <a:pt x="170141" y="22720"/>
                  </a:lnTo>
                  <a:lnTo>
                    <a:pt x="170078" y="23774"/>
                  </a:lnTo>
                  <a:lnTo>
                    <a:pt x="181495" y="24536"/>
                  </a:lnTo>
                  <a:lnTo>
                    <a:pt x="181559" y="23495"/>
                  </a:lnTo>
                  <a:lnTo>
                    <a:pt x="179273" y="23329"/>
                  </a:lnTo>
                  <a:lnTo>
                    <a:pt x="178523" y="22580"/>
                  </a:lnTo>
                  <a:lnTo>
                    <a:pt x="179882" y="2222"/>
                  </a:lnTo>
                  <a:lnTo>
                    <a:pt x="182943" y="2501"/>
                  </a:lnTo>
                  <a:lnTo>
                    <a:pt x="185572" y="5676"/>
                  </a:lnTo>
                  <a:lnTo>
                    <a:pt x="186956" y="8178"/>
                  </a:lnTo>
                  <a:lnTo>
                    <a:pt x="188150" y="7937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1" name="object 243">
              <a:extLst>
                <a:ext uri="{FF2B5EF4-FFF2-40B4-BE49-F238E27FC236}">
                  <a16:creationId xmlns:a16="http://schemas.microsoft.com/office/drawing/2014/main" id="{C9C614E9-FD9A-44E1-9A34-D3000C86F942}"/>
                </a:ext>
              </a:extLst>
            </p:cNvPr>
            <p:cNvSpPr/>
            <p:nvPr/>
          </p:nvSpPr>
          <p:spPr>
            <a:xfrm>
              <a:off x="8069377" y="6120883"/>
              <a:ext cx="47625" cy="33020"/>
            </a:xfrm>
            <a:custGeom>
              <a:avLst/>
              <a:gdLst/>
              <a:ahLst/>
              <a:cxnLst/>
              <a:rect l="l" t="t" r="r" b="b"/>
              <a:pathLst>
                <a:path w="47625" h="33020">
                  <a:moveTo>
                    <a:pt x="26136" y="9677"/>
                  </a:moveTo>
                  <a:lnTo>
                    <a:pt x="23101" y="3695"/>
                  </a:lnTo>
                  <a:lnTo>
                    <a:pt x="21005" y="3136"/>
                  </a:lnTo>
                  <a:lnTo>
                    <a:pt x="21005" y="7315"/>
                  </a:lnTo>
                  <a:lnTo>
                    <a:pt x="17741" y="19481"/>
                  </a:lnTo>
                  <a:lnTo>
                    <a:pt x="15544" y="25819"/>
                  </a:lnTo>
                  <a:lnTo>
                    <a:pt x="9931" y="24307"/>
                  </a:lnTo>
                  <a:lnTo>
                    <a:pt x="6591" y="23418"/>
                  </a:lnTo>
                  <a:lnTo>
                    <a:pt x="5194" y="19900"/>
                  </a:lnTo>
                  <a:lnTo>
                    <a:pt x="9271" y="4660"/>
                  </a:lnTo>
                  <a:lnTo>
                    <a:pt x="12458" y="2146"/>
                  </a:lnTo>
                  <a:lnTo>
                    <a:pt x="19316" y="3975"/>
                  </a:lnTo>
                  <a:lnTo>
                    <a:pt x="21005" y="7315"/>
                  </a:lnTo>
                  <a:lnTo>
                    <a:pt x="21005" y="3136"/>
                  </a:lnTo>
                  <a:lnTo>
                    <a:pt x="17297" y="2146"/>
                  </a:lnTo>
                  <a:lnTo>
                    <a:pt x="9258" y="0"/>
                  </a:lnTo>
                  <a:lnTo>
                    <a:pt x="3581" y="4394"/>
                  </a:lnTo>
                  <a:lnTo>
                    <a:pt x="0" y="17780"/>
                  </a:lnTo>
                  <a:lnTo>
                    <a:pt x="3035" y="23749"/>
                  </a:lnTo>
                  <a:lnTo>
                    <a:pt x="9766" y="25552"/>
                  </a:lnTo>
                  <a:lnTo>
                    <a:pt x="16865" y="27457"/>
                  </a:lnTo>
                  <a:lnTo>
                    <a:pt x="18872" y="25819"/>
                  </a:lnTo>
                  <a:lnTo>
                    <a:pt x="22631" y="22745"/>
                  </a:lnTo>
                  <a:lnTo>
                    <a:pt x="26136" y="9677"/>
                  </a:lnTo>
                  <a:close/>
                </a:path>
                <a:path w="47625" h="33020">
                  <a:moveTo>
                    <a:pt x="47332" y="13970"/>
                  </a:moveTo>
                  <a:lnTo>
                    <a:pt x="29870" y="6489"/>
                  </a:lnTo>
                  <a:lnTo>
                    <a:pt x="29464" y="7454"/>
                  </a:lnTo>
                  <a:lnTo>
                    <a:pt x="31572" y="8356"/>
                  </a:lnTo>
                  <a:lnTo>
                    <a:pt x="32029" y="9321"/>
                  </a:lnTo>
                  <a:lnTo>
                    <a:pt x="24193" y="27609"/>
                  </a:lnTo>
                  <a:lnTo>
                    <a:pt x="23190" y="27940"/>
                  </a:lnTo>
                  <a:lnTo>
                    <a:pt x="21069" y="27025"/>
                  </a:lnTo>
                  <a:lnTo>
                    <a:pt x="20650" y="28003"/>
                  </a:lnTo>
                  <a:lnTo>
                    <a:pt x="31203" y="32524"/>
                  </a:lnTo>
                  <a:lnTo>
                    <a:pt x="31623" y="31559"/>
                  </a:lnTo>
                  <a:lnTo>
                    <a:pt x="29502" y="30645"/>
                  </a:lnTo>
                  <a:lnTo>
                    <a:pt x="29019" y="29667"/>
                  </a:lnTo>
                  <a:lnTo>
                    <a:pt x="32740" y="21005"/>
                  </a:lnTo>
                  <a:lnTo>
                    <a:pt x="36639" y="22682"/>
                  </a:lnTo>
                  <a:lnTo>
                    <a:pt x="37604" y="24333"/>
                  </a:lnTo>
                  <a:lnTo>
                    <a:pt x="36766" y="27076"/>
                  </a:lnTo>
                  <a:lnTo>
                    <a:pt x="37922" y="27571"/>
                  </a:lnTo>
                  <a:lnTo>
                    <a:pt x="41579" y="19050"/>
                  </a:lnTo>
                  <a:lnTo>
                    <a:pt x="40424" y="18554"/>
                  </a:lnTo>
                  <a:lnTo>
                    <a:pt x="38722" y="20751"/>
                  </a:lnTo>
                  <a:lnTo>
                    <a:pt x="37236" y="21297"/>
                  </a:lnTo>
                  <a:lnTo>
                    <a:pt x="33324" y="19621"/>
                  </a:lnTo>
                  <a:lnTo>
                    <a:pt x="36855" y="11391"/>
                  </a:lnTo>
                  <a:lnTo>
                    <a:pt x="37223" y="10998"/>
                  </a:lnTo>
                  <a:lnTo>
                    <a:pt x="42760" y="13360"/>
                  </a:lnTo>
                  <a:lnTo>
                    <a:pt x="44767" y="16941"/>
                  </a:lnTo>
                  <a:lnTo>
                    <a:pt x="45377" y="20396"/>
                  </a:lnTo>
                  <a:lnTo>
                    <a:pt x="46545" y="20447"/>
                  </a:lnTo>
                  <a:lnTo>
                    <a:pt x="47332" y="13970"/>
                  </a:lnTo>
                  <a:close/>
                </a:path>
              </a:pathLst>
            </a:custGeom>
            <a:solidFill>
              <a:srgbClr val="FEE66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2" name="object 244">
              <a:extLst>
                <a:ext uri="{FF2B5EF4-FFF2-40B4-BE49-F238E27FC236}">
                  <a16:creationId xmlns:a16="http://schemas.microsoft.com/office/drawing/2014/main" id="{CEC7DDA5-869E-47AD-A4FA-25A0C58468F1}"/>
                </a:ext>
              </a:extLst>
            </p:cNvPr>
            <p:cNvSpPr/>
            <p:nvPr/>
          </p:nvSpPr>
          <p:spPr>
            <a:xfrm>
              <a:off x="7873746" y="6141698"/>
              <a:ext cx="335280" cy="167640"/>
            </a:xfrm>
            <a:custGeom>
              <a:avLst/>
              <a:gdLst/>
              <a:ahLst/>
              <a:cxnLst/>
              <a:rect l="l" t="t" r="r" b="b"/>
              <a:pathLst>
                <a:path w="335279" h="167640">
                  <a:moveTo>
                    <a:pt x="25387" y="167424"/>
                  </a:moveTo>
                  <a:lnTo>
                    <a:pt x="24739" y="159588"/>
                  </a:lnTo>
                  <a:lnTo>
                    <a:pt x="23698" y="159677"/>
                  </a:lnTo>
                  <a:lnTo>
                    <a:pt x="23876" y="161963"/>
                  </a:lnTo>
                  <a:lnTo>
                    <a:pt x="23241" y="162826"/>
                  </a:lnTo>
                  <a:lnTo>
                    <a:pt x="5168" y="164299"/>
                  </a:lnTo>
                  <a:lnTo>
                    <a:pt x="2222" y="163093"/>
                  </a:lnTo>
                  <a:lnTo>
                    <a:pt x="1562" y="155028"/>
                  </a:lnTo>
                  <a:lnTo>
                    <a:pt x="3098" y="153047"/>
                  </a:lnTo>
                  <a:lnTo>
                    <a:pt x="8877" y="152666"/>
                  </a:lnTo>
                  <a:lnTo>
                    <a:pt x="22326" y="151574"/>
                  </a:lnTo>
                  <a:lnTo>
                    <a:pt x="23088" y="152311"/>
                  </a:lnTo>
                  <a:lnTo>
                    <a:pt x="23279" y="154609"/>
                  </a:lnTo>
                  <a:lnTo>
                    <a:pt x="24320" y="154520"/>
                  </a:lnTo>
                  <a:lnTo>
                    <a:pt x="23393" y="143116"/>
                  </a:lnTo>
                  <a:lnTo>
                    <a:pt x="22352" y="143192"/>
                  </a:lnTo>
                  <a:lnTo>
                    <a:pt x="22529" y="145491"/>
                  </a:lnTo>
                  <a:lnTo>
                    <a:pt x="21894" y="146342"/>
                  </a:lnTo>
                  <a:lnTo>
                    <a:pt x="2616" y="147916"/>
                  </a:lnTo>
                  <a:lnTo>
                    <a:pt x="0" y="151307"/>
                  </a:lnTo>
                  <a:lnTo>
                    <a:pt x="1028" y="163868"/>
                  </a:lnTo>
                  <a:lnTo>
                    <a:pt x="4165" y="166052"/>
                  </a:lnTo>
                  <a:lnTo>
                    <a:pt x="23380" y="164477"/>
                  </a:lnTo>
                  <a:lnTo>
                    <a:pt x="24142" y="165214"/>
                  </a:lnTo>
                  <a:lnTo>
                    <a:pt x="24333" y="167513"/>
                  </a:lnTo>
                  <a:lnTo>
                    <a:pt x="25387" y="167424"/>
                  </a:lnTo>
                  <a:close/>
                </a:path>
                <a:path w="335279" h="167640">
                  <a:moveTo>
                    <a:pt x="271297" y="11049"/>
                  </a:moveTo>
                  <a:lnTo>
                    <a:pt x="255498" y="0"/>
                  </a:lnTo>
                  <a:lnTo>
                    <a:pt x="254889" y="863"/>
                  </a:lnTo>
                  <a:lnTo>
                    <a:pt x="256781" y="2184"/>
                  </a:lnTo>
                  <a:lnTo>
                    <a:pt x="257035" y="3213"/>
                  </a:lnTo>
                  <a:lnTo>
                    <a:pt x="245630" y="19519"/>
                  </a:lnTo>
                  <a:lnTo>
                    <a:pt x="244576" y="19634"/>
                  </a:lnTo>
                  <a:lnTo>
                    <a:pt x="242684" y="18313"/>
                  </a:lnTo>
                  <a:lnTo>
                    <a:pt x="242087" y="19177"/>
                  </a:lnTo>
                  <a:lnTo>
                    <a:pt x="257873" y="30226"/>
                  </a:lnTo>
                  <a:lnTo>
                    <a:pt x="263258" y="26733"/>
                  </a:lnTo>
                  <a:lnTo>
                    <a:pt x="262801" y="25869"/>
                  </a:lnTo>
                  <a:lnTo>
                    <a:pt x="259092" y="26822"/>
                  </a:lnTo>
                  <a:lnTo>
                    <a:pt x="254901" y="26619"/>
                  </a:lnTo>
                  <a:lnTo>
                    <a:pt x="249783" y="23050"/>
                  </a:lnTo>
                  <a:lnTo>
                    <a:pt x="250355" y="21920"/>
                  </a:lnTo>
                  <a:lnTo>
                    <a:pt x="255282" y="14871"/>
                  </a:lnTo>
                  <a:lnTo>
                    <a:pt x="258419" y="17068"/>
                  </a:lnTo>
                  <a:lnTo>
                    <a:pt x="259334" y="18605"/>
                  </a:lnTo>
                  <a:lnTo>
                    <a:pt x="258191" y="21755"/>
                  </a:lnTo>
                  <a:lnTo>
                    <a:pt x="259207" y="22466"/>
                  </a:lnTo>
                  <a:lnTo>
                    <a:pt x="264515" y="14884"/>
                  </a:lnTo>
                  <a:lnTo>
                    <a:pt x="263499" y="14173"/>
                  </a:lnTo>
                  <a:lnTo>
                    <a:pt x="260743" y="16192"/>
                  </a:lnTo>
                  <a:lnTo>
                    <a:pt x="259283" y="15836"/>
                  </a:lnTo>
                  <a:lnTo>
                    <a:pt x="256133" y="13639"/>
                  </a:lnTo>
                  <a:lnTo>
                    <a:pt x="261632" y="5803"/>
                  </a:lnTo>
                  <a:lnTo>
                    <a:pt x="266941" y="9525"/>
                  </a:lnTo>
                  <a:lnTo>
                    <a:pt x="268312" y="13373"/>
                  </a:lnTo>
                  <a:lnTo>
                    <a:pt x="268465" y="16878"/>
                  </a:lnTo>
                  <a:lnTo>
                    <a:pt x="269519" y="17106"/>
                  </a:lnTo>
                  <a:lnTo>
                    <a:pt x="271297" y="11049"/>
                  </a:lnTo>
                  <a:close/>
                </a:path>
                <a:path w="335279" h="167640">
                  <a:moveTo>
                    <a:pt x="294043" y="32156"/>
                  </a:moveTo>
                  <a:lnTo>
                    <a:pt x="288036" y="26276"/>
                  </a:lnTo>
                  <a:lnTo>
                    <a:pt x="287286" y="27025"/>
                  </a:lnTo>
                  <a:lnTo>
                    <a:pt x="289356" y="29438"/>
                  </a:lnTo>
                  <a:lnTo>
                    <a:pt x="288455" y="30721"/>
                  </a:lnTo>
                  <a:lnTo>
                    <a:pt x="279095" y="40297"/>
                  </a:lnTo>
                  <a:lnTo>
                    <a:pt x="282409" y="20764"/>
                  </a:lnTo>
                  <a:lnTo>
                    <a:pt x="276606" y="15087"/>
                  </a:lnTo>
                  <a:lnTo>
                    <a:pt x="275869" y="15849"/>
                  </a:lnTo>
                  <a:lnTo>
                    <a:pt x="276669" y="17030"/>
                  </a:lnTo>
                  <a:lnTo>
                    <a:pt x="277063" y="18542"/>
                  </a:lnTo>
                  <a:lnTo>
                    <a:pt x="276923" y="19964"/>
                  </a:lnTo>
                  <a:lnTo>
                    <a:pt x="264591" y="32588"/>
                  </a:lnTo>
                  <a:lnTo>
                    <a:pt x="263499" y="32867"/>
                  </a:lnTo>
                  <a:lnTo>
                    <a:pt x="260972" y="31064"/>
                  </a:lnTo>
                  <a:lnTo>
                    <a:pt x="260235" y="31826"/>
                  </a:lnTo>
                  <a:lnTo>
                    <a:pt x="266700" y="38150"/>
                  </a:lnTo>
                  <a:lnTo>
                    <a:pt x="267449" y="37388"/>
                  </a:lnTo>
                  <a:lnTo>
                    <a:pt x="265531" y="34544"/>
                  </a:lnTo>
                  <a:lnTo>
                    <a:pt x="265722" y="33794"/>
                  </a:lnTo>
                  <a:lnTo>
                    <a:pt x="276758" y="22529"/>
                  </a:lnTo>
                  <a:lnTo>
                    <a:pt x="273215" y="44526"/>
                  </a:lnTo>
                  <a:lnTo>
                    <a:pt x="275297" y="46558"/>
                  </a:lnTo>
                  <a:lnTo>
                    <a:pt x="289712" y="31813"/>
                  </a:lnTo>
                  <a:lnTo>
                    <a:pt x="290779" y="31140"/>
                  </a:lnTo>
                  <a:lnTo>
                    <a:pt x="293293" y="32905"/>
                  </a:lnTo>
                  <a:lnTo>
                    <a:pt x="294043" y="32156"/>
                  </a:lnTo>
                  <a:close/>
                </a:path>
                <a:path w="335279" h="167640">
                  <a:moveTo>
                    <a:pt x="307822" y="50431"/>
                  </a:moveTo>
                  <a:lnTo>
                    <a:pt x="296329" y="34963"/>
                  </a:lnTo>
                  <a:lnTo>
                    <a:pt x="295478" y="35598"/>
                  </a:lnTo>
                  <a:lnTo>
                    <a:pt x="296849" y="37439"/>
                  </a:lnTo>
                  <a:lnTo>
                    <a:pt x="296760" y="38506"/>
                  </a:lnTo>
                  <a:lnTo>
                    <a:pt x="280809" y="50368"/>
                  </a:lnTo>
                  <a:lnTo>
                    <a:pt x="279768" y="50152"/>
                  </a:lnTo>
                  <a:lnTo>
                    <a:pt x="278384" y="48298"/>
                  </a:lnTo>
                  <a:lnTo>
                    <a:pt x="277545" y="48933"/>
                  </a:lnTo>
                  <a:lnTo>
                    <a:pt x="289052" y="64401"/>
                  </a:lnTo>
                  <a:lnTo>
                    <a:pt x="295249" y="62776"/>
                  </a:lnTo>
                  <a:lnTo>
                    <a:pt x="295097" y="61823"/>
                  </a:lnTo>
                  <a:lnTo>
                    <a:pt x="291274" y="61556"/>
                  </a:lnTo>
                  <a:lnTo>
                    <a:pt x="287362" y="60045"/>
                  </a:lnTo>
                  <a:lnTo>
                    <a:pt x="283641" y="55041"/>
                  </a:lnTo>
                  <a:lnTo>
                    <a:pt x="284530" y="54140"/>
                  </a:lnTo>
                  <a:lnTo>
                    <a:pt x="291426" y="49009"/>
                  </a:lnTo>
                  <a:lnTo>
                    <a:pt x="293712" y="52082"/>
                  </a:lnTo>
                  <a:lnTo>
                    <a:pt x="294093" y="53835"/>
                  </a:lnTo>
                  <a:lnTo>
                    <a:pt x="292023" y="56451"/>
                  </a:lnTo>
                  <a:lnTo>
                    <a:pt x="292760" y="57454"/>
                  </a:lnTo>
                  <a:lnTo>
                    <a:pt x="300177" y="51943"/>
                  </a:lnTo>
                  <a:lnTo>
                    <a:pt x="299440" y="50939"/>
                  </a:lnTo>
                  <a:lnTo>
                    <a:pt x="296202" y="51993"/>
                  </a:lnTo>
                  <a:lnTo>
                    <a:pt x="294919" y="51181"/>
                  </a:lnTo>
                  <a:lnTo>
                    <a:pt x="292633" y="48107"/>
                  </a:lnTo>
                  <a:lnTo>
                    <a:pt x="300304" y="42405"/>
                  </a:lnTo>
                  <a:lnTo>
                    <a:pt x="304177" y="47612"/>
                  </a:lnTo>
                  <a:lnTo>
                    <a:pt x="304266" y="51689"/>
                  </a:lnTo>
                  <a:lnTo>
                    <a:pt x="303301" y="55067"/>
                  </a:lnTo>
                  <a:lnTo>
                    <a:pt x="304228" y="55613"/>
                  </a:lnTo>
                  <a:lnTo>
                    <a:pt x="307822" y="50431"/>
                  </a:lnTo>
                  <a:close/>
                </a:path>
                <a:path w="335279" h="167640">
                  <a:moveTo>
                    <a:pt x="319862" y="71856"/>
                  </a:moveTo>
                  <a:lnTo>
                    <a:pt x="316598" y="65659"/>
                  </a:lnTo>
                  <a:lnTo>
                    <a:pt x="316598" y="68338"/>
                  </a:lnTo>
                  <a:lnTo>
                    <a:pt x="316560" y="69786"/>
                  </a:lnTo>
                  <a:lnTo>
                    <a:pt x="316496" y="70624"/>
                  </a:lnTo>
                  <a:lnTo>
                    <a:pt x="310642" y="73710"/>
                  </a:lnTo>
                  <a:lnTo>
                    <a:pt x="308368" y="73101"/>
                  </a:lnTo>
                  <a:lnTo>
                    <a:pt x="305625" y="67906"/>
                  </a:lnTo>
                  <a:lnTo>
                    <a:pt x="313321" y="63842"/>
                  </a:lnTo>
                  <a:lnTo>
                    <a:pt x="314071" y="63550"/>
                  </a:lnTo>
                  <a:lnTo>
                    <a:pt x="316598" y="68338"/>
                  </a:lnTo>
                  <a:lnTo>
                    <a:pt x="316598" y="65659"/>
                  </a:lnTo>
                  <a:lnTo>
                    <a:pt x="315493" y="63550"/>
                  </a:lnTo>
                  <a:lnTo>
                    <a:pt x="311251" y="55499"/>
                  </a:lnTo>
                  <a:lnTo>
                    <a:pt x="310311" y="55994"/>
                  </a:lnTo>
                  <a:lnTo>
                    <a:pt x="311378" y="58039"/>
                  </a:lnTo>
                  <a:lnTo>
                    <a:pt x="311137" y="59067"/>
                  </a:lnTo>
                  <a:lnTo>
                    <a:pt x="293535" y="68338"/>
                  </a:lnTo>
                  <a:lnTo>
                    <a:pt x="292544" y="67945"/>
                  </a:lnTo>
                  <a:lnTo>
                    <a:pt x="291477" y="65913"/>
                  </a:lnTo>
                  <a:lnTo>
                    <a:pt x="290537" y="66408"/>
                  </a:lnTo>
                  <a:lnTo>
                    <a:pt x="295871" y="76530"/>
                  </a:lnTo>
                  <a:lnTo>
                    <a:pt x="296799" y="76034"/>
                  </a:lnTo>
                  <a:lnTo>
                    <a:pt x="295732" y="74002"/>
                  </a:lnTo>
                  <a:lnTo>
                    <a:pt x="295986" y="72974"/>
                  </a:lnTo>
                  <a:lnTo>
                    <a:pt x="304304" y="68605"/>
                  </a:lnTo>
                  <a:lnTo>
                    <a:pt x="304927" y="69786"/>
                  </a:lnTo>
                  <a:lnTo>
                    <a:pt x="305193" y="71043"/>
                  </a:lnTo>
                  <a:lnTo>
                    <a:pt x="299783" y="78193"/>
                  </a:lnTo>
                  <a:lnTo>
                    <a:pt x="299199" y="79006"/>
                  </a:lnTo>
                  <a:lnTo>
                    <a:pt x="298526" y="79794"/>
                  </a:lnTo>
                  <a:lnTo>
                    <a:pt x="298043" y="80670"/>
                  </a:lnTo>
                  <a:lnTo>
                    <a:pt x="301726" y="87655"/>
                  </a:lnTo>
                  <a:lnTo>
                    <a:pt x="302666" y="87160"/>
                  </a:lnTo>
                  <a:lnTo>
                    <a:pt x="301548" y="84645"/>
                  </a:lnTo>
                  <a:lnTo>
                    <a:pt x="304190" y="80670"/>
                  </a:lnTo>
                  <a:lnTo>
                    <a:pt x="307136" y="76530"/>
                  </a:lnTo>
                  <a:lnTo>
                    <a:pt x="307848" y="75628"/>
                  </a:lnTo>
                  <a:lnTo>
                    <a:pt x="307975" y="74422"/>
                  </a:lnTo>
                  <a:lnTo>
                    <a:pt x="309918" y="76873"/>
                  </a:lnTo>
                  <a:lnTo>
                    <a:pt x="312839" y="78841"/>
                  </a:lnTo>
                  <a:lnTo>
                    <a:pt x="318960" y="75615"/>
                  </a:lnTo>
                  <a:lnTo>
                    <a:pt x="319239" y="74422"/>
                  </a:lnTo>
                  <a:lnTo>
                    <a:pt x="319417" y="73710"/>
                  </a:lnTo>
                  <a:lnTo>
                    <a:pt x="319862" y="71856"/>
                  </a:lnTo>
                  <a:close/>
                </a:path>
                <a:path w="335279" h="167640">
                  <a:moveTo>
                    <a:pt x="329666" y="96037"/>
                  </a:moveTo>
                  <a:lnTo>
                    <a:pt x="329018" y="95516"/>
                  </a:lnTo>
                  <a:lnTo>
                    <a:pt x="328193" y="94576"/>
                  </a:lnTo>
                  <a:lnTo>
                    <a:pt x="327736" y="93243"/>
                  </a:lnTo>
                  <a:lnTo>
                    <a:pt x="327672" y="90195"/>
                  </a:lnTo>
                  <a:lnTo>
                    <a:pt x="325081" y="82664"/>
                  </a:lnTo>
                  <a:lnTo>
                    <a:pt x="317347" y="80479"/>
                  </a:lnTo>
                  <a:lnTo>
                    <a:pt x="304723" y="84810"/>
                  </a:lnTo>
                  <a:lnTo>
                    <a:pt x="301777" y="90385"/>
                  </a:lnTo>
                  <a:lnTo>
                    <a:pt x="304558" y="98513"/>
                  </a:lnTo>
                  <a:lnTo>
                    <a:pt x="307784" y="102997"/>
                  </a:lnTo>
                  <a:lnTo>
                    <a:pt x="308546" y="105092"/>
                  </a:lnTo>
                  <a:lnTo>
                    <a:pt x="315315" y="102781"/>
                  </a:lnTo>
                  <a:lnTo>
                    <a:pt x="316103" y="102806"/>
                  </a:lnTo>
                  <a:lnTo>
                    <a:pt x="317233" y="105194"/>
                  </a:lnTo>
                  <a:lnTo>
                    <a:pt x="318401" y="104787"/>
                  </a:lnTo>
                  <a:lnTo>
                    <a:pt x="314896" y="94538"/>
                  </a:lnTo>
                  <a:lnTo>
                    <a:pt x="313715" y="94945"/>
                  </a:lnTo>
                  <a:lnTo>
                    <a:pt x="314363" y="97320"/>
                  </a:lnTo>
                  <a:lnTo>
                    <a:pt x="314375" y="98031"/>
                  </a:lnTo>
                  <a:lnTo>
                    <a:pt x="309067" y="99847"/>
                  </a:lnTo>
                  <a:lnTo>
                    <a:pt x="306451" y="100164"/>
                  </a:lnTo>
                  <a:lnTo>
                    <a:pt x="304152" y="93484"/>
                  </a:lnTo>
                  <a:lnTo>
                    <a:pt x="306197" y="90182"/>
                  </a:lnTo>
                  <a:lnTo>
                    <a:pt x="321475" y="84950"/>
                  </a:lnTo>
                  <a:lnTo>
                    <a:pt x="325272" y="87033"/>
                  </a:lnTo>
                  <a:lnTo>
                    <a:pt x="327190" y="92659"/>
                  </a:lnTo>
                  <a:lnTo>
                    <a:pt x="325869" y="95199"/>
                  </a:lnTo>
                  <a:lnTo>
                    <a:pt x="323176" y="99199"/>
                  </a:lnTo>
                  <a:lnTo>
                    <a:pt x="323888" y="100076"/>
                  </a:lnTo>
                  <a:lnTo>
                    <a:pt x="329666" y="96037"/>
                  </a:lnTo>
                  <a:close/>
                </a:path>
                <a:path w="335279" h="167640">
                  <a:moveTo>
                    <a:pt x="334975" y="123875"/>
                  </a:moveTo>
                  <a:lnTo>
                    <a:pt x="333375" y="115430"/>
                  </a:lnTo>
                  <a:lnTo>
                    <a:pt x="332333" y="115620"/>
                  </a:lnTo>
                  <a:lnTo>
                    <a:pt x="332422" y="116751"/>
                  </a:lnTo>
                  <a:lnTo>
                    <a:pt x="332638" y="118198"/>
                  </a:lnTo>
                  <a:lnTo>
                    <a:pt x="330492" y="118605"/>
                  </a:lnTo>
                  <a:lnTo>
                    <a:pt x="329666" y="118338"/>
                  </a:lnTo>
                  <a:lnTo>
                    <a:pt x="322478" y="115595"/>
                  </a:lnTo>
                  <a:lnTo>
                    <a:pt x="329387" y="109486"/>
                  </a:lnTo>
                  <a:lnTo>
                    <a:pt x="330669" y="109232"/>
                  </a:lnTo>
                  <a:lnTo>
                    <a:pt x="331076" y="109613"/>
                  </a:lnTo>
                  <a:lnTo>
                    <a:pt x="331495" y="111188"/>
                  </a:lnTo>
                  <a:lnTo>
                    <a:pt x="332536" y="110998"/>
                  </a:lnTo>
                  <a:lnTo>
                    <a:pt x="330479" y="100126"/>
                  </a:lnTo>
                  <a:lnTo>
                    <a:pt x="329438" y="100317"/>
                  </a:lnTo>
                  <a:lnTo>
                    <a:pt x="329476" y="102069"/>
                  </a:lnTo>
                  <a:lnTo>
                    <a:pt x="329082" y="102743"/>
                  </a:lnTo>
                  <a:lnTo>
                    <a:pt x="319138" y="111747"/>
                  </a:lnTo>
                  <a:lnTo>
                    <a:pt x="310527" y="113372"/>
                  </a:lnTo>
                  <a:lnTo>
                    <a:pt x="310273" y="112344"/>
                  </a:lnTo>
                  <a:lnTo>
                    <a:pt x="309664" y="110337"/>
                  </a:lnTo>
                  <a:lnTo>
                    <a:pt x="308635" y="110540"/>
                  </a:lnTo>
                  <a:lnTo>
                    <a:pt x="310769" y="121843"/>
                  </a:lnTo>
                  <a:lnTo>
                    <a:pt x="311810" y="121653"/>
                  </a:lnTo>
                  <a:lnTo>
                    <a:pt x="311353" y="119265"/>
                  </a:lnTo>
                  <a:lnTo>
                    <a:pt x="312089" y="118440"/>
                  </a:lnTo>
                  <a:lnTo>
                    <a:pt x="333946" y="124066"/>
                  </a:lnTo>
                  <a:lnTo>
                    <a:pt x="334975" y="123875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3" name="object 245">
              <a:extLst>
                <a:ext uri="{FF2B5EF4-FFF2-40B4-BE49-F238E27FC236}">
                  <a16:creationId xmlns:a16="http://schemas.microsoft.com/office/drawing/2014/main" id="{F4AEB063-D3D5-4480-B4F4-0D2D1141241D}"/>
                </a:ext>
              </a:extLst>
            </p:cNvPr>
            <p:cNvSpPr/>
            <p:nvPr/>
          </p:nvSpPr>
          <p:spPr>
            <a:xfrm>
              <a:off x="7876921" y="6311268"/>
              <a:ext cx="45085" cy="63500"/>
            </a:xfrm>
            <a:custGeom>
              <a:avLst/>
              <a:gdLst/>
              <a:ahLst/>
              <a:cxnLst/>
              <a:rect l="l" t="t" r="r" b="b"/>
              <a:pathLst>
                <a:path w="45084" h="63500">
                  <a:moveTo>
                    <a:pt x="29006" y="23533"/>
                  </a:moveTo>
                  <a:lnTo>
                    <a:pt x="26797" y="15430"/>
                  </a:lnTo>
                  <a:lnTo>
                    <a:pt x="25768" y="15709"/>
                  </a:lnTo>
                  <a:lnTo>
                    <a:pt x="26327" y="18834"/>
                  </a:lnTo>
                  <a:lnTo>
                    <a:pt x="24917" y="19481"/>
                  </a:lnTo>
                  <a:lnTo>
                    <a:pt x="11988" y="23012"/>
                  </a:lnTo>
                  <a:lnTo>
                    <a:pt x="24714" y="7835"/>
                  </a:lnTo>
                  <a:lnTo>
                    <a:pt x="22580" y="0"/>
                  </a:lnTo>
                  <a:lnTo>
                    <a:pt x="21551" y="279"/>
                  </a:lnTo>
                  <a:lnTo>
                    <a:pt x="21640" y="1714"/>
                  </a:lnTo>
                  <a:lnTo>
                    <a:pt x="21234" y="3225"/>
                  </a:lnTo>
                  <a:lnTo>
                    <a:pt x="20383" y="4381"/>
                  </a:lnTo>
                  <a:lnTo>
                    <a:pt x="3365" y="9029"/>
                  </a:lnTo>
                  <a:lnTo>
                    <a:pt x="2286" y="8724"/>
                  </a:lnTo>
                  <a:lnTo>
                    <a:pt x="1016" y="5892"/>
                  </a:lnTo>
                  <a:lnTo>
                    <a:pt x="0" y="6172"/>
                  </a:lnTo>
                  <a:lnTo>
                    <a:pt x="2374" y="14897"/>
                  </a:lnTo>
                  <a:lnTo>
                    <a:pt x="3390" y="14617"/>
                  </a:lnTo>
                  <a:lnTo>
                    <a:pt x="3187" y="11188"/>
                  </a:lnTo>
                  <a:lnTo>
                    <a:pt x="3733" y="10655"/>
                  </a:lnTo>
                  <a:lnTo>
                    <a:pt x="18948" y="6489"/>
                  </a:lnTo>
                  <a:lnTo>
                    <a:pt x="4775" y="23685"/>
                  </a:lnTo>
                  <a:lnTo>
                    <a:pt x="5549" y="26492"/>
                  </a:lnTo>
                  <a:lnTo>
                    <a:pt x="25438" y="21069"/>
                  </a:lnTo>
                  <a:lnTo>
                    <a:pt x="26695" y="21018"/>
                  </a:lnTo>
                  <a:lnTo>
                    <a:pt x="27990" y="23812"/>
                  </a:lnTo>
                  <a:lnTo>
                    <a:pt x="29006" y="23533"/>
                  </a:lnTo>
                  <a:close/>
                </a:path>
                <a:path w="45084" h="63500">
                  <a:moveTo>
                    <a:pt x="34721" y="36029"/>
                  </a:moveTo>
                  <a:lnTo>
                    <a:pt x="30187" y="25514"/>
                  </a:lnTo>
                  <a:lnTo>
                    <a:pt x="29222" y="25933"/>
                  </a:lnTo>
                  <a:lnTo>
                    <a:pt x="30137" y="28054"/>
                  </a:lnTo>
                  <a:lnTo>
                    <a:pt x="29806" y="29057"/>
                  </a:lnTo>
                  <a:lnTo>
                    <a:pt x="27749" y="29946"/>
                  </a:lnTo>
                  <a:lnTo>
                    <a:pt x="11544" y="36931"/>
                  </a:lnTo>
                  <a:lnTo>
                    <a:pt x="10579" y="36474"/>
                  </a:lnTo>
                  <a:lnTo>
                    <a:pt x="9664" y="34366"/>
                  </a:lnTo>
                  <a:lnTo>
                    <a:pt x="8699" y="34785"/>
                  </a:lnTo>
                  <a:lnTo>
                    <a:pt x="13233" y="45300"/>
                  </a:lnTo>
                  <a:lnTo>
                    <a:pt x="14198" y="44881"/>
                  </a:lnTo>
                  <a:lnTo>
                    <a:pt x="13284" y="42760"/>
                  </a:lnTo>
                  <a:lnTo>
                    <a:pt x="13614" y="41757"/>
                  </a:lnTo>
                  <a:lnTo>
                    <a:pt x="31877" y="33883"/>
                  </a:lnTo>
                  <a:lnTo>
                    <a:pt x="32842" y="34340"/>
                  </a:lnTo>
                  <a:lnTo>
                    <a:pt x="33756" y="36449"/>
                  </a:lnTo>
                  <a:lnTo>
                    <a:pt x="34721" y="36029"/>
                  </a:lnTo>
                  <a:close/>
                </a:path>
                <a:path w="45084" h="63500">
                  <a:moveTo>
                    <a:pt x="45008" y="54406"/>
                  </a:moveTo>
                  <a:lnTo>
                    <a:pt x="35382" y="37858"/>
                  </a:lnTo>
                  <a:lnTo>
                    <a:pt x="29057" y="39712"/>
                  </a:lnTo>
                  <a:lnTo>
                    <a:pt x="29387" y="40894"/>
                  </a:lnTo>
                  <a:lnTo>
                    <a:pt x="32473" y="41059"/>
                  </a:lnTo>
                  <a:lnTo>
                    <a:pt x="35877" y="41960"/>
                  </a:lnTo>
                  <a:lnTo>
                    <a:pt x="37820" y="44538"/>
                  </a:lnTo>
                  <a:lnTo>
                    <a:pt x="20193" y="54787"/>
                  </a:lnTo>
                  <a:lnTo>
                    <a:pt x="19177" y="54457"/>
                  </a:lnTo>
                  <a:lnTo>
                    <a:pt x="18021" y="52463"/>
                  </a:lnTo>
                  <a:lnTo>
                    <a:pt x="17106" y="52997"/>
                  </a:lnTo>
                  <a:lnTo>
                    <a:pt x="22872" y="62890"/>
                  </a:lnTo>
                  <a:lnTo>
                    <a:pt x="23774" y="62357"/>
                  </a:lnTo>
                  <a:lnTo>
                    <a:pt x="22618" y="60375"/>
                  </a:lnTo>
                  <a:lnTo>
                    <a:pt x="22834" y="59321"/>
                  </a:lnTo>
                  <a:lnTo>
                    <a:pt x="40462" y="49072"/>
                  </a:lnTo>
                  <a:lnTo>
                    <a:pt x="41948" y="51752"/>
                  </a:lnTo>
                  <a:lnTo>
                    <a:pt x="40779" y="55727"/>
                  </a:lnTo>
                  <a:lnTo>
                    <a:pt x="39484" y="58254"/>
                  </a:lnTo>
                  <a:lnTo>
                    <a:pt x="40347" y="59118"/>
                  </a:lnTo>
                  <a:lnTo>
                    <a:pt x="45008" y="54406"/>
                  </a:lnTo>
                  <a:close/>
                </a:path>
              </a:pathLst>
            </a:custGeom>
            <a:solidFill>
              <a:srgbClr val="FEE66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4" name="object 246">
              <a:extLst>
                <a:ext uri="{FF2B5EF4-FFF2-40B4-BE49-F238E27FC236}">
                  <a16:creationId xmlns:a16="http://schemas.microsoft.com/office/drawing/2014/main" id="{14F9A737-4AD5-4712-834A-C693919847AE}"/>
                </a:ext>
              </a:extLst>
            </p:cNvPr>
            <p:cNvSpPr/>
            <p:nvPr/>
          </p:nvSpPr>
          <p:spPr>
            <a:xfrm>
              <a:off x="7905357" y="6284344"/>
              <a:ext cx="305435" cy="168910"/>
            </a:xfrm>
            <a:custGeom>
              <a:avLst/>
              <a:gdLst/>
              <a:ahLst/>
              <a:cxnLst/>
              <a:rect l="l" t="t" r="r" b="b"/>
              <a:pathLst>
                <a:path w="305434" h="168909">
                  <a:moveTo>
                    <a:pt x="30314" y="98628"/>
                  </a:moveTo>
                  <a:lnTo>
                    <a:pt x="18122" y="83693"/>
                  </a:lnTo>
                  <a:lnTo>
                    <a:pt x="17310" y="84366"/>
                  </a:lnTo>
                  <a:lnTo>
                    <a:pt x="18757" y="86144"/>
                  </a:lnTo>
                  <a:lnTo>
                    <a:pt x="18719" y="87210"/>
                  </a:lnTo>
                  <a:lnTo>
                    <a:pt x="3327" y="99796"/>
                  </a:lnTo>
                  <a:lnTo>
                    <a:pt x="2273" y="99618"/>
                  </a:lnTo>
                  <a:lnTo>
                    <a:pt x="812" y="97840"/>
                  </a:lnTo>
                  <a:lnTo>
                    <a:pt x="0" y="98501"/>
                  </a:lnTo>
                  <a:lnTo>
                    <a:pt x="12192" y="113436"/>
                  </a:lnTo>
                  <a:lnTo>
                    <a:pt x="18313" y="111531"/>
                  </a:lnTo>
                  <a:lnTo>
                    <a:pt x="18122" y="110578"/>
                  </a:lnTo>
                  <a:lnTo>
                    <a:pt x="14287" y="110490"/>
                  </a:lnTo>
                  <a:lnTo>
                    <a:pt x="10299" y="109156"/>
                  </a:lnTo>
                  <a:lnTo>
                    <a:pt x="6362" y="104330"/>
                  </a:lnTo>
                  <a:lnTo>
                    <a:pt x="7200" y="103390"/>
                  </a:lnTo>
                  <a:lnTo>
                    <a:pt x="13868" y="97942"/>
                  </a:lnTo>
                  <a:lnTo>
                    <a:pt x="16294" y="100914"/>
                  </a:lnTo>
                  <a:lnTo>
                    <a:pt x="16751" y="102654"/>
                  </a:lnTo>
                  <a:lnTo>
                    <a:pt x="14808" y="105359"/>
                  </a:lnTo>
                  <a:lnTo>
                    <a:pt x="15595" y="106324"/>
                  </a:lnTo>
                  <a:lnTo>
                    <a:pt x="22745" y="100482"/>
                  </a:lnTo>
                  <a:lnTo>
                    <a:pt x="21958" y="99517"/>
                  </a:lnTo>
                  <a:lnTo>
                    <a:pt x="18770" y="100723"/>
                  </a:lnTo>
                  <a:lnTo>
                    <a:pt x="17449" y="99974"/>
                  </a:lnTo>
                  <a:lnTo>
                    <a:pt x="15024" y="97002"/>
                  </a:lnTo>
                  <a:lnTo>
                    <a:pt x="22440" y="90944"/>
                  </a:lnTo>
                  <a:lnTo>
                    <a:pt x="26543" y="95973"/>
                  </a:lnTo>
                  <a:lnTo>
                    <a:pt x="26809" y="100050"/>
                  </a:lnTo>
                  <a:lnTo>
                    <a:pt x="26009" y="103466"/>
                  </a:lnTo>
                  <a:lnTo>
                    <a:pt x="26962" y="103974"/>
                  </a:lnTo>
                  <a:lnTo>
                    <a:pt x="30314" y="98628"/>
                  </a:lnTo>
                  <a:close/>
                </a:path>
                <a:path w="305434" h="168909">
                  <a:moveTo>
                    <a:pt x="45656" y="116205"/>
                  </a:moveTo>
                  <a:lnTo>
                    <a:pt x="43230" y="111442"/>
                  </a:lnTo>
                  <a:lnTo>
                    <a:pt x="43230" y="115087"/>
                  </a:lnTo>
                  <a:lnTo>
                    <a:pt x="32156" y="127533"/>
                  </a:lnTo>
                  <a:lnTo>
                    <a:pt x="28448" y="127228"/>
                  </a:lnTo>
                  <a:lnTo>
                    <a:pt x="25463" y="124574"/>
                  </a:lnTo>
                  <a:lnTo>
                    <a:pt x="23355" y="122707"/>
                  </a:lnTo>
                  <a:lnTo>
                    <a:pt x="26797" y="118833"/>
                  </a:lnTo>
                  <a:lnTo>
                    <a:pt x="37249" y="107073"/>
                  </a:lnTo>
                  <a:lnTo>
                    <a:pt x="42341" y="111607"/>
                  </a:lnTo>
                  <a:lnTo>
                    <a:pt x="43230" y="115087"/>
                  </a:lnTo>
                  <a:lnTo>
                    <a:pt x="43230" y="111442"/>
                  </a:lnTo>
                  <a:lnTo>
                    <a:pt x="42837" y="110667"/>
                  </a:lnTo>
                  <a:lnTo>
                    <a:pt x="41643" y="109308"/>
                  </a:lnTo>
                  <a:lnTo>
                    <a:pt x="39128" y="107073"/>
                  </a:lnTo>
                  <a:lnTo>
                    <a:pt x="31838" y="100596"/>
                  </a:lnTo>
                  <a:lnTo>
                    <a:pt x="31153" y="101396"/>
                  </a:lnTo>
                  <a:lnTo>
                    <a:pt x="32867" y="102920"/>
                  </a:lnTo>
                  <a:lnTo>
                    <a:pt x="32994" y="103974"/>
                  </a:lnTo>
                  <a:lnTo>
                    <a:pt x="19786" y="118833"/>
                  </a:lnTo>
                  <a:lnTo>
                    <a:pt x="18719" y="118833"/>
                  </a:lnTo>
                  <a:lnTo>
                    <a:pt x="16992" y="117309"/>
                  </a:lnTo>
                  <a:lnTo>
                    <a:pt x="16294" y="118084"/>
                  </a:lnTo>
                  <a:lnTo>
                    <a:pt x="24612" y="125488"/>
                  </a:lnTo>
                  <a:lnTo>
                    <a:pt x="26136" y="126847"/>
                  </a:lnTo>
                  <a:lnTo>
                    <a:pt x="27635" y="127965"/>
                  </a:lnTo>
                  <a:lnTo>
                    <a:pt x="33235" y="130022"/>
                  </a:lnTo>
                  <a:lnTo>
                    <a:pt x="38150" y="129171"/>
                  </a:lnTo>
                  <a:lnTo>
                    <a:pt x="39598" y="127533"/>
                  </a:lnTo>
                  <a:lnTo>
                    <a:pt x="45364" y="121056"/>
                  </a:lnTo>
                  <a:lnTo>
                    <a:pt x="45656" y="116205"/>
                  </a:lnTo>
                  <a:close/>
                </a:path>
                <a:path w="305434" h="168909">
                  <a:moveTo>
                    <a:pt x="66624" y="126136"/>
                  </a:moveTo>
                  <a:lnTo>
                    <a:pt x="65849" y="126301"/>
                  </a:lnTo>
                  <a:lnTo>
                    <a:pt x="64592" y="126276"/>
                  </a:lnTo>
                  <a:lnTo>
                    <a:pt x="63500" y="125603"/>
                  </a:lnTo>
                  <a:lnTo>
                    <a:pt x="62115" y="123901"/>
                  </a:lnTo>
                  <a:lnTo>
                    <a:pt x="61391" y="123177"/>
                  </a:lnTo>
                  <a:lnTo>
                    <a:pt x="56921" y="120434"/>
                  </a:lnTo>
                  <a:lnTo>
                    <a:pt x="52755" y="121043"/>
                  </a:lnTo>
                  <a:lnTo>
                    <a:pt x="47790" y="129120"/>
                  </a:lnTo>
                  <a:lnTo>
                    <a:pt x="51498" y="133286"/>
                  </a:lnTo>
                  <a:lnTo>
                    <a:pt x="57569" y="140322"/>
                  </a:lnTo>
                  <a:lnTo>
                    <a:pt x="54914" y="144653"/>
                  </a:lnTo>
                  <a:lnTo>
                    <a:pt x="52044" y="144792"/>
                  </a:lnTo>
                  <a:lnTo>
                    <a:pt x="46786" y="141566"/>
                  </a:lnTo>
                  <a:lnTo>
                    <a:pt x="45999" y="136918"/>
                  </a:lnTo>
                  <a:lnTo>
                    <a:pt x="45986" y="133337"/>
                  </a:lnTo>
                  <a:lnTo>
                    <a:pt x="44704" y="133045"/>
                  </a:lnTo>
                  <a:lnTo>
                    <a:pt x="42608" y="140436"/>
                  </a:lnTo>
                  <a:lnTo>
                    <a:pt x="44818" y="140665"/>
                  </a:lnTo>
                  <a:lnTo>
                    <a:pt x="45110" y="140754"/>
                  </a:lnTo>
                  <a:lnTo>
                    <a:pt x="46113" y="141376"/>
                  </a:lnTo>
                  <a:lnTo>
                    <a:pt x="46355" y="141719"/>
                  </a:lnTo>
                  <a:lnTo>
                    <a:pt x="47675" y="143243"/>
                  </a:lnTo>
                  <a:lnTo>
                    <a:pt x="48666" y="144183"/>
                  </a:lnTo>
                  <a:lnTo>
                    <a:pt x="53403" y="147104"/>
                  </a:lnTo>
                  <a:lnTo>
                    <a:pt x="58102" y="146431"/>
                  </a:lnTo>
                  <a:lnTo>
                    <a:pt x="62877" y="138658"/>
                  </a:lnTo>
                  <a:lnTo>
                    <a:pt x="60553" y="135102"/>
                  </a:lnTo>
                  <a:lnTo>
                    <a:pt x="55181" y="128828"/>
                  </a:lnTo>
                  <a:lnTo>
                    <a:pt x="53200" y="126784"/>
                  </a:lnTo>
                  <a:lnTo>
                    <a:pt x="55791" y="122593"/>
                  </a:lnTo>
                  <a:lnTo>
                    <a:pt x="57937" y="122516"/>
                  </a:lnTo>
                  <a:lnTo>
                    <a:pt x="62560" y="125374"/>
                  </a:lnTo>
                  <a:lnTo>
                    <a:pt x="63563" y="129844"/>
                  </a:lnTo>
                  <a:lnTo>
                    <a:pt x="63550" y="132854"/>
                  </a:lnTo>
                  <a:lnTo>
                    <a:pt x="64808" y="133134"/>
                  </a:lnTo>
                  <a:lnTo>
                    <a:pt x="66624" y="126136"/>
                  </a:lnTo>
                  <a:close/>
                </a:path>
                <a:path w="305434" h="168909">
                  <a:moveTo>
                    <a:pt x="85788" y="159499"/>
                  </a:moveTo>
                  <a:lnTo>
                    <a:pt x="84467" y="159004"/>
                  </a:lnTo>
                  <a:lnTo>
                    <a:pt x="83235" y="157975"/>
                  </a:lnTo>
                  <a:lnTo>
                    <a:pt x="83477" y="157137"/>
                  </a:lnTo>
                  <a:lnTo>
                    <a:pt x="80708" y="157137"/>
                  </a:lnTo>
                  <a:lnTo>
                    <a:pt x="77609" y="157137"/>
                  </a:lnTo>
                  <a:lnTo>
                    <a:pt x="77330" y="158115"/>
                  </a:lnTo>
                  <a:lnTo>
                    <a:pt x="85496" y="160515"/>
                  </a:lnTo>
                  <a:lnTo>
                    <a:pt x="85788" y="159499"/>
                  </a:lnTo>
                  <a:close/>
                </a:path>
                <a:path w="305434" h="168909">
                  <a:moveTo>
                    <a:pt x="87718" y="136842"/>
                  </a:moveTo>
                  <a:lnTo>
                    <a:pt x="70167" y="129171"/>
                  </a:lnTo>
                  <a:lnTo>
                    <a:pt x="66167" y="134416"/>
                  </a:lnTo>
                  <a:lnTo>
                    <a:pt x="67132" y="135178"/>
                  </a:lnTo>
                  <a:lnTo>
                    <a:pt x="69710" y="133477"/>
                  </a:lnTo>
                  <a:lnTo>
                    <a:pt x="72999" y="132194"/>
                  </a:lnTo>
                  <a:lnTo>
                    <a:pt x="76085" y="133121"/>
                  </a:lnTo>
                  <a:lnTo>
                    <a:pt x="67919" y="151815"/>
                  </a:lnTo>
                  <a:lnTo>
                    <a:pt x="66916" y="152133"/>
                  </a:lnTo>
                  <a:lnTo>
                    <a:pt x="64795" y="151218"/>
                  </a:lnTo>
                  <a:lnTo>
                    <a:pt x="64376" y="152184"/>
                  </a:lnTo>
                  <a:lnTo>
                    <a:pt x="74866" y="156768"/>
                  </a:lnTo>
                  <a:lnTo>
                    <a:pt x="75298" y="155790"/>
                  </a:lnTo>
                  <a:lnTo>
                    <a:pt x="73177" y="154876"/>
                  </a:lnTo>
                  <a:lnTo>
                    <a:pt x="72732" y="153911"/>
                  </a:lnTo>
                  <a:lnTo>
                    <a:pt x="80886" y="135216"/>
                  </a:lnTo>
                  <a:lnTo>
                    <a:pt x="83667" y="136512"/>
                  </a:lnTo>
                  <a:lnTo>
                    <a:pt x="85090" y="140398"/>
                  </a:lnTo>
                  <a:lnTo>
                    <a:pt x="85521" y="143205"/>
                  </a:lnTo>
                  <a:lnTo>
                    <a:pt x="86741" y="143395"/>
                  </a:lnTo>
                  <a:lnTo>
                    <a:pt x="87718" y="136842"/>
                  </a:lnTo>
                  <a:close/>
                </a:path>
                <a:path w="305434" h="168909">
                  <a:moveTo>
                    <a:pt x="101955" y="164236"/>
                  </a:moveTo>
                  <a:lnTo>
                    <a:pt x="99212" y="163360"/>
                  </a:lnTo>
                  <a:lnTo>
                    <a:pt x="99377" y="161594"/>
                  </a:lnTo>
                  <a:lnTo>
                    <a:pt x="99237" y="152996"/>
                  </a:lnTo>
                  <a:lnTo>
                    <a:pt x="99072" y="142240"/>
                  </a:lnTo>
                  <a:lnTo>
                    <a:pt x="99021" y="139204"/>
                  </a:lnTo>
                  <a:lnTo>
                    <a:pt x="94119" y="139344"/>
                  </a:lnTo>
                  <a:lnTo>
                    <a:pt x="94056" y="152996"/>
                  </a:lnTo>
                  <a:lnTo>
                    <a:pt x="87337" y="151015"/>
                  </a:lnTo>
                  <a:lnTo>
                    <a:pt x="93878" y="142240"/>
                  </a:lnTo>
                  <a:lnTo>
                    <a:pt x="94056" y="152996"/>
                  </a:lnTo>
                  <a:lnTo>
                    <a:pt x="94056" y="139433"/>
                  </a:lnTo>
                  <a:lnTo>
                    <a:pt x="81775" y="155790"/>
                  </a:lnTo>
                  <a:lnTo>
                    <a:pt x="80733" y="157099"/>
                  </a:lnTo>
                  <a:lnTo>
                    <a:pt x="83489" y="157099"/>
                  </a:lnTo>
                  <a:lnTo>
                    <a:pt x="83947" y="155549"/>
                  </a:lnTo>
                  <a:lnTo>
                    <a:pt x="86296" y="152273"/>
                  </a:lnTo>
                  <a:lnTo>
                    <a:pt x="94132" y="154571"/>
                  </a:lnTo>
                  <a:lnTo>
                    <a:pt x="94183" y="159816"/>
                  </a:lnTo>
                  <a:lnTo>
                    <a:pt x="93751" y="161328"/>
                  </a:lnTo>
                  <a:lnTo>
                    <a:pt x="93167" y="161594"/>
                  </a:lnTo>
                  <a:lnTo>
                    <a:pt x="91186" y="161074"/>
                  </a:lnTo>
                  <a:lnTo>
                    <a:pt x="90893" y="162090"/>
                  </a:lnTo>
                  <a:lnTo>
                    <a:pt x="101663" y="165239"/>
                  </a:lnTo>
                  <a:lnTo>
                    <a:pt x="101955" y="164236"/>
                  </a:lnTo>
                  <a:close/>
                </a:path>
                <a:path w="305434" h="168909">
                  <a:moveTo>
                    <a:pt x="124244" y="151320"/>
                  </a:moveTo>
                  <a:lnTo>
                    <a:pt x="123532" y="144729"/>
                  </a:lnTo>
                  <a:lnTo>
                    <a:pt x="104609" y="141757"/>
                  </a:lnTo>
                  <a:lnTo>
                    <a:pt x="102069" y="147828"/>
                  </a:lnTo>
                  <a:lnTo>
                    <a:pt x="103187" y="148336"/>
                  </a:lnTo>
                  <a:lnTo>
                    <a:pt x="105270" y="146037"/>
                  </a:lnTo>
                  <a:lnTo>
                    <a:pt x="108115" y="143954"/>
                  </a:lnTo>
                  <a:lnTo>
                    <a:pt x="111328" y="144081"/>
                  </a:lnTo>
                  <a:lnTo>
                    <a:pt x="108178" y="164223"/>
                  </a:lnTo>
                  <a:lnTo>
                    <a:pt x="107276" y="164795"/>
                  </a:lnTo>
                  <a:lnTo>
                    <a:pt x="105003" y="164452"/>
                  </a:lnTo>
                  <a:lnTo>
                    <a:pt x="104838" y="165481"/>
                  </a:lnTo>
                  <a:lnTo>
                    <a:pt x="116141" y="167259"/>
                  </a:lnTo>
                  <a:lnTo>
                    <a:pt x="116306" y="166217"/>
                  </a:lnTo>
                  <a:lnTo>
                    <a:pt x="114033" y="165862"/>
                  </a:lnTo>
                  <a:lnTo>
                    <a:pt x="113360" y="165036"/>
                  </a:lnTo>
                  <a:lnTo>
                    <a:pt x="116509" y="144894"/>
                  </a:lnTo>
                  <a:lnTo>
                    <a:pt x="119545" y="145427"/>
                  </a:lnTo>
                  <a:lnTo>
                    <a:pt x="121881" y="148844"/>
                  </a:lnTo>
                  <a:lnTo>
                    <a:pt x="123024" y="151447"/>
                  </a:lnTo>
                  <a:lnTo>
                    <a:pt x="124244" y="151320"/>
                  </a:lnTo>
                  <a:close/>
                </a:path>
                <a:path w="305434" h="168909">
                  <a:moveTo>
                    <a:pt x="147789" y="162458"/>
                  </a:moveTo>
                  <a:lnTo>
                    <a:pt x="146926" y="162026"/>
                  </a:lnTo>
                  <a:lnTo>
                    <a:pt x="144424" y="164922"/>
                  </a:lnTo>
                  <a:lnTo>
                    <a:pt x="140881" y="167170"/>
                  </a:lnTo>
                  <a:lnTo>
                    <a:pt x="134645" y="167170"/>
                  </a:lnTo>
                  <a:lnTo>
                    <a:pt x="134454" y="165912"/>
                  </a:lnTo>
                  <a:lnTo>
                    <a:pt x="134454" y="157327"/>
                  </a:lnTo>
                  <a:lnTo>
                    <a:pt x="138290" y="157327"/>
                  </a:lnTo>
                  <a:lnTo>
                    <a:pt x="139915" y="158051"/>
                  </a:lnTo>
                  <a:lnTo>
                    <a:pt x="140779" y="161290"/>
                  </a:lnTo>
                  <a:lnTo>
                    <a:pt x="142024" y="161290"/>
                  </a:lnTo>
                  <a:lnTo>
                    <a:pt x="142024" y="152044"/>
                  </a:lnTo>
                  <a:lnTo>
                    <a:pt x="140779" y="152044"/>
                  </a:lnTo>
                  <a:lnTo>
                    <a:pt x="139700" y="155270"/>
                  </a:lnTo>
                  <a:lnTo>
                    <a:pt x="138290" y="155816"/>
                  </a:lnTo>
                  <a:lnTo>
                    <a:pt x="134454" y="155816"/>
                  </a:lnTo>
                  <a:lnTo>
                    <a:pt x="134442" y="146253"/>
                  </a:lnTo>
                  <a:lnTo>
                    <a:pt x="140944" y="146253"/>
                  </a:lnTo>
                  <a:lnTo>
                    <a:pt x="144259" y="148615"/>
                  </a:lnTo>
                  <a:lnTo>
                    <a:pt x="146405" y="151409"/>
                  </a:lnTo>
                  <a:lnTo>
                    <a:pt x="147396" y="150990"/>
                  </a:lnTo>
                  <a:lnTo>
                    <a:pt x="145389" y="145008"/>
                  </a:lnTo>
                  <a:lnTo>
                    <a:pt x="126098" y="145008"/>
                  </a:lnTo>
                  <a:lnTo>
                    <a:pt x="126098" y="146062"/>
                  </a:lnTo>
                  <a:lnTo>
                    <a:pt x="128409" y="146062"/>
                  </a:lnTo>
                  <a:lnTo>
                    <a:pt x="129209" y="146773"/>
                  </a:lnTo>
                  <a:lnTo>
                    <a:pt x="129209" y="166662"/>
                  </a:lnTo>
                  <a:lnTo>
                    <a:pt x="128409" y="167360"/>
                  </a:lnTo>
                  <a:lnTo>
                    <a:pt x="126111" y="167360"/>
                  </a:lnTo>
                  <a:lnTo>
                    <a:pt x="126111" y="168414"/>
                  </a:lnTo>
                  <a:lnTo>
                    <a:pt x="145389" y="168414"/>
                  </a:lnTo>
                  <a:lnTo>
                    <a:pt x="147789" y="162458"/>
                  </a:lnTo>
                  <a:close/>
                </a:path>
                <a:path w="305434" h="168909">
                  <a:moveTo>
                    <a:pt x="169164" y="163029"/>
                  </a:moveTo>
                  <a:lnTo>
                    <a:pt x="167894" y="154012"/>
                  </a:lnTo>
                  <a:lnTo>
                    <a:pt x="163842" y="152730"/>
                  </a:lnTo>
                  <a:lnTo>
                    <a:pt x="155702" y="151333"/>
                  </a:lnTo>
                  <a:lnTo>
                    <a:pt x="152882" y="151015"/>
                  </a:lnTo>
                  <a:lnTo>
                    <a:pt x="152196" y="146151"/>
                  </a:lnTo>
                  <a:lnTo>
                    <a:pt x="153797" y="144729"/>
                  </a:lnTo>
                  <a:lnTo>
                    <a:pt x="159181" y="143967"/>
                  </a:lnTo>
                  <a:lnTo>
                    <a:pt x="162814" y="146786"/>
                  </a:lnTo>
                  <a:lnTo>
                    <a:pt x="164719" y="149098"/>
                  </a:lnTo>
                  <a:lnTo>
                    <a:pt x="165862" y="148513"/>
                  </a:lnTo>
                  <a:lnTo>
                    <a:pt x="162814" y="141973"/>
                  </a:lnTo>
                  <a:lnTo>
                    <a:pt x="162318" y="142582"/>
                  </a:lnTo>
                  <a:lnTo>
                    <a:pt x="161328" y="143383"/>
                  </a:lnTo>
                  <a:lnTo>
                    <a:pt x="160058" y="143548"/>
                  </a:lnTo>
                  <a:lnTo>
                    <a:pt x="157899" y="143116"/>
                  </a:lnTo>
                  <a:lnTo>
                    <a:pt x="156883" y="143027"/>
                  </a:lnTo>
                  <a:lnTo>
                    <a:pt x="151701" y="143764"/>
                  </a:lnTo>
                  <a:lnTo>
                    <a:pt x="148869" y="146862"/>
                  </a:lnTo>
                  <a:lnTo>
                    <a:pt x="150202" y="156273"/>
                  </a:lnTo>
                  <a:lnTo>
                    <a:pt x="155714" y="157111"/>
                  </a:lnTo>
                  <a:lnTo>
                    <a:pt x="164871" y="158661"/>
                  </a:lnTo>
                  <a:lnTo>
                    <a:pt x="165582" y="163703"/>
                  </a:lnTo>
                  <a:lnTo>
                    <a:pt x="163461" y="165646"/>
                  </a:lnTo>
                  <a:lnTo>
                    <a:pt x="157353" y="166497"/>
                  </a:lnTo>
                  <a:lnTo>
                    <a:pt x="153797" y="163423"/>
                  </a:lnTo>
                  <a:lnTo>
                    <a:pt x="151498" y="160680"/>
                  </a:lnTo>
                  <a:lnTo>
                    <a:pt x="150317" y="161264"/>
                  </a:lnTo>
                  <a:lnTo>
                    <a:pt x="153416" y="168287"/>
                  </a:lnTo>
                  <a:lnTo>
                    <a:pt x="155270" y="167055"/>
                  </a:lnTo>
                  <a:lnTo>
                    <a:pt x="155549" y="166954"/>
                  </a:lnTo>
                  <a:lnTo>
                    <a:pt x="156718" y="166789"/>
                  </a:lnTo>
                  <a:lnTo>
                    <a:pt x="157124" y="166890"/>
                  </a:lnTo>
                  <a:lnTo>
                    <a:pt x="159105" y="167220"/>
                  </a:lnTo>
                  <a:lnTo>
                    <a:pt x="160477" y="167322"/>
                  </a:lnTo>
                  <a:lnTo>
                    <a:pt x="165976" y="166547"/>
                  </a:lnTo>
                  <a:lnTo>
                    <a:pt x="169164" y="163029"/>
                  </a:lnTo>
                  <a:close/>
                </a:path>
                <a:path w="305434" h="168909">
                  <a:moveTo>
                    <a:pt x="199351" y="150876"/>
                  </a:moveTo>
                  <a:lnTo>
                    <a:pt x="195148" y="138315"/>
                  </a:lnTo>
                  <a:lnTo>
                    <a:pt x="195148" y="157353"/>
                  </a:lnTo>
                  <a:lnTo>
                    <a:pt x="189636" y="159194"/>
                  </a:lnTo>
                  <a:lnTo>
                    <a:pt x="186359" y="160299"/>
                  </a:lnTo>
                  <a:lnTo>
                    <a:pt x="187210" y="159372"/>
                  </a:lnTo>
                  <a:lnTo>
                    <a:pt x="186817" y="159296"/>
                  </a:lnTo>
                  <a:lnTo>
                    <a:pt x="186436" y="159156"/>
                  </a:lnTo>
                  <a:lnTo>
                    <a:pt x="186055" y="158953"/>
                  </a:lnTo>
                  <a:lnTo>
                    <a:pt x="185420" y="159613"/>
                  </a:lnTo>
                  <a:lnTo>
                    <a:pt x="183248" y="158127"/>
                  </a:lnTo>
                  <a:lnTo>
                    <a:pt x="178231" y="143192"/>
                  </a:lnTo>
                  <a:lnTo>
                    <a:pt x="179501" y="139331"/>
                  </a:lnTo>
                  <a:lnTo>
                    <a:pt x="186232" y="137071"/>
                  </a:lnTo>
                  <a:lnTo>
                    <a:pt x="189471" y="138912"/>
                  </a:lnTo>
                  <a:lnTo>
                    <a:pt x="193497" y="150876"/>
                  </a:lnTo>
                  <a:lnTo>
                    <a:pt x="193878" y="152412"/>
                  </a:lnTo>
                  <a:lnTo>
                    <a:pt x="193446" y="152730"/>
                  </a:lnTo>
                  <a:lnTo>
                    <a:pt x="193471" y="153162"/>
                  </a:lnTo>
                  <a:lnTo>
                    <a:pt x="193471" y="153593"/>
                  </a:lnTo>
                  <a:lnTo>
                    <a:pt x="193446" y="154000"/>
                  </a:lnTo>
                  <a:lnTo>
                    <a:pt x="194157" y="153466"/>
                  </a:lnTo>
                  <a:lnTo>
                    <a:pt x="189217" y="134747"/>
                  </a:lnTo>
                  <a:lnTo>
                    <a:pt x="175641" y="139306"/>
                  </a:lnTo>
                  <a:lnTo>
                    <a:pt x="173342" y="146113"/>
                  </a:lnTo>
                  <a:lnTo>
                    <a:pt x="177749" y="159232"/>
                  </a:lnTo>
                  <a:lnTo>
                    <a:pt x="183578" y="162534"/>
                  </a:lnTo>
                  <a:lnTo>
                    <a:pt x="190182" y="160324"/>
                  </a:lnTo>
                  <a:lnTo>
                    <a:pt x="197154" y="157988"/>
                  </a:lnTo>
                  <a:lnTo>
                    <a:pt x="199351" y="150876"/>
                  </a:lnTo>
                  <a:close/>
                </a:path>
                <a:path w="305434" h="168909">
                  <a:moveTo>
                    <a:pt x="213194" y="130962"/>
                  </a:moveTo>
                  <a:lnTo>
                    <a:pt x="208800" y="126149"/>
                  </a:lnTo>
                  <a:lnTo>
                    <a:pt x="191744" y="134505"/>
                  </a:lnTo>
                  <a:lnTo>
                    <a:pt x="192201" y="135458"/>
                  </a:lnTo>
                  <a:lnTo>
                    <a:pt x="194284" y="134442"/>
                  </a:lnTo>
                  <a:lnTo>
                    <a:pt x="195300" y="134721"/>
                  </a:lnTo>
                  <a:lnTo>
                    <a:pt x="204050" y="152577"/>
                  </a:lnTo>
                  <a:lnTo>
                    <a:pt x="203644" y="153555"/>
                  </a:lnTo>
                  <a:lnTo>
                    <a:pt x="201587" y="154571"/>
                  </a:lnTo>
                  <a:lnTo>
                    <a:pt x="202044" y="155524"/>
                  </a:lnTo>
                  <a:lnTo>
                    <a:pt x="212356" y="150469"/>
                  </a:lnTo>
                  <a:lnTo>
                    <a:pt x="211886" y="149517"/>
                  </a:lnTo>
                  <a:lnTo>
                    <a:pt x="209816" y="150533"/>
                  </a:lnTo>
                  <a:lnTo>
                    <a:pt x="208762" y="150266"/>
                  </a:lnTo>
                  <a:lnTo>
                    <a:pt x="204609" y="141795"/>
                  </a:lnTo>
                  <a:lnTo>
                    <a:pt x="208432" y="139928"/>
                  </a:lnTo>
                  <a:lnTo>
                    <a:pt x="210312" y="140284"/>
                  </a:lnTo>
                  <a:lnTo>
                    <a:pt x="211861" y="142697"/>
                  </a:lnTo>
                  <a:lnTo>
                    <a:pt x="212979" y="142151"/>
                  </a:lnTo>
                  <a:lnTo>
                    <a:pt x="208889" y="133832"/>
                  </a:lnTo>
                  <a:lnTo>
                    <a:pt x="207772" y="134378"/>
                  </a:lnTo>
                  <a:lnTo>
                    <a:pt x="208318" y="137096"/>
                  </a:lnTo>
                  <a:lnTo>
                    <a:pt x="207772" y="138582"/>
                  </a:lnTo>
                  <a:lnTo>
                    <a:pt x="203949" y="140449"/>
                  </a:lnTo>
                  <a:lnTo>
                    <a:pt x="200012" y="132410"/>
                  </a:lnTo>
                  <a:lnTo>
                    <a:pt x="199961" y="131864"/>
                  </a:lnTo>
                  <a:lnTo>
                    <a:pt x="205359" y="129222"/>
                  </a:lnTo>
                  <a:lnTo>
                    <a:pt x="209372" y="130022"/>
                  </a:lnTo>
                  <a:lnTo>
                    <a:pt x="212394" y="131826"/>
                  </a:lnTo>
                  <a:lnTo>
                    <a:pt x="213194" y="130962"/>
                  </a:lnTo>
                  <a:close/>
                </a:path>
                <a:path w="305434" h="168909">
                  <a:moveTo>
                    <a:pt x="244386" y="129971"/>
                  </a:moveTo>
                  <a:lnTo>
                    <a:pt x="243763" y="129108"/>
                  </a:lnTo>
                  <a:lnTo>
                    <a:pt x="241388" y="130721"/>
                  </a:lnTo>
                  <a:lnTo>
                    <a:pt x="240157" y="129552"/>
                  </a:lnTo>
                  <a:lnTo>
                    <a:pt x="239826" y="129298"/>
                  </a:lnTo>
                  <a:lnTo>
                    <a:pt x="230060" y="121869"/>
                  </a:lnTo>
                  <a:lnTo>
                    <a:pt x="230047" y="128358"/>
                  </a:lnTo>
                  <a:lnTo>
                    <a:pt x="224345" y="132435"/>
                  </a:lnTo>
                  <a:lnTo>
                    <a:pt x="221488" y="121869"/>
                  </a:lnTo>
                  <a:lnTo>
                    <a:pt x="230047" y="128358"/>
                  </a:lnTo>
                  <a:lnTo>
                    <a:pt x="230047" y="121869"/>
                  </a:lnTo>
                  <a:lnTo>
                    <a:pt x="222288" y="115951"/>
                  </a:lnTo>
                  <a:lnTo>
                    <a:pt x="219367" y="119875"/>
                  </a:lnTo>
                  <a:lnTo>
                    <a:pt x="224701" y="139966"/>
                  </a:lnTo>
                  <a:lnTo>
                    <a:pt x="225056" y="141427"/>
                  </a:lnTo>
                  <a:lnTo>
                    <a:pt x="223126" y="143827"/>
                  </a:lnTo>
                  <a:lnTo>
                    <a:pt x="223735" y="144678"/>
                  </a:lnTo>
                  <a:lnTo>
                    <a:pt x="230365" y="139966"/>
                  </a:lnTo>
                  <a:lnTo>
                    <a:pt x="230670" y="139750"/>
                  </a:lnTo>
                  <a:lnTo>
                    <a:pt x="230047" y="138887"/>
                  </a:lnTo>
                  <a:lnTo>
                    <a:pt x="228854" y="139636"/>
                  </a:lnTo>
                  <a:lnTo>
                    <a:pt x="227279" y="139966"/>
                  </a:lnTo>
                  <a:lnTo>
                    <a:pt x="225806" y="137909"/>
                  </a:lnTo>
                  <a:lnTo>
                    <a:pt x="225298" y="136067"/>
                  </a:lnTo>
                  <a:lnTo>
                    <a:pt x="224701" y="134035"/>
                  </a:lnTo>
                  <a:lnTo>
                    <a:pt x="231343" y="129298"/>
                  </a:lnTo>
                  <a:lnTo>
                    <a:pt x="234467" y="131699"/>
                  </a:lnTo>
                  <a:lnTo>
                    <a:pt x="234962" y="132054"/>
                  </a:lnTo>
                  <a:lnTo>
                    <a:pt x="235496" y="132499"/>
                  </a:lnTo>
                  <a:lnTo>
                    <a:pt x="236410" y="133769"/>
                  </a:lnTo>
                  <a:lnTo>
                    <a:pt x="236258" y="134391"/>
                  </a:lnTo>
                  <a:lnTo>
                    <a:pt x="234632" y="135623"/>
                  </a:lnTo>
                  <a:lnTo>
                    <a:pt x="235242" y="136486"/>
                  </a:lnTo>
                  <a:lnTo>
                    <a:pt x="243332" y="130721"/>
                  </a:lnTo>
                  <a:lnTo>
                    <a:pt x="244386" y="129971"/>
                  </a:lnTo>
                  <a:close/>
                </a:path>
                <a:path w="305434" h="168909">
                  <a:moveTo>
                    <a:pt x="266458" y="108051"/>
                  </a:moveTo>
                  <a:lnTo>
                    <a:pt x="265696" y="107315"/>
                  </a:lnTo>
                  <a:lnTo>
                    <a:pt x="264083" y="108953"/>
                  </a:lnTo>
                  <a:lnTo>
                    <a:pt x="263029" y="109029"/>
                  </a:lnTo>
                  <a:lnTo>
                    <a:pt x="261429" y="107454"/>
                  </a:lnTo>
                  <a:lnTo>
                    <a:pt x="248716" y="94932"/>
                  </a:lnTo>
                  <a:lnTo>
                    <a:pt x="249034" y="94119"/>
                  </a:lnTo>
                  <a:lnTo>
                    <a:pt x="250532" y="92367"/>
                  </a:lnTo>
                  <a:lnTo>
                    <a:pt x="249783" y="91617"/>
                  </a:lnTo>
                  <a:lnTo>
                    <a:pt x="243395" y="98120"/>
                  </a:lnTo>
                  <a:lnTo>
                    <a:pt x="250164" y="112153"/>
                  </a:lnTo>
                  <a:lnTo>
                    <a:pt x="236118" y="105486"/>
                  </a:lnTo>
                  <a:lnTo>
                    <a:pt x="229539" y="112166"/>
                  </a:lnTo>
                  <a:lnTo>
                    <a:pt x="230289" y="112903"/>
                  </a:lnTo>
                  <a:lnTo>
                    <a:pt x="231800" y="111379"/>
                  </a:lnTo>
                  <a:lnTo>
                    <a:pt x="232854" y="111074"/>
                  </a:lnTo>
                  <a:lnTo>
                    <a:pt x="247002" y="125018"/>
                  </a:lnTo>
                  <a:lnTo>
                    <a:pt x="246913" y="125603"/>
                  </a:lnTo>
                  <a:lnTo>
                    <a:pt x="245325" y="127990"/>
                  </a:lnTo>
                  <a:lnTo>
                    <a:pt x="246075" y="128727"/>
                  </a:lnTo>
                  <a:lnTo>
                    <a:pt x="251752" y="122974"/>
                  </a:lnTo>
                  <a:lnTo>
                    <a:pt x="251002" y="122237"/>
                  </a:lnTo>
                  <a:lnTo>
                    <a:pt x="248805" y="124066"/>
                  </a:lnTo>
                  <a:lnTo>
                    <a:pt x="248145" y="123812"/>
                  </a:lnTo>
                  <a:lnTo>
                    <a:pt x="235229" y="111086"/>
                  </a:lnTo>
                  <a:lnTo>
                    <a:pt x="254698" y="119989"/>
                  </a:lnTo>
                  <a:lnTo>
                    <a:pt x="255498" y="119164"/>
                  </a:lnTo>
                  <a:lnTo>
                    <a:pt x="245770" y="99479"/>
                  </a:lnTo>
                  <a:lnTo>
                    <a:pt x="259346" y="112763"/>
                  </a:lnTo>
                  <a:lnTo>
                    <a:pt x="259283" y="113830"/>
                  </a:lnTo>
                  <a:lnTo>
                    <a:pt x="257670" y="115468"/>
                  </a:lnTo>
                  <a:lnTo>
                    <a:pt x="258419" y="116205"/>
                  </a:lnTo>
                  <a:lnTo>
                    <a:pt x="266458" y="108051"/>
                  </a:lnTo>
                  <a:close/>
                </a:path>
                <a:path w="305434" h="168909">
                  <a:moveTo>
                    <a:pt x="281012" y="86804"/>
                  </a:moveTo>
                  <a:lnTo>
                    <a:pt x="277418" y="81495"/>
                  </a:lnTo>
                  <a:lnTo>
                    <a:pt x="276555" y="81965"/>
                  </a:lnTo>
                  <a:lnTo>
                    <a:pt x="277583" y="85648"/>
                  </a:lnTo>
                  <a:lnTo>
                    <a:pt x="277469" y="89852"/>
                  </a:lnTo>
                  <a:lnTo>
                    <a:pt x="273989" y="95021"/>
                  </a:lnTo>
                  <a:lnTo>
                    <a:pt x="272846" y="94500"/>
                  </a:lnTo>
                  <a:lnTo>
                    <a:pt x="265709" y="89700"/>
                  </a:lnTo>
                  <a:lnTo>
                    <a:pt x="267843" y="86512"/>
                  </a:lnTo>
                  <a:lnTo>
                    <a:pt x="269367" y="85572"/>
                  </a:lnTo>
                  <a:lnTo>
                    <a:pt x="272529" y="86652"/>
                  </a:lnTo>
                  <a:lnTo>
                    <a:pt x="273227" y="85610"/>
                  </a:lnTo>
                  <a:lnTo>
                    <a:pt x="265544" y="80467"/>
                  </a:lnTo>
                  <a:lnTo>
                    <a:pt x="264858" y="81495"/>
                  </a:lnTo>
                  <a:lnTo>
                    <a:pt x="266928" y="84201"/>
                  </a:lnTo>
                  <a:lnTo>
                    <a:pt x="266598" y="85674"/>
                  </a:lnTo>
                  <a:lnTo>
                    <a:pt x="264452" y="88861"/>
                  </a:lnTo>
                  <a:lnTo>
                    <a:pt x="256527" y="83527"/>
                  </a:lnTo>
                  <a:lnTo>
                    <a:pt x="260146" y="78143"/>
                  </a:lnTo>
                  <a:lnTo>
                    <a:pt x="263956" y="76695"/>
                  </a:lnTo>
                  <a:lnTo>
                    <a:pt x="267462" y="76466"/>
                  </a:lnTo>
                  <a:lnTo>
                    <a:pt x="267665" y="75412"/>
                  </a:lnTo>
                  <a:lnTo>
                    <a:pt x="261581" y="73761"/>
                  </a:lnTo>
                  <a:lnTo>
                    <a:pt x="250837" y="89763"/>
                  </a:lnTo>
                  <a:lnTo>
                    <a:pt x="251714" y="90347"/>
                  </a:lnTo>
                  <a:lnTo>
                    <a:pt x="252996" y="88455"/>
                  </a:lnTo>
                  <a:lnTo>
                    <a:pt x="254025" y="88176"/>
                  </a:lnTo>
                  <a:lnTo>
                    <a:pt x="270535" y="99250"/>
                  </a:lnTo>
                  <a:lnTo>
                    <a:pt x="270675" y="100317"/>
                  </a:lnTo>
                  <a:lnTo>
                    <a:pt x="269392" y="102222"/>
                  </a:lnTo>
                  <a:lnTo>
                    <a:pt x="270268" y="102806"/>
                  </a:lnTo>
                  <a:lnTo>
                    <a:pt x="281012" y="86804"/>
                  </a:lnTo>
                  <a:close/>
                </a:path>
                <a:path w="305434" h="168909">
                  <a:moveTo>
                    <a:pt x="294525" y="59321"/>
                  </a:moveTo>
                  <a:lnTo>
                    <a:pt x="293560" y="58877"/>
                  </a:lnTo>
                  <a:lnTo>
                    <a:pt x="292239" y="61302"/>
                  </a:lnTo>
                  <a:lnTo>
                    <a:pt x="287502" y="61607"/>
                  </a:lnTo>
                  <a:lnTo>
                    <a:pt x="282460" y="61772"/>
                  </a:lnTo>
                  <a:lnTo>
                    <a:pt x="281241" y="61772"/>
                  </a:lnTo>
                  <a:lnTo>
                    <a:pt x="280200" y="62382"/>
                  </a:lnTo>
                  <a:lnTo>
                    <a:pt x="280974" y="59359"/>
                  </a:lnTo>
                  <a:lnTo>
                    <a:pt x="280898" y="57924"/>
                  </a:lnTo>
                  <a:lnTo>
                    <a:pt x="280771" y="55841"/>
                  </a:lnTo>
                  <a:lnTo>
                    <a:pt x="274497" y="52946"/>
                  </a:lnTo>
                  <a:lnTo>
                    <a:pt x="270954" y="54508"/>
                  </a:lnTo>
                  <a:lnTo>
                    <a:pt x="263194" y="71285"/>
                  </a:lnTo>
                  <a:lnTo>
                    <a:pt x="264147" y="71729"/>
                  </a:lnTo>
                  <a:lnTo>
                    <a:pt x="265112" y="69646"/>
                  </a:lnTo>
                  <a:lnTo>
                    <a:pt x="266090" y="69202"/>
                  </a:lnTo>
                  <a:lnTo>
                    <a:pt x="284149" y="77558"/>
                  </a:lnTo>
                  <a:lnTo>
                    <a:pt x="284441" y="78587"/>
                  </a:lnTo>
                  <a:lnTo>
                    <a:pt x="283476" y="80670"/>
                  </a:lnTo>
                  <a:lnTo>
                    <a:pt x="284441" y="81114"/>
                  </a:lnTo>
                  <a:lnTo>
                    <a:pt x="288277" y="72809"/>
                  </a:lnTo>
                  <a:lnTo>
                    <a:pt x="289242" y="70726"/>
                  </a:lnTo>
                  <a:lnTo>
                    <a:pt x="288290" y="70281"/>
                  </a:lnTo>
                  <a:lnTo>
                    <a:pt x="287312" y="72377"/>
                  </a:lnTo>
                  <a:lnTo>
                    <a:pt x="286346" y="72809"/>
                  </a:lnTo>
                  <a:lnTo>
                    <a:pt x="278549" y="69202"/>
                  </a:lnTo>
                  <a:lnTo>
                    <a:pt x="268554" y="64566"/>
                  </a:lnTo>
                  <a:lnTo>
                    <a:pt x="267868" y="64147"/>
                  </a:lnTo>
                  <a:lnTo>
                    <a:pt x="270192" y="59131"/>
                  </a:lnTo>
                  <a:lnTo>
                    <a:pt x="272021" y="57924"/>
                  </a:lnTo>
                  <a:lnTo>
                    <a:pt x="278028" y="60718"/>
                  </a:lnTo>
                  <a:lnTo>
                    <a:pt x="278917" y="62877"/>
                  </a:lnTo>
                  <a:lnTo>
                    <a:pt x="276453" y="68224"/>
                  </a:lnTo>
                  <a:lnTo>
                    <a:pt x="277863" y="68770"/>
                  </a:lnTo>
                  <a:lnTo>
                    <a:pt x="278422" y="67589"/>
                  </a:lnTo>
                  <a:lnTo>
                    <a:pt x="279336" y="66649"/>
                  </a:lnTo>
                  <a:lnTo>
                    <a:pt x="283768" y="66649"/>
                  </a:lnTo>
                  <a:lnTo>
                    <a:pt x="288188" y="66611"/>
                  </a:lnTo>
                  <a:lnTo>
                    <a:pt x="289191" y="66586"/>
                  </a:lnTo>
                  <a:lnTo>
                    <a:pt x="290220" y="66624"/>
                  </a:lnTo>
                  <a:lnTo>
                    <a:pt x="290487" y="66586"/>
                  </a:lnTo>
                  <a:lnTo>
                    <a:pt x="291211" y="66484"/>
                  </a:lnTo>
                  <a:lnTo>
                    <a:pt x="293116" y="62382"/>
                  </a:lnTo>
                  <a:lnTo>
                    <a:pt x="294525" y="59321"/>
                  </a:lnTo>
                  <a:close/>
                </a:path>
                <a:path w="305434" h="168909">
                  <a:moveTo>
                    <a:pt x="298475" y="45923"/>
                  </a:moveTo>
                  <a:lnTo>
                    <a:pt x="297472" y="45605"/>
                  </a:lnTo>
                  <a:lnTo>
                    <a:pt x="296786" y="47802"/>
                  </a:lnTo>
                  <a:lnTo>
                    <a:pt x="295871" y="48348"/>
                  </a:lnTo>
                  <a:lnTo>
                    <a:pt x="276910" y="42329"/>
                  </a:lnTo>
                  <a:lnTo>
                    <a:pt x="276479" y="41351"/>
                  </a:lnTo>
                  <a:lnTo>
                    <a:pt x="277177" y="39154"/>
                  </a:lnTo>
                  <a:lnTo>
                    <a:pt x="276174" y="38836"/>
                  </a:lnTo>
                  <a:lnTo>
                    <a:pt x="272707" y="49745"/>
                  </a:lnTo>
                  <a:lnTo>
                    <a:pt x="273710" y="50076"/>
                  </a:lnTo>
                  <a:lnTo>
                    <a:pt x="274408" y="47879"/>
                  </a:lnTo>
                  <a:lnTo>
                    <a:pt x="275323" y="47332"/>
                  </a:lnTo>
                  <a:lnTo>
                    <a:pt x="277456" y="48006"/>
                  </a:lnTo>
                  <a:lnTo>
                    <a:pt x="294284" y="53340"/>
                  </a:lnTo>
                  <a:lnTo>
                    <a:pt x="294703" y="54317"/>
                  </a:lnTo>
                  <a:lnTo>
                    <a:pt x="294017" y="56515"/>
                  </a:lnTo>
                  <a:lnTo>
                    <a:pt x="295021" y="56832"/>
                  </a:lnTo>
                  <a:lnTo>
                    <a:pt x="298475" y="45923"/>
                  </a:lnTo>
                  <a:close/>
                </a:path>
                <a:path w="305434" h="168909">
                  <a:moveTo>
                    <a:pt x="302742" y="29705"/>
                  </a:moveTo>
                  <a:lnTo>
                    <a:pt x="300850" y="26238"/>
                  </a:lnTo>
                  <a:lnTo>
                    <a:pt x="297497" y="23329"/>
                  </a:lnTo>
                  <a:lnTo>
                    <a:pt x="296735" y="24015"/>
                  </a:lnTo>
                  <a:lnTo>
                    <a:pt x="298704" y="26123"/>
                  </a:lnTo>
                  <a:lnTo>
                    <a:pt x="300456" y="28549"/>
                  </a:lnTo>
                  <a:lnTo>
                    <a:pt x="299085" y="35153"/>
                  </a:lnTo>
                  <a:lnTo>
                    <a:pt x="295173" y="38265"/>
                  </a:lnTo>
                  <a:lnTo>
                    <a:pt x="283933" y="35915"/>
                  </a:lnTo>
                  <a:lnTo>
                    <a:pt x="278117" y="33591"/>
                  </a:lnTo>
                  <a:lnTo>
                    <a:pt x="279844" y="25260"/>
                  </a:lnTo>
                  <a:lnTo>
                    <a:pt x="283654" y="23342"/>
                  </a:lnTo>
                  <a:lnTo>
                    <a:pt x="286931" y="22593"/>
                  </a:lnTo>
                  <a:lnTo>
                    <a:pt x="286791" y="21094"/>
                  </a:lnTo>
                  <a:lnTo>
                    <a:pt x="279476" y="21526"/>
                  </a:lnTo>
                  <a:lnTo>
                    <a:pt x="279984" y="23520"/>
                  </a:lnTo>
                  <a:lnTo>
                    <a:pt x="279679" y="24968"/>
                  </a:lnTo>
                  <a:lnTo>
                    <a:pt x="279298" y="25577"/>
                  </a:lnTo>
                  <a:lnTo>
                    <a:pt x="278028" y="27889"/>
                  </a:lnTo>
                  <a:lnTo>
                    <a:pt x="276440" y="35496"/>
                  </a:lnTo>
                  <a:lnTo>
                    <a:pt x="281851" y="41160"/>
                  </a:lnTo>
                  <a:lnTo>
                    <a:pt x="294373" y="43776"/>
                  </a:lnTo>
                  <a:lnTo>
                    <a:pt x="300494" y="40474"/>
                  </a:lnTo>
                  <a:lnTo>
                    <a:pt x="302742" y="29705"/>
                  </a:lnTo>
                  <a:close/>
                </a:path>
                <a:path w="305434" h="168909">
                  <a:moveTo>
                    <a:pt x="305041" y="76"/>
                  </a:moveTo>
                  <a:lnTo>
                    <a:pt x="303987" y="0"/>
                  </a:lnTo>
                  <a:lnTo>
                    <a:pt x="303720" y="2870"/>
                  </a:lnTo>
                  <a:lnTo>
                    <a:pt x="302031" y="3073"/>
                  </a:lnTo>
                  <a:lnTo>
                    <a:pt x="294678" y="4800"/>
                  </a:lnTo>
                  <a:lnTo>
                    <a:pt x="294678" y="10109"/>
                  </a:lnTo>
                  <a:lnTo>
                    <a:pt x="294182" y="17094"/>
                  </a:lnTo>
                  <a:lnTo>
                    <a:pt x="284213" y="12573"/>
                  </a:lnTo>
                  <a:lnTo>
                    <a:pt x="294678" y="10109"/>
                  </a:lnTo>
                  <a:lnTo>
                    <a:pt x="294678" y="4800"/>
                  </a:lnTo>
                  <a:lnTo>
                    <a:pt x="280162" y="8178"/>
                  </a:lnTo>
                  <a:lnTo>
                    <a:pt x="281330" y="12941"/>
                  </a:lnTo>
                  <a:lnTo>
                    <a:pt x="300024" y="21513"/>
                  </a:lnTo>
                  <a:lnTo>
                    <a:pt x="301574" y="22263"/>
                  </a:lnTo>
                  <a:lnTo>
                    <a:pt x="302183" y="25298"/>
                  </a:lnTo>
                  <a:lnTo>
                    <a:pt x="303237" y="25374"/>
                  </a:lnTo>
                  <a:lnTo>
                    <a:pt x="303644" y="19634"/>
                  </a:lnTo>
                  <a:lnTo>
                    <a:pt x="303847" y="16891"/>
                  </a:lnTo>
                  <a:lnTo>
                    <a:pt x="302793" y="16802"/>
                  </a:lnTo>
                  <a:lnTo>
                    <a:pt x="302602" y="18199"/>
                  </a:lnTo>
                  <a:lnTo>
                    <a:pt x="301853" y="19634"/>
                  </a:lnTo>
                  <a:lnTo>
                    <a:pt x="299339" y="19443"/>
                  </a:lnTo>
                  <a:lnTo>
                    <a:pt x="295630" y="17843"/>
                  </a:lnTo>
                  <a:lnTo>
                    <a:pt x="296189" y="10109"/>
                  </a:lnTo>
                  <a:lnTo>
                    <a:pt x="296214" y="9702"/>
                  </a:lnTo>
                  <a:lnTo>
                    <a:pt x="300062" y="8826"/>
                  </a:lnTo>
                  <a:lnTo>
                    <a:pt x="300774" y="8648"/>
                  </a:lnTo>
                  <a:lnTo>
                    <a:pt x="301332" y="8534"/>
                  </a:lnTo>
                  <a:lnTo>
                    <a:pt x="302895" y="8648"/>
                  </a:lnTo>
                  <a:lnTo>
                    <a:pt x="303276" y="9144"/>
                  </a:lnTo>
                  <a:lnTo>
                    <a:pt x="303187" y="11188"/>
                  </a:lnTo>
                  <a:lnTo>
                    <a:pt x="304241" y="11277"/>
                  </a:lnTo>
                  <a:lnTo>
                    <a:pt x="304431" y="8534"/>
                  </a:lnTo>
                  <a:lnTo>
                    <a:pt x="305041" y="76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5" name="object 247">
              <a:extLst>
                <a:ext uri="{FF2B5EF4-FFF2-40B4-BE49-F238E27FC236}">
                  <a16:creationId xmlns:a16="http://schemas.microsoft.com/office/drawing/2014/main" id="{22BA6332-874E-4227-B6B1-DB0C58644E60}"/>
                </a:ext>
              </a:extLst>
            </p:cNvPr>
            <p:cNvSpPr/>
            <p:nvPr/>
          </p:nvSpPr>
          <p:spPr>
            <a:xfrm>
              <a:off x="8091119" y="6434954"/>
              <a:ext cx="12700" cy="10795"/>
            </a:xfrm>
            <a:custGeom>
              <a:avLst/>
              <a:gdLst/>
              <a:ahLst/>
              <a:cxnLst/>
              <a:rect l="l" t="t" r="r" b="b"/>
              <a:pathLst>
                <a:path w="12700" h="10795">
                  <a:moveTo>
                    <a:pt x="2984" y="8801"/>
                  </a:moveTo>
                  <a:lnTo>
                    <a:pt x="2476" y="8890"/>
                  </a:lnTo>
                  <a:lnTo>
                    <a:pt x="1955" y="8877"/>
                  </a:lnTo>
                  <a:lnTo>
                    <a:pt x="1460" y="8763"/>
                  </a:lnTo>
                  <a:lnTo>
                    <a:pt x="914" y="9321"/>
                  </a:lnTo>
                  <a:lnTo>
                    <a:pt x="431" y="9867"/>
                  </a:lnTo>
                  <a:lnTo>
                    <a:pt x="0" y="10401"/>
                  </a:lnTo>
                  <a:lnTo>
                    <a:pt x="508" y="10414"/>
                  </a:lnTo>
                  <a:lnTo>
                    <a:pt x="1028" y="10401"/>
                  </a:lnTo>
                  <a:lnTo>
                    <a:pt x="1562" y="10337"/>
                  </a:lnTo>
                  <a:lnTo>
                    <a:pt x="1993" y="9842"/>
                  </a:lnTo>
                  <a:lnTo>
                    <a:pt x="2463" y="9334"/>
                  </a:lnTo>
                  <a:lnTo>
                    <a:pt x="2984" y="8801"/>
                  </a:lnTo>
                  <a:close/>
                </a:path>
                <a:path w="12700" h="10795">
                  <a:moveTo>
                    <a:pt x="12204" y="0"/>
                  </a:moveTo>
                  <a:lnTo>
                    <a:pt x="10731" y="1104"/>
                  </a:lnTo>
                  <a:lnTo>
                    <a:pt x="9220" y="2222"/>
                  </a:lnTo>
                  <a:lnTo>
                    <a:pt x="7683" y="3378"/>
                  </a:lnTo>
                  <a:lnTo>
                    <a:pt x="7658" y="3886"/>
                  </a:lnTo>
                  <a:lnTo>
                    <a:pt x="7581" y="4368"/>
                  </a:lnTo>
                  <a:lnTo>
                    <a:pt x="7467" y="4838"/>
                  </a:lnTo>
                  <a:lnTo>
                    <a:pt x="7848" y="4546"/>
                  </a:lnTo>
                  <a:lnTo>
                    <a:pt x="8229" y="4241"/>
                  </a:lnTo>
                  <a:lnTo>
                    <a:pt x="10871" y="2247"/>
                  </a:lnTo>
                  <a:lnTo>
                    <a:pt x="11963" y="1435"/>
                  </a:lnTo>
                  <a:lnTo>
                    <a:pt x="12077" y="952"/>
                  </a:lnTo>
                  <a:lnTo>
                    <a:pt x="12166" y="482"/>
                  </a:lnTo>
                  <a:lnTo>
                    <a:pt x="12204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6" name="object 248">
              <a:extLst>
                <a:ext uri="{FF2B5EF4-FFF2-40B4-BE49-F238E27FC236}">
                  <a16:creationId xmlns:a16="http://schemas.microsoft.com/office/drawing/2014/main" id="{A974CB9E-82F0-423F-A712-9654C852CACE}"/>
                </a:ext>
              </a:extLst>
            </p:cNvPr>
            <p:cNvSpPr/>
            <p:nvPr/>
          </p:nvSpPr>
          <p:spPr>
            <a:xfrm>
              <a:off x="8092668" y="6436389"/>
              <a:ext cx="10795" cy="9525"/>
            </a:xfrm>
            <a:custGeom>
              <a:avLst/>
              <a:gdLst/>
              <a:ahLst/>
              <a:cxnLst/>
              <a:rect l="l" t="t" r="r" b="b"/>
              <a:pathLst>
                <a:path w="10795" h="9525">
                  <a:moveTo>
                    <a:pt x="2616" y="7759"/>
                  </a:moveTo>
                  <a:lnTo>
                    <a:pt x="2324" y="7162"/>
                  </a:lnTo>
                  <a:lnTo>
                    <a:pt x="2019" y="7264"/>
                  </a:lnTo>
                  <a:lnTo>
                    <a:pt x="1727" y="7327"/>
                  </a:lnTo>
                  <a:lnTo>
                    <a:pt x="1422" y="7366"/>
                  </a:lnTo>
                  <a:lnTo>
                    <a:pt x="901" y="7899"/>
                  </a:lnTo>
                  <a:lnTo>
                    <a:pt x="431" y="8407"/>
                  </a:lnTo>
                  <a:lnTo>
                    <a:pt x="0" y="8915"/>
                  </a:lnTo>
                  <a:lnTo>
                    <a:pt x="596" y="8851"/>
                  </a:lnTo>
                  <a:lnTo>
                    <a:pt x="1206" y="8750"/>
                  </a:lnTo>
                  <a:lnTo>
                    <a:pt x="1828" y="8597"/>
                  </a:lnTo>
                  <a:lnTo>
                    <a:pt x="2070" y="8318"/>
                  </a:lnTo>
                  <a:lnTo>
                    <a:pt x="2336" y="8039"/>
                  </a:lnTo>
                  <a:lnTo>
                    <a:pt x="2616" y="7759"/>
                  </a:lnTo>
                  <a:close/>
                </a:path>
                <a:path w="10795" h="9525">
                  <a:moveTo>
                    <a:pt x="3657" y="6705"/>
                  </a:moveTo>
                  <a:lnTo>
                    <a:pt x="2324" y="7150"/>
                  </a:lnTo>
                  <a:lnTo>
                    <a:pt x="2616" y="7747"/>
                  </a:lnTo>
                  <a:lnTo>
                    <a:pt x="3657" y="6705"/>
                  </a:lnTo>
                  <a:close/>
                </a:path>
                <a:path w="10795" h="9525">
                  <a:moveTo>
                    <a:pt x="5486" y="5041"/>
                  </a:moveTo>
                  <a:lnTo>
                    <a:pt x="4152" y="6197"/>
                  </a:lnTo>
                  <a:lnTo>
                    <a:pt x="3657" y="6705"/>
                  </a:lnTo>
                  <a:lnTo>
                    <a:pt x="4419" y="6438"/>
                  </a:lnTo>
                  <a:lnTo>
                    <a:pt x="5486" y="5067"/>
                  </a:lnTo>
                  <a:close/>
                </a:path>
                <a:path w="10795" h="9525">
                  <a:moveTo>
                    <a:pt x="10414" y="0"/>
                  </a:moveTo>
                  <a:lnTo>
                    <a:pt x="6680" y="2806"/>
                  </a:lnTo>
                  <a:lnTo>
                    <a:pt x="5918" y="3403"/>
                  </a:lnTo>
                  <a:lnTo>
                    <a:pt x="5486" y="5041"/>
                  </a:lnTo>
                  <a:lnTo>
                    <a:pt x="6057" y="4546"/>
                  </a:lnTo>
                  <a:lnTo>
                    <a:pt x="9931" y="1612"/>
                  </a:lnTo>
                  <a:lnTo>
                    <a:pt x="10134" y="1092"/>
                  </a:lnTo>
                  <a:lnTo>
                    <a:pt x="10299" y="546"/>
                  </a:lnTo>
                  <a:lnTo>
                    <a:pt x="10414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7" name="object 249">
              <a:extLst>
                <a:ext uri="{FF2B5EF4-FFF2-40B4-BE49-F238E27FC236}">
                  <a16:creationId xmlns:a16="http://schemas.microsoft.com/office/drawing/2014/main" id="{A4B3D395-2EAA-4893-A11C-50FBCB506C19}"/>
                </a:ext>
              </a:extLst>
            </p:cNvPr>
            <p:cNvSpPr/>
            <p:nvPr/>
          </p:nvSpPr>
          <p:spPr>
            <a:xfrm>
              <a:off x="8094498" y="6438014"/>
              <a:ext cx="8255" cy="6985"/>
            </a:xfrm>
            <a:custGeom>
              <a:avLst/>
              <a:gdLst/>
              <a:ahLst/>
              <a:cxnLst/>
              <a:rect l="l" t="t" r="r" b="b"/>
              <a:pathLst>
                <a:path w="8254" h="6984">
                  <a:moveTo>
                    <a:pt x="8102" y="0"/>
                  </a:moveTo>
                  <a:lnTo>
                    <a:pt x="4229" y="2921"/>
                  </a:lnTo>
                  <a:lnTo>
                    <a:pt x="2311" y="4584"/>
                  </a:lnTo>
                  <a:lnTo>
                    <a:pt x="787" y="6121"/>
                  </a:lnTo>
                  <a:lnTo>
                    <a:pt x="520" y="6413"/>
                  </a:lnTo>
                  <a:lnTo>
                    <a:pt x="254" y="6680"/>
                  </a:lnTo>
                  <a:lnTo>
                    <a:pt x="0" y="6959"/>
                  </a:lnTo>
                  <a:lnTo>
                    <a:pt x="355" y="6870"/>
                  </a:lnTo>
                  <a:lnTo>
                    <a:pt x="698" y="6769"/>
                  </a:lnTo>
                  <a:lnTo>
                    <a:pt x="1028" y="6667"/>
                  </a:lnTo>
                  <a:lnTo>
                    <a:pt x="1511" y="6502"/>
                  </a:lnTo>
                  <a:lnTo>
                    <a:pt x="2374" y="6134"/>
                  </a:lnTo>
                  <a:lnTo>
                    <a:pt x="3670" y="4838"/>
                  </a:lnTo>
                  <a:lnTo>
                    <a:pt x="5232" y="3479"/>
                  </a:lnTo>
                  <a:lnTo>
                    <a:pt x="7073" y="2057"/>
                  </a:lnTo>
                  <a:lnTo>
                    <a:pt x="7493" y="1409"/>
                  </a:lnTo>
                  <a:lnTo>
                    <a:pt x="7823" y="711"/>
                  </a:lnTo>
                  <a:lnTo>
                    <a:pt x="8102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8" name="object 250">
              <a:extLst>
                <a:ext uri="{FF2B5EF4-FFF2-40B4-BE49-F238E27FC236}">
                  <a16:creationId xmlns:a16="http://schemas.microsoft.com/office/drawing/2014/main" id="{EE1368AE-D553-437D-B619-CCB57940863E}"/>
                </a:ext>
              </a:extLst>
            </p:cNvPr>
            <p:cNvSpPr/>
            <p:nvPr/>
          </p:nvSpPr>
          <p:spPr>
            <a:xfrm>
              <a:off x="8096870" y="6440058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711" y="0"/>
                  </a:moveTo>
                  <a:lnTo>
                    <a:pt x="2870" y="1435"/>
                  </a:lnTo>
                  <a:lnTo>
                    <a:pt x="1308" y="2794"/>
                  </a:lnTo>
                  <a:lnTo>
                    <a:pt x="0" y="4089"/>
                  </a:lnTo>
                  <a:lnTo>
                    <a:pt x="2070" y="3124"/>
                  </a:lnTo>
                  <a:lnTo>
                    <a:pt x="3632" y="1701"/>
                  </a:lnTo>
                  <a:lnTo>
                    <a:pt x="4711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59" name="object 251">
              <a:extLst>
                <a:ext uri="{FF2B5EF4-FFF2-40B4-BE49-F238E27FC236}">
                  <a16:creationId xmlns:a16="http://schemas.microsoft.com/office/drawing/2014/main" id="{C5533E08-9652-4085-89A6-6DB5A147AAC2}"/>
                </a:ext>
              </a:extLst>
            </p:cNvPr>
            <p:cNvSpPr/>
            <p:nvPr/>
          </p:nvSpPr>
          <p:spPr>
            <a:xfrm>
              <a:off x="8106639" y="6423752"/>
              <a:ext cx="10795" cy="8890"/>
            </a:xfrm>
            <a:custGeom>
              <a:avLst/>
              <a:gdLst/>
              <a:ahLst/>
              <a:cxnLst/>
              <a:rect l="l" t="t" r="r" b="b"/>
              <a:pathLst>
                <a:path w="10795" h="8890">
                  <a:moveTo>
                    <a:pt x="4737" y="5283"/>
                  </a:moveTo>
                  <a:lnTo>
                    <a:pt x="4292" y="4381"/>
                  </a:lnTo>
                  <a:lnTo>
                    <a:pt x="2895" y="5410"/>
                  </a:lnTo>
                  <a:lnTo>
                    <a:pt x="1460" y="6451"/>
                  </a:lnTo>
                  <a:lnTo>
                    <a:pt x="0" y="7531"/>
                  </a:lnTo>
                  <a:lnTo>
                    <a:pt x="444" y="8432"/>
                  </a:lnTo>
                  <a:lnTo>
                    <a:pt x="4737" y="5283"/>
                  </a:lnTo>
                  <a:close/>
                </a:path>
                <a:path w="10795" h="8890">
                  <a:moveTo>
                    <a:pt x="10782" y="901"/>
                  </a:moveTo>
                  <a:lnTo>
                    <a:pt x="10337" y="0"/>
                  </a:lnTo>
                  <a:lnTo>
                    <a:pt x="9728" y="431"/>
                  </a:lnTo>
                  <a:lnTo>
                    <a:pt x="9118" y="889"/>
                  </a:lnTo>
                  <a:lnTo>
                    <a:pt x="8496" y="1320"/>
                  </a:lnTo>
                  <a:lnTo>
                    <a:pt x="8813" y="1473"/>
                  </a:lnTo>
                  <a:lnTo>
                    <a:pt x="9105" y="1663"/>
                  </a:lnTo>
                  <a:lnTo>
                    <a:pt x="9398" y="1905"/>
                  </a:lnTo>
                  <a:lnTo>
                    <a:pt x="9867" y="1574"/>
                  </a:lnTo>
                  <a:lnTo>
                    <a:pt x="10325" y="1231"/>
                  </a:lnTo>
                  <a:lnTo>
                    <a:pt x="10782" y="901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0" name="object 252">
              <a:extLst>
                <a:ext uri="{FF2B5EF4-FFF2-40B4-BE49-F238E27FC236}">
                  <a16:creationId xmlns:a16="http://schemas.microsoft.com/office/drawing/2014/main" id="{80EBFD7D-3C98-45B3-8C5D-A5A955A9B98D}"/>
                </a:ext>
              </a:extLst>
            </p:cNvPr>
            <p:cNvSpPr/>
            <p:nvPr/>
          </p:nvSpPr>
          <p:spPr>
            <a:xfrm>
              <a:off x="8107095" y="6424654"/>
              <a:ext cx="10795" cy="8890"/>
            </a:xfrm>
            <a:custGeom>
              <a:avLst/>
              <a:gdLst/>
              <a:ahLst/>
              <a:cxnLst/>
              <a:rect l="l" t="t" r="r" b="b"/>
              <a:pathLst>
                <a:path w="10795" h="8890">
                  <a:moveTo>
                    <a:pt x="4737" y="5295"/>
                  </a:moveTo>
                  <a:lnTo>
                    <a:pt x="4292" y="4381"/>
                  </a:lnTo>
                  <a:lnTo>
                    <a:pt x="0" y="7531"/>
                  </a:lnTo>
                  <a:lnTo>
                    <a:pt x="444" y="8445"/>
                  </a:lnTo>
                  <a:lnTo>
                    <a:pt x="4737" y="5295"/>
                  </a:lnTo>
                  <a:close/>
                </a:path>
                <a:path w="10795" h="8890">
                  <a:moveTo>
                    <a:pt x="10769" y="901"/>
                  </a:moveTo>
                  <a:lnTo>
                    <a:pt x="10325" y="0"/>
                  </a:lnTo>
                  <a:lnTo>
                    <a:pt x="9867" y="330"/>
                  </a:lnTo>
                  <a:lnTo>
                    <a:pt x="9410" y="673"/>
                  </a:lnTo>
                  <a:lnTo>
                    <a:pt x="8940" y="1003"/>
                  </a:lnTo>
                  <a:lnTo>
                    <a:pt x="9182" y="1206"/>
                  </a:lnTo>
                  <a:lnTo>
                    <a:pt x="9410" y="1447"/>
                  </a:lnTo>
                  <a:lnTo>
                    <a:pt x="9639" y="1727"/>
                  </a:lnTo>
                  <a:lnTo>
                    <a:pt x="10401" y="1168"/>
                  </a:lnTo>
                  <a:lnTo>
                    <a:pt x="10769" y="901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1" name="object 253">
              <a:extLst>
                <a:ext uri="{FF2B5EF4-FFF2-40B4-BE49-F238E27FC236}">
                  <a16:creationId xmlns:a16="http://schemas.microsoft.com/office/drawing/2014/main" id="{8D45B4F2-4207-48F5-864E-E4B85F611469}"/>
                </a:ext>
              </a:extLst>
            </p:cNvPr>
            <p:cNvSpPr/>
            <p:nvPr/>
          </p:nvSpPr>
          <p:spPr>
            <a:xfrm>
              <a:off x="8107540" y="6425556"/>
              <a:ext cx="10795" cy="8890"/>
            </a:xfrm>
            <a:custGeom>
              <a:avLst/>
              <a:gdLst/>
              <a:ahLst/>
              <a:cxnLst/>
              <a:rect l="l" t="t" r="r" b="b"/>
              <a:pathLst>
                <a:path w="10795" h="8890">
                  <a:moveTo>
                    <a:pt x="4737" y="5295"/>
                  </a:moveTo>
                  <a:lnTo>
                    <a:pt x="4292" y="4381"/>
                  </a:lnTo>
                  <a:lnTo>
                    <a:pt x="2895" y="5422"/>
                  </a:lnTo>
                  <a:lnTo>
                    <a:pt x="0" y="7531"/>
                  </a:lnTo>
                  <a:lnTo>
                    <a:pt x="444" y="8445"/>
                  </a:lnTo>
                  <a:lnTo>
                    <a:pt x="1905" y="7366"/>
                  </a:lnTo>
                  <a:lnTo>
                    <a:pt x="3340" y="6324"/>
                  </a:lnTo>
                  <a:lnTo>
                    <a:pt x="4737" y="5295"/>
                  </a:lnTo>
                  <a:close/>
                </a:path>
                <a:path w="10795" h="8890">
                  <a:moveTo>
                    <a:pt x="10782" y="901"/>
                  </a:moveTo>
                  <a:lnTo>
                    <a:pt x="10337" y="0"/>
                  </a:lnTo>
                  <a:lnTo>
                    <a:pt x="9575" y="558"/>
                  </a:lnTo>
                  <a:lnTo>
                    <a:pt x="9194" y="825"/>
                  </a:lnTo>
                  <a:lnTo>
                    <a:pt x="9359" y="1028"/>
                  </a:lnTo>
                  <a:lnTo>
                    <a:pt x="9525" y="1244"/>
                  </a:lnTo>
                  <a:lnTo>
                    <a:pt x="9677" y="1498"/>
                  </a:lnTo>
                  <a:lnTo>
                    <a:pt x="10553" y="1066"/>
                  </a:lnTo>
                  <a:lnTo>
                    <a:pt x="10706" y="965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2" name="object 254">
              <a:extLst>
                <a:ext uri="{FF2B5EF4-FFF2-40B4-BE49-F238E27FC236}">
                  <a16:creationId xmlns:a16="http://schemas.microsoft.com/office/drawing/2014/main" id="{3B80BAC0-A657-42A9-9B51-C9DE6CA6210D}"/>
                </a:ext>
              </a:extLst>
            </p:cNvPr>
            <p:cNvSpPr/>
            <p:nvPr/>
          </p:nvSpPr>
          <p:spPr>
            <a:xfrm>
              <a:off x="8107984" y="6426457"/>
              <a:ext cx="10795" cy="8890"/>
            </a:xfrm>
            <a:custGeom>
              <a:avLst/>
              <a:gdLst/>
              <a:ahLst/>
              <a:cxnLst/>
              <a:rect l="l" t="t" r="r" b="b"/>
              <a:pathLst>
                <a:path w="10795" h="8890">
                  <a:moveTo>
                    <a:pt x="4737" y="5295"/>
                  </a:moveTo>
                  <a:lnTo>
                    <a:pt x="4292" y="4394"/>
                  </a:lnTo>
                  <a:lnTo>
                    <a:pt x="2895" y="5422"/>
                  </a:lnTo>
                  <a:lnTo>
                    <a:pt x="1460" y="6464"/>
                  </a:lnTo>
                  <a:lnTo>
                    <a:pt x="0" y="7543"/>
                  </a:lnTo>
                  <a:lnTo>
                    <a:pt x="444" y="8458"/>
                  </a:lnTo>
                  <a:lnTo>
                    <a:pt x="1905" y="7378"/>
                  </a:lnTo>
                  <a:lnTo>
                    <a:pt x="3340" y="6337"/>
                  </a:lnTo>
                  <a:lnTo>
                    <a:pt x="4737" y="5295"/>
                  </a:lnTo>
                  <a:close/>
                </a:path>
                <a:path w="10795" h="8890">
                  <a:moveTo>
                    <a:pt x="10350" y="50"/>
                  </a:moveTo>
                  <a:lnTo>
                    <a:pt x="10096" y="165"/>
                  </a:lnTo>
                  <a:lnTo>
                    <a:pt x="10350" y="5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3" name="object 255">
              <a:extLst>
                <a:ext uri="{FF2B5EF4-FFF2-40B4-BE49-F238E27FC236}">
                  <a16:creationId xmlns:a16="http://schemas.microsoft.com/office/drawing/2014/main" id="{0D768AA6-5D9D-42F1-A562-1EC6CB1DF38A}"/>
                </a:ext>
              </a:extLst>
            </p:cNvPr>
            <p:cNvSpPr/>
            <p:nvPr/>
          </p:nvSpPr>
          <p:spPr>
            <a:xfrm>
              <a:off x="8108438" y="6431753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292" y="0"/>
                  </a:moveTo>
                  <a:lnTo>
                    <a:pt x="0" y="3162"/>
                  </a:lnTo>
                  <a:lnTo>
                    <a:pt x="165" y="3505"/>
                  </a:lnTo>
                  <a:lnTo>
                    <a:pt x="292" y="3835"/>
                  </a:lnTo>
                  <a:lnTo>
                    <a:pt x="380" y="4127"/>
                  </a:lnTo>
                  <a:lnTo>
                    <a:pt x="3314" y="1955"/>
                  </a:lnTo>
                  <a:lnTo>
                    <a:pt x="4737" y="914"/>
                  </a:lnTo>
                  <a:lnTo>
                    <a:pt x="4292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4" name="object 256">
              <a:extLst>
                <a:ext uri="{FF2B5EF4-FFF2-40B4-BE49-F238E27FC236}">
                  <a16:creationId xmlns:a16="http://schemas.microsoft.com/office/drawing/2014/main" id="{9CEB70FA-BA19-4C19-A9C4-604505C53644}"/>
                </a:ext>
              </a:extLst>
            </p:cNvPr>
            <p:cNvSpPr/>
            <p:nvPr/>
          </p:nvSpPr>
          <p:spPr>
            <a:xfrm>
              <a:off x="8108822" y="6432664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356" y="0"/>
                  </a:moveTo>
                  <a:lnTo>
                    <a:pt x="1485" y="2108"/>
                  </a:lnTo>
                  <a:lnTo>
                    <a:pt x="0" y="3213"/>
                  </a:lnTo>
                  <a:lnTo>
                    <a:pt x="126" y="3670"/>
                  </a:lnTo>
                  <a:lnTo>
                    <a:pt x="152" y="4051"/>
                  </a:lnTo>
                  <a:lnTo>
                    <a:pt x="76" y="4406"/>
                  </a:lnTo>
                  <a:lnTo>
                    <a:pt x="3314" y="2006"/>
                  </a:lnTo>
                  <a:lnTo>
                    <a:pt x="4876" y="863"/>
                  </a:lnTo>
                  <a:lnTo>
                    <a:pt x="4686" y="622"/>
                  </a:lnTo>
                  <a:lnTo>
                    <a:pt x="4521" y="330"/>
                  </a:lnTo>
                  <a:lnTo>
                    <a:pt x="4356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5" name="object 257">
              <a:extLst>
                <a:ext uri="{FF2B5EF4-FFF2-40B4-BE49-F238E27FC236}">
                  <a16:creationId xmlns:a16="http://schemas.microsoft.com/office/drawing/2014/main" id="{F9407AE3-DFAA-484B-B9C2-801B439A252D}"/>
                </a:ext>
              </a:extLst>
            </p:cNvPr>
            <p:cNvSpPr/>
            <p:nvPr/>
          </p:nvSpPr>
          <p:spPr>
            <a:xfrm>
              <a:off x="8106947" y="6433525"/>
              <a:ext cx="7620" cy="6350"/>
            </a:xfrm>
            <a:custGeom>
              <a:avLst/>
              <a:gdLst/>
              <a:ahLst/>
              <a:cxnLst/>
              <a:rect l="l" t="t" r="r" b="b"/>
              <a:pathLst>
                <a:path w="7620" h="6350">
                  <a:moveTo>
                    <a:pt x="6743" y="0"/>
                  </a:moveTo>
                  <a:lnTo>
                    <a:pt x="1955" y="3543"/>
                  </a:lnTo>
                  <a:lnTo>
                    <a:pt x="1778" y="4279"/>
                  </a:lnTo>
                  <a:lnTo>
                    <a:pt x="1143" y="4825"/>
                  </a:lnTo>
                  <a:lnTo>
                    <a:pt x="0" y="5397"/>
                  </a:lnTo>
                  <a:lnTo>
                    <a:pt x="317" y="6032"/>
                  </a:lnTo>
                  <a:lnTo>
                    <a:pt x="5194" y="2387"/>
                  </a:lnTo>
                  <a:lnTo>
                    <a:pt x="7493" y="685"/>
                  </a:lnTo>
                  <a:lnTo>
                    <a:pt x="7226" y="546"/>
                  </a:lnTo>
                  <a:lnTo>
                    <a:pt x="6972" y="304"/>
                  </a:lnTo>
                  <a:lnTo>
                    <a:pt x="6743" y="0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6" name="object 258">
              <a:extLst>
                <a:ext uri="{FF2B5EF4-FFF2-40B4-BE49-F238E27FC236}">
                  <a16:creationId xmlns:a16="http://schemas.microsoft.com/office/drawing/2014/main" id="{8E3104E3-48E0-4989-BEC4-07C84B802C0E}"/>
                </a:ext>
              </a:extLst>
            </p:cNvPr>
            <p:cNvSpPr/>
            <p:nvPr/>
          </p:nvSpPr>
          <p:spPr>
            <a:xfrm>
              <a:off x="8107257" y="6434212"/>
              <a:ext cx="8890" cy="5715"/>
            </a:xfrm>
            <a:custGeom>
              <a:avLst/>
              <a:gdLst/>
              <a:ahLst/>
              <a:cxnLst/>
              <a:rect l="l" t="t" r="r" b="b"/>
              <a:pathLst>
                <a:path w="8890" h="5715">
                  <a:moveTo>
                    <a:pt x="7188" y="0"/>
                  </a:moveTo>
                  <a:lnTo>
                    <a:pt x="2489" y="3479"/>
                  </a:lnTo>
                  <a:lnTo>
                    <a:pt x="0" y="5346"/>
                  </a:lnTo>
                  <a:lnTo>
                    <a:pt x="152" y="5651"/>
                  </a:lnTo>
                  <a:lnTo>
                    <a:pt x="3390" y="4064"/>
                  </a:lnTo>
                  <a:lnTo>
                    <a:pt x="8661" y="152"/>
                  </a:lnTo>
                  <a:lnTo>
                    <a:pt x="8089" y="279"/>
                  </a:lnTo>
                  <a:lnTo>
                    <a:pt x="7607" y="241"/>
                  </a:lnTo>
                  <a:lnTo>
                    <a:pt x="7188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7" name="object 259">
              <a:extLst>
                <a:ext uri="{FF2B5EF4-FFF2-40B4-BE49-F238E27FC236}">
                  <a16:creationId xmlns:a16="http://schemas.microsoft.com/office/drawing/2014/main" id="{46F6751D-D64E-414A-AD92-34308CD7BE71}"/>
                </a:ext>
              </a:extLst>
            </p:cNvPr>
            <p:cNvSpPr/>
            <p:nvPr/>
          </p:nvSpPr>
          <p:spPr>
            <a:xfrm>
              <a:off x="8110646" y="6433859"/>
              <a:ext cx="6985" cy="4445"/>
            </a:xfrm>
            <a:custGeom>
              <a:avLst/>
              <a:gdLst/>
              <a:ahLst/>
              <a:cxnLst/>
              <a:rect l="l" t="t" r="r" b="b"/>
              <a:pathLst>
                <a:path w="6984" h="4445">
                  <a:moveTo>
                    <a:pt x="6604" y="0"/>
                  </a:moveTo>
                  <a:lnTo>
                    <a:pt x="6108" y="253"/>
                  </a:lnTo>
                  <a:lnTo>
                    <a:pt x="5664" y="419"/>
                  </a:lnTo>
                  <a:lnTo>
                    <a:pt x="5270" y="507"/>
                  </a:lnTo>
                  <a:lnTo>
                    <a:pt x="1816" y="3060"/>
                  </a:lnTo>
                  <a:lnTo>
                    <a:pt x="0" y="4419"/>
                  </a:lnTo>
                  <a:lnTo>
                    <a:pt x="4940" y="1993"/>
                  </a:lnTo>
                  <a:lnTo>
                    <a:pt x="6883" y="571"/>
                  </a:lnTo>
                  <a:lnTo>
                    <a:pt x="6604" y="0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8" name="object 260">
              <a:extLst>
                <a:ext uri="{FF2B5EF4-FFF2-40B4-BE49-F238E27FC236}">
                  <a16:creationId xmlns:a16="http://schemas.microsoft.com/office/drawing/2014/main" id="{AB1159F7-3126-49BB-8B45-68FAFC1983AE}"/>
                </a:ext>
              </a:extLst>
            </p:cNvPr>
            <p:cNvSpPr/>
            <p:nvPr/>
          </p:nvSpPr>
          <p:spPr>
            <a:xfrm>
              <a:off x="8115594" y="6434428"/>
              <a:ext cx="2540" cy="1905"/>
            </a:xfrm>
            <a:custGeom>
              <a:avLst/>
              <a:gdLst/>
              <a:ahLst/>
              <a:cxnLst/>
              <a:rect l="l" t="t" r="r" b="b"/>
              <a:pathLst>
                <a:path w="2540" h="1904">
                  <a:moveTo>
                    <a:pt x="1930" y="0"/>
                  </a:moveTo>
                  <a:lnTo>
                    <a:pt x="1295" y="469"/>
                  </a:lnTo>
                  <a:lnTo>
                    <a:pt x="647" y="939"/>
                  </a:lnTo>
                  <a:lnTo>
                    <a:pt x="0" y="1422"/>
                  </a:lnTo>
                  <a:lnTo>
                    <a:pt x="2120" y="380"/>
                  </a:lnTo>
                  <a:lnTo>
                    <a:pt x="1930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69" name="object 261">
              <a:extLst>
                <a:ext uri="{FF2B5EF4-FFF2-40B4-BE49-F238E27FC236}">
                  <a16:creationId xmlns:a16="http://schemas.microsoft.com/office/drawing/2014/main" id="{46A5D622-86C3-43E7-9BDA-1766850C370F}"/>
                </a:ext>
              </a:extLst>
            </p:cNvPr>
            <p:cNvSpPr/>
            <p:nvPr/>
          </p:nvSpPr>
          <p:spPr>
            <a:xfrm>
              <a:off x="8127784" y="6407864"/>
              <a:ext cx="10795" cy="9525"/>
            </a:xfrm>
            <a:custGeom>
              <a:avLst/>
              <a:gdLst/>
              <a:ahLst/>
              <a:cxnLst/>
              <a:rect l="l" t="t" r="r" b="b"/>
              <a:pathLst>
                <a:path w="10795" h="9525">
                  <a:moveTo>
                    <a:pt x="1625" y="7874"/>
                  </a:moveTo>
                  <a:lnTo>
                    <a:pt x="1346" y="6819"/>
                  </a:lnTo>
                  <a:lnTo>
                    <a:pt x="0" y="7861"/>
                  </a:lnTo>
                  <a:lnTo>
                    <a:pt x="279" y="8902"/>
                  </a:lnTo>
                  <a:lnTo>
                    <a:pt x="736" y="8559"/>
                  </a:lnTo>
                  <a:lnTo>
                    <a:pt x="1625" y="7874"/>
                  </a:lnTo>
                  <a:close/>
                </a:path>
                <a:path w="10795" h="9525">
                  <a:moveTo>
                    <a:pt x="10629" y="622"/>
                  </a:moveTo>
                  <a:lnTo>
                    <a:pt x="9804" y="0"/>
                  </a:lnTo>
                  <a:lnTo>
                    <a:pt x="8445" y="1143"/>
                  </a:lnTo>
                  <a:lnTo>
                    <a:pt x="7073" y="2273"/>
                  </a:lnTo>
                  <a:lnTo>
                    <a:pt x="5689" y="3390"/>
                  </a:lnTo>
                  <a:lnTo>
                    <a:pt x="6527" y="4025"/>
                  </a:lnTo>
                  <a:lnTo>
                    <a:pt x="7912" y="2908"/>
                  </a:lnTo>
                  <a:lnTo>
                    <a:pt x="9283" y="1778"/>
                  </a:lnTo>
                  <a:lnTo>
                    <a:pt x="10629" y="622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0" name="object 262">
              <a:extLst>
                <a:ext uri="{FF2B5EF4-FFF2-40B4-BE49-F238E27FC236}">
                  <a16:creationId xmlns:a16="http://schemas.microsoft.com/office/drawing/2014/main" id="{E239ED9F-F544-417C-89E7-86A355B04097}"/>
                </a:ext>
              </a:extLst>
            </p:cNvPr>
            <p:cNvSpPr/>
            <p:nvPr/>
          </p:nvSpPr>
          <p:spPr>
            <a:xfrm>
              <a:off x="8128063" y="6408499"/>
              <a:ext cx="11430" cy="9525"/>
            </a:xfrm>
            <a:custGeom>
              <a:avLst/>
              <a:gdLst/>
              <a:ahLst/>
              <a:cxnLst/>
              <a:rect l="l" t="t" r="r" b="b"/>
              <a:pathLst>
                <a:path w="11429" h="9525">
                  <a:moveTo>
                    <a:pt x="1638" y="8280"/>
                  </a:moveTo>
                  <a:lnTo>
                    <a:pt x="1358" y="7226"/>
                  </a:lnTo>
                  <a:lnTo>
                    <a:pt x="457" y="7924"/>
                  </a:lnTo>
                  <a:lnTo>
                    <a:pt x="0" y="8267"/>
                  </a:lnTo>
                  <a:lnTo>
                    <a:pt x="279" y="9321"/>
                  </a:lnTo>
                  <a:lnTo>
                    <a:pt x="736" y="8978"/>
                  </a:lnTo>
                  <a:lnTo>
                    <a:pt x="1638" y="8280"/>
                  </a:lnTo>
                  <a:close/>
                </a:path>
                <a:path w="11429" h="9525">
                  <a:moveTo>
                    <a:pt x="11201" y="635"/>
                  </a:moveTo>
                  <a:lnTo>
                    <a:pt x="10363" y="0"/>
                  </a:lnTo>
                  <a:lnTo>
                    <a:pt x="7645" y="2273"/>
                  </a:lnTo>
                  <a:lnTo>
                    <a:pt x="6248" y="3390"/>
                  </a:lnTo>
                  <a:lnTo>
                    <a:pt x="7086" y="4025"/>
                  </a:lnTo>
                  <a:lnTo>
                    <a:pt x="8483" y="2921"/>
                  </a:lnTo>
                  <a:lnTo>
                    <a:pt x="9855" y="1790"/>
                  </a:lnTo>
                  <a:lnTo>
                    <a:pt x="11201" y="635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1" name="object 263">
              <a:extLst>
                <a:ext uri="{FF2B5EF4-FFF2-40B4-BE49-F238E27FC236}">
                  <a16:creationId xmlns:a16="http://schemas.microsoft.com/office/drawing/2014/main" id="{2A0ACA00-B9DF-4420-9756-6082082A9509}"/>
                </a:ext>
              </a:extLst>
            </p:cNvPr>
            <p:cNvSpPr/>
            <p:nvPr/>
          </p:nvSpPr>
          <p:spPr>
            <a:xfrm>
              <a:off x="8128343" y="6409134"/>
              <a:ext cx="12065" cy="10160"/>
            </a:xfrm>
            <a:custGeom>
              <a:avLst/>
              <a:gdLst/>
              <a:ahLst/>
              <a:cxnLst/>
              <a:rect l="l" t="t" r="r" b="b"/>
              <a:pathLst>
                <a:path w="12065" h="10159">
                  <a:moveTo>
                    <a:pt x="11747" y="635"/>
                  </a:moveTo>
                  <a:lnTo>
                    <a:pt x="10909" y="0"/>
                  </a:lnTo>
                  <a:lnTo>
                    <a:pt x="9563" y="1155"/>
                  </a:lnTo>
                  <a:lnTo>
                    <a:pt x="6807" y="3390"/>
                  </a:lnTo>
                  <a:lnTo>
                    <a:pt x="7061" y="3581"/>
                  </a:lnTo>
                  <a:lnTo>
                    <a:pt x="1524" y="7531"/>
                  </a:lnTo>
                  <a:lnTo>
                    <a:pt x="1358" y="7658"/>
                  </a:lnTo>
                  <a:lnTo>
                    <a:pt x="457" y="8356"/>
                  </a:lnTo>
                  <a:lnTo>
                    <a:pt x="0" y="8686"/>
                  </a:lnTo>
                  <a:lnTo>
                    <a:pt x="279" y="9740"/>
                  </a:lnTo>
                  <a:lnTo>
                    <a:pt x="723" y="9398"/>
                  </a:lnTo>
                  <a:lnTo>
                    <a:pt x="1168" y="9067"/>
                  </a:lnTo>
                  <a:lnTo>
                    <a:pt x="1600" y="8737"/>
                  </a:lnTo>
                  <a:lnTo>
                    <a:pt x="5118" y="6070"/>
                  </a:lnTo>
                  <a:lnTo>
                    <a:pt x="8483" y="3403"/>
                  </a:lnTo>
                  <a:lnTo>
                    <a:pt x="11747" y="635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2" name="object 264">
              <a:extLst>
                <a:ext uri="{FF2B5EF4-FFF2-40B4-BE49-F238E27FC236}">
                  <a16:creationId xmlns:a16="http://schemas.microsoft.com/office/drawing/2014/main" id="{53FA59CA-D076-4946-BF33-1D4A5944EC9D}"/>
                </a:ext>
              </a:extLst>
            </p:cNvPr>
            <p:cNvSpPr/>
            <p:nvPr/>
          </p:nvSpPr>
          <p:spPr>
            <a:xfrm>
              <a:off x="8128622" y="6409769"/>
              <a:ext cx="12700" cy="10160"/>
            </a:xfrm>
            <a:custGeom>
              <a:avLst/>
              <a:gdLst/>
              <a:ahLst/>
              <a:cxnLst/>
              <a:rect l="l" t="t" r="r" b="b"/>
              <a:pathLst>
                <a:path w="12700" h="10159">
                  <a:moveTo>
                    <a:pt x="12319" y="635"/>
                  </a:moveTo>
                  <a:lnTo>
                    <a:pt x="11480" y="0"/>
                  </a:lnTo>
                  <a:lnTo>
                    <a:pt x="8204" y="2768"/>
                  </a:lnTo>
                  <a:lnTo>
                    <a:pt x="4838" y="5435"/>
                  </a:lnTo>
                  <a:lnTo>
                    <a:pt x="1320" y="8102"/>
                  </a:lnTo>
                  <a:lnTo>
                    <a:pt x="444" y="8775"/>
                  </a:lnTo>
                  <a:lnTo>
                    <a:pt x="0" y="9105"/>
                  </a:lnTo>
                  <a:lnTo>
                    <a:pt x="279" y="10147"/>
                  </a:lnTo>
                  <a:lnTo>
                    <a:pt x="723" y="9817"/>
                  </a:lnTo>
                  <a:lnTo>
                    <a:pt x="1587" y="9156"/>
                  </a:lnTo>
                  <a:lnTo>
                    <a:pt x="1435" y="8610"/>
                  </a:lnTo>
                  <a:lnTo>
                    <a:pt x="8077" y="3886"/>
                  </a:lnTo>
                  <a:lnTo>
                    <a:pt x="8229" y="4000"/>
                  </a:lnTo>
                  <a:lnTo>
                    <a:pt x="9613" y="2895"/>
                  </a:lnTo>
                  <a:lnTo>
                    <a:pt x="10972" y="1778"/>
                  </a:lnTo>
                  <a:lnTo>
                    <a:pt x="12319" y="635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3" name="object 265">
              <a:extLst>
                <a:ext uri="{FF2B5EF4-FFF2-40B4-BE49-F238E27FC236}">
                  <a16:creationId xmlns:a16="http://schemas.microsoft.com/office/drawing/2014/main" id="{10E9709F-1CC5-4B13-A085-815492CC0833}"/>
                </a:ext>
              </a:extLst>
            </p:cNvPr>
            <p:cNvSpPr/>
            <p:nvPr/>
          </p:nvSpPr>
          <p:spPr>
            <a:xfrm>
              <a:off x="8128902" y="6410404"/>
              <a:ext cx="13335" cy="10795"/>
            </a:xfrm>
            <a:custGeom>
              <a:avLst/>
              <a:gdLst/>
              <a:ahLst/>
              <a:cxnLst/>
              <a:rect l="l" t="t" r="r" b="b"/>
              <a:pathLst>
                <a:path w="13334" h="10795">
                  <a:moveTo>
                    <a:pt x="1612" y="9537"/>
                  </a:moveTo>
                  <a:lnTo>
                    <a:pt x="1320" y="8521"/>
                  </a:lnTo>
                  <a:lnTo>
                    <a:pt x="876" y="8839"/>
                  </a:lnTo>
                  <a:lnTo>
                    <a:pt x="444" y="9169"/>
                  </a:lnTo>
                  <a:lnTo>
                    <a:pt x="0" y="9499"/>
                  </a:lnTo>
                  <a:lnTo>
                    <a:pt x="279" y="10541"/>
                  </a:lnTo>
                  <a:lnTo>
                    <a:pt x="1181" y="9867"/>
                  </a:lnTo>
                  <a:lnTo>
                    <a:pt x="1612" y="9537"/>
                  </a:lnTo>
                  <a:close/>
                </a:path>
                <a:path w="13334" h="10795">
                  <a:moveTo>
                    <a:pt x="12877" y="635"/>
                  </a:moveTo>
                  <a:lnTo>
                    <a:pt x="12039" y="0"/>
                  </a:lnTo>
                  <a:lnTo>
                    <a:pt x="10693" y="1143"/>
                  </a:lnTo>
                  <a:lnTo>
                    <a:pt x="7950" y="3365"/>
                  </a:lnTo>
                  <a:lnTo>
                    <a:pt x="8788" y="4000"/>
                  </a:lnTo>
                  <a:lnTo>
                    <a:pt x="10172" y="2895"/>
                  </a:lnTo>
                  <a:lnTo>
                    <a:pt x="11531" y="1778"/>
                  </a:lnTo>
                  <a:lnTo>
                    <a:pt x="12877" y="635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4" name="object 266">
              <a:extLst>
                <a:ext uri="{FF2B5EF4-FFF2-40B4-BE49-F238E27FC236}">
                  <a16:creationId xmlns:a16="http://schemas.microsoft.com/office/drawing/2014/main" id="{C2F679C5-C381-4387-A15D-673F089807E9}"/>
                </a:ext>
              </a:extLst>
            </p:cNvPr>
            <p:cNvSpPr/>
            <p:nvPr/>
          </p:nvSpPr>
          <p:spPr>
            <a:xfrm>
              <a:off x="8129168" y="6411039"/>
              <a:ext cx="13970" cy="11430"/>
            </a:xfrm>
            <a:custGeom>
              <a:avLst/>
              <a:gdLst/>
              <a:ahLst/>
              <a:cxnLst/>
              <a:rect l="l" t="t" r="r" b="b"/>
              <a:pathLst>
                <a:path w="13970" h="11429">
                  <a:moveTo>
                    <a:pt x="1638" y="9944"/>
                  </a:moveTo>
                  <a:lnTo>
                    <a:pt x="1587" y="9753"/>
                  </a:lnTo>
                  <a:lnTo>
                    <a:pt x="1524" y="9563"/>
                  </a:lnTo>
                  <a:lnTo>
                    <a:pt x="1346" y="8915"/>
                  </a:lnTo>
                  <a:lnTo>
                    <a:pt x="457" y="9575"/>
                  </a:lnTo>
                  <a:lnTo>
                    <a:pt x="0" y="9906"/>
                  </a:lnTo>
                  <a:lnTo>
                    <a:pt x="127" y="10350"/>
                  </a:lnTo>
                  <a:lnTo>
                    <a:pt x="228" y="10756"/>
                  </a:lnTo>
                  <a:lnTo>
                    <a:pt x="279" y="10947"/>
                  </a:lnTo>
                  <a:lnTo>
                    <a:pt x="736" y="10617"/>
                  </a:lnTo>
                  <a:lnTo>
                    <a:pt x="1638" y="9944"/>
                  </a:lnTo>
                  <a:close/>
                </a:path>
                <a:path w="13970" h="11429">
                  <a:moveTo>
                    <a:pt x="13449" y="647"/>
                  </a:moveTo>
                  <a:lnTo>
                    <a:pt x="12611" y="0"/>
                  </a:lnTo>
                  <a:lnTo>
                    <a:pt x="11264" y="1130"/>
                  </a:lnTo>
                  <a:lnTo>
                    <a:pt x="9906" y="2247"/>
                  </a:lnTo>
                  <a:lnTo>
                    <a:pt x="8521" y="3365"/>
                  </a:lnTo>
                  <a:lnTo>
                    <a:pt x="9347" y="4000"/>
                  </a:lnTo>
                  <a:lnTo>
                    <a:pt x="10731" y="2895"/>
                  </a:lnTo>
                  <a:lnTo>
                    <a:pt x="12103" y="1778"/>
                  </a:lnTo>
                  <a:lnTo>
                    <a:pt x="13449" y="647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5" name="object 267">
              <a:extLst>
                <a:ext uri="{FF2B5EF4-FFF2-40B4-BE49-F238E27FC236}">
                  <a16:creationId xmlns:a16="http://schemas.microsoft.com/office/drawing/2014/main" id="{A8459BCF-32BC-4FBF-A871-06D2195D7BD8}"/>
                </a:ext>
              </a:extLst>
            </p:cNvPr>
            <p:cNvSpPr/>
            <p:nvPr/>
          </p:nvSpPr>
          <p:spPr>
            <a:xfrm>
              <a:off x="8129447" y="6411687"/>
              <a:ext cx="14604" cy="11430"/>
            </a:xfrm>
            <a:custGeom>
              <a:avLst/>
              <a:gdLst/>
              <a:ahLst/>
              <a:cxnLst/>
              <a:rect l="l" t="t" r="r" b="b"/>
              <a:pathLst>
                <a:path w="14604" h="11429">
                  <a:moveTo>
                    <a:pt x="1714" y="10287"/>
                  </a:moveTo>
                  <a:lnTo>
                    <a:pt x="1587" y="9956"/>
                  </a:lnTo>
                  <a:lnTo>
                    <a:pt x="1473" y="9626"/>
                  </a:lnTo>
                  <a:lnTo>
                    <a:pt x="1371" y="9296"/>
                  </a:lnTo>
                  <a:lnTo>
                    <a:pt x="914" y="9626"/>
                  </a:lnTo>
                  <a:lnTo>
                    <a:pt x="469" y="9969"/>
                  </a:lnTo>
                  <a:lnTo>
                    <a:pt x="0" y="10312"/>
                  </a:lnTo>
                  <a:lnTo>
                    <a:pt x="101" y="10668"/>
                  </a:lnTo>
                  <a:lnTo>
                    <a:pt x="190" y="11036"/>
                  </a:lnTo>
                  <a:lnTo>
                    <a:pt x="254" y="11366"/>
                  </a:lnTo>
                  <a:lnTo>
                    <a:pt x="1714" y="10287"/>
                  </a:lnTo>
                  <a:close/>
                </a:path>
                <a:path w="14604" h="11429">
                  <a:moveTo>
                    <a:pt x="13995" y="647"/>
                  </a:moveTo>
                  <a:lnTo>
                    <a:pt x="13157" y="0"/>
                  </a:lnTo>
                  <a:lnTo>
                    <a:pt x="11811" y="1143"/>
                  </a:lnTo>
                  <a:lnTo>
                    <a:pt x="10452" y="2260"/>
                  </a:lnTo>
                  <a:lnTo>
                    <a:pt x="9067" y="3365"/>
                  </a:lnTo>
                  <a:lnTo>
                    <a:pt x="9893" y="4000"/>
                  </a:lnTo>
                  <a:lnTo>
                    <a:pt x="11290" y="2895"/>
                  </a:lnTo>
                  <a:lnTo>
                    <a:pt x="12649" y="1778"/>
                  </a:lnTo>
                  <a:lnTo>
                    <a:pt x="13995" y="647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6" name="object 268">
              <a:extLst>
                <a:ext uri="{FF2B5EF4-FFF2-40B4-BE49-F238E27FC236}">
                  <a16:creationId xmlns:a16="http://schemas.microsoft.com/office/drawing/2014/main" id="{37D7BC4F-3136-4A02-B614-47E870844F5E}"/>
                </a:ext>
              </a:extLst>
            </p:cNvPr>
            <p:cNvSpPr/>
            <p:nvPr/>
          </p:nvSpPr>
          <p:spPr>
            <a:xfrm>
              <a:off x="8129702" y="6412335"/>
              <a:ext cx="14604" cy="12065"/>
            </a:xfrm>
            <a:custGeom>
              <a:avLst/>
              <a:gdLst/>
              <a:ahLst/>
              <a:cxnLst/>
              <a:rect l="l" t="t" r="r" b="b"/>
              <a:pathLst>
                <a:path w="14604" h="12065">
                  <a:moveTo>
                    <a:pt x="1917" y="10541"/>
                  </a:moveTo>
                  <a:lnTo>
                    <a:pt x="1739" y="10261"/>
                  </a:lnTo>
                  <a:lnTo>
                    <a:pt x="1587" y="9956"/>
                  </a:lnTo>
                  <a:lnTo>
                    <a:pt x="1460" y="9639"/>
                  </a:lnTo>
                  <a:lnTo>
                    <a:pt x="0" y="10718"/>
                  </a:lnTo>
                  <a:lnTo>
                    <a:pt x="76" y="11099"/>
                  </a:lnTo>
                  <a:lnTo>
                    <a:pt x="139" y="11468"/>
                  </a:lnTo>
                  <a:lnTo>
                    <a:pt x="165" y="11836"/>
                  </a:lnTo>
                  <a:lnTo>
                    <a:pt x="762" y="11404"/>
                  </a:lnTo>
                  <a:lnTo>
                    <a:pt x="1333" y="10960"/>
                  </a:lnTo>
                  <a:lnTo>
                    <a:pt x="1917" y="10541"/>
                  </a:lnTo>
                  <a:close/>
                </a:path>
                <a:path w="14604" h="12065">
                  <a:moveTo>
                    <a:pt x="14579" y="635"/>
                  </a:moveTo>
                  <a:lnTo>
                    <a:pt x="14363" y="469"/>
                  </a:lnTo>
                  <a:lnTo>
                    <a:pt x="14147" y="292"/>
                  </a:lnTo>
                  <a:lnTo>
                    <a:pt x="13754" y="0"/>
                  </a:lnTo>
                  <a:lnTo>
                    <a:pt x="12407" y="1130"/>
                  </a:lnTo>
                  <a:lnTo>
                    <a:pt x="11036" y="2247"/>
                  </a:lnTo>
                  <a:lnTo>
                    <a:pt x="9652" y="3352"/>
                  </a:lnTo>
                  <a:lnTo>
                    <a:pt x="10121" y="3721"/>
                  </a:lnTo>
                  <a:lnTo>
                    <a:pt x="10363" y="3898"/>
                  </a:lnTo>
                  <a:lnTo>
                    <a:pt x="11874" y="2882"/>
                  </a:lnTo>
                  <a:lnTo>
                    <a:pt x="13233" y="1765"/>
                  </a:lnTo>
                  <a:lnTo>
                    <a:pt x="14579" y="635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7" name="object 269">
              <a:extLst>
                <a:ext uri="{FF2B5EF4-FFF2-40B4-BE49-F238E27FC236}">
                  <a16:creationId xmlns:a16="http://schemas.microsoft.com/office/drawing/2014/main" id="{94F4789C-C74A-4AFB-B1E5-F031B6937B9C}"/>
                </a:ext>
              </a:extLst>
            </p:cNvPr>
            <p:cNvSpPr/>
            <p:nvPr/>
          </p:nvSpPr>
          <p:spPr>
            <a:xfrm>
              <a:off x="8129816" y="6412970"/>
              <a:ext cx="15875" cy="12700"/>
            </a:xfrm>
            <a:custGeom>
              <a:avLst/>
              <a:gdLst/>
              <a:ahLst/>
              <a:cxnLst/>
              <a:rect l="l" t="t" r="r" b="b"/>
              <a:pathLst>
                <a:path w="15875" h="12700">
                  <a:moveTo>
                    <a:pt x="2501" y="10617"/>
                  </a:moveTo>
                  <a:lnTo>
                    <a:pt x="2273" y="10477"/>
                  </a:lnTo>
                  <a:lnTo>
                    <a:pt x="2057" y="10274"/>
                  </a:lnTo>
                  <a:lnTo>
                    <a:pt x="1841" y="9969"/>
                  </a:lnTo>
                  <a:lnTo>
                    <a:pt x="1219" y="10325"/>
                  </a:lnTo>
                  <a:lnTo>
                    <a:pt x="635" y="10756"/>
                  </a:lnTo>
                  <a:lnTo>
                    <a:pt x="38" y="11188"/>
                  </a:lnTo>
                  <a:lnTo>
                    <a:pt x="76" y="11620"/>
                  </a:lnTo>
                  <a:lnTo>
                    <a:pt x="63" y="12039"/>
                  </a:lnTo>
                  <a:lnTo>
                    <a:pt x="0" y="12458"/>
                  </a:lnTo>
                  <a:lnTo>
                    <a:pt x="2501" y="10617"/>
                  </a:lnTo>
                  <a:close/>
                </a:path>
                <a:path w="15875" h="12700">
                  <a:moveTo>
                    <a:pt x="15328" y="622"/>
                  </a:moveTo>
                  <a:lnTo>
                    <a:pt x="15049" y="444"/>
                  </a:lnTo>
                  <a:lnTo>
                    <a:pt x="14465" y="0"/>
                  </a:lnTo>
                  <a:lnTo>
                    <a:pt x="13119" y="1130"/>
                  </a:lnTo>
                  <a:lnTo>
                    <a:pt x="11747" y="2247"/>
                  </a:lnTo>
                  <a:lnTo>
                    <a:pt x="10363" y="3352"/>
                  </a:lnTo>
                  <a:lnTo>
                    <a:pt x="10896" y="3797"/>
                  </a:lnTo>
                  <a:lnTo>
                    <a:pt x="11125" y="4051"/>
                  </a:lnTo>
                  <a:lnTo>
                    <a:pt x="12547" y="2921"/>
                  </a:lnTo>
                  <a:lnTo>
                    <a:pt x="13957" y="1778"/>
                  </a:lnTo>
                  <a:lnTo>
                    <a:pt x="15328" y="622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8" name="object 270">
              <a:extLst>
                <a:ext uri="{FF2B5EF4-FFF2-40B4-BE49-F238E27FC236}">
                  <a16:creationId xmlns:a16="http://schemas.microsoft.com/office/drawing/2014/main" id="{E7191283-FC94-4775-A225-4B99AE3EFEAD}"/>
                </a:ext>
              </a:extLst>
            </p:cNvPr>
            <p:cNvSpPr/>
            <p:nvPr/>
          </p:nvSpPr>
          <p:spPr>
            <a:xfrm>
              <a:off x="8129206" y="6413592"/>
              <a:ext cx="17145" cy="13970"/>
            </a:xfrm>
            <a:custGeom>
              <a:avLst/>
              <a:gdLst/>
              <a:ahLst/>
              <a:cxnLst/>
              <a:rect l="l" t="t" r="r" b="b"/>
              <a:pathLst>
                <a:path w="17145" h="13970">
                  <a:moveTo>
                    <a:pt x="4406" y="10274"/>
                  </a:moveTo>
                  <a:lnTo>
                    <a:pt x="3962" y="10312"/>
                  </a:lnTo>
                  <a:lnTo>
                    <a:pt x="3517" y="10236"/>
                  </a:lnTo>
                  <a:lnTo>
                    <a:pt x="3124" y="9994"/>
                  </a:lnTo>
                  <a:lnTo>
                    <a:pt x="622" y="11836"/>
                  </a:lnTo>
                  <a:lnTo>
                    <a:pt x="533" y="12382"/>
                  </a:lnTo>
                  <a:lnTo>
                    <a:pt x="330" y="12941"/>
                  </a:lnTo>
                  <a:lnTo>
                    <a:pt x="0" y="13525"/>
                  </a:lnTo>
                  <a:lnTo>
                    <a:pt x="2984" y="11341"/>
                  </a:lnTo>
                  <a:lnTo>
                    <a:pt x="4406" y="10274"/>
                  </a:lnTo>
                  <a:close/>
                </a:path>
                <a:path w="17145" h="13970">
                  <a:moveTo>
                    <a:pt x="16929" y="495"/>
                  </a:moveTo>
                  <a:lnTo>
                    <a:pt x="16598" y="381"/>
                  </a:lnTo>
                  <a:lnTo>
                    <a:pt x="16268" y="203"/>
                  </a:lnTo>
                  <a:lnTo>
                    <a:pt x="15938" y="0"/>
                  </a:lnTo>
                  <a:lnTo>
                    <a:pt x="14566" y="1155"/>
                  </a:lnTo>
                  <a:lnTo>
                    <a:pt x="13169" y="2286"/>
                  </a:lnTo>
                  <a:lnTo>
                    <a:pt x="11734" y="3429"/>
                  </a:lnTo>
                  <a:lnTo>
                    <a:pt x="11925" y="3632"/>
                  </a:lnTo>
                  <a:lnTo>
                    <a:pt x="12141" y="3924"/>
                  </a:lnTo>
                  <a:lnTo>
                    <a:pt x="12230" y="4114"/>
                  </a:lnTo>
                  <a:lnTo>
                    <a:pt x="12268" y="4292"/>
                  </a:lnTo>
                  <a:lnTo>
                    <a:pt x="13855" y="3035"/>
                  </a:lnTo>
                  <a:lnTo>
                    <a:pt x="15405" y="1778"/>
                  </a:lnTo>
                  <a:lnTo>
                    <a:pt x="16929" y="495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79" name="object 271">
              <a:extLst>
                <a:ext uri="{FF2B5EF4-FFF2-40B4-BE49-F238E27FC236}">
                  <a16:creationId xmlns:a16="http://schemas.microsoft.com/office/drawing/2014/main" id="{C9FB935B-57EB-4BDC-B9A0-6F38E9D3E561}"/>
                </a:ext>
              </a:extLst>
            </p:cNvPr>
            <p:cNvSpPr/>
            <p:nvPr/>
          </p:nvSpPr>
          <p:spPr>
            <a:xfrm>
              <a:off x="8128482" y="6414087"/>
              <a:ext cx="19685" cy="14604"/>
            </a:xfrm>
            <a:custGeom>
              <a:avLst/>
              <a:gdLst/>
              <a:ahLst/>
              <a:cxnLst/>
              <a:rect l="l" t="t" r="r" b="b"/>
              <a:pathLst>
                <a:path w="19684" h="14604">
                  <a:moveTo>
                    <a:pt x="7175" y="9512"/>
                  </a:moveTo>
                  <a:lnTo>
                    <a:pt x="6921" y="9144"/>
                  </a:lnTo>
                  <a:lnTo>
                    <a:pt x="6375" y="9486"/>
                  </a:lnTo>
                  <a:lnTo>
                    <a:pt x="5740" y="9740"/>
                  </a:lnTo>
                  <a:lnTo>
                    <a:pt x="5130" y="9779"/>
                  </a:lnTo>
                  <a:lnTo>
                    <a:pt x="2235" y="11925"/>
                  </a:lnTo>
                  <a:lnTo>
                    <a:pt x="723" y="13030"/>
                  </a:lnTo>
                  <a:lnTo>
                    <a:pt x="533" y="13373"/>
                  </a:lnTo>
                  <a:lnTo>
                    <a:pt x="292" y="13716"/>
                  </a:lnTo>
                  <a:lnTo>
                    <a:pt x="0" y="14084"/>
                  </a:lnTo>
                  <a:lnTo>
                    <a:pt x="330" y="14554"/>
                  </a:lnTo>
                  <a:lnTo>
                    <a:pt x="2717" y="12801"/>
                  </a:lnTo>
                  <a:lnTo>
                    <a:pt x="4991" y="11150"/>
                  </a:lnTo>
                  <a:lnTo>
                    <a:pt x="7175" y="9512"/>
                  </a:lnTo>
                  <a:close/>
                </a:path>
                <a:path w="19684" h="14604">
                  <a:moveTo>
                    <a:pt x="19189" y="76"/>
                  </a:moveTo>
                  <a:lnTo>
                    <a:pt x="18630" y="203"/>
                  </a:lnTo>
                  <a:lnTo>
                    <a:pt x="18148" y="165"/>
                  </a:lnTo>
                  <a:lnTo>
                    <a:pt x="17665" y="0"/>
                  </a:lnTo>
                  <a:lnTo>
                    <a:pt x="16141" y="1282"/>
                  </a:lnTo>
                  <a:lnTo>
                    <a:pt x="14592" y="2540"/>
                  </a:lnTo>
                  <a:lnTo>
                    <a:pt x="12992" y="3797"/>
                  </a:lnTo>
                  <a:lnTo>
                    <a:pt x="13131" y="4368"/>
                  </a:lnTo>
                  <a:lnTo>
                    <a:pt x="12738" y="4953"/>
                  </a:lnTo>
                  <a:lnTo>
                    <a:pt x="11506" y="5892"/>
                  </a:lnTo>
                  <a:lnTo>
                    <a:pt x="11671" y="6108"/>
                  </a:lnTo>
                  <a:lnTo>
                    <a:pt x="14274" y="4114"/>
                  </a:lnTo>
                  <a:lnTo>
                    <a:pt x="16764" y="2120"/>
                  </a:lnTo>
                  <a:lnTo>
                    <a:pt x="19189" y="76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0" name="object 272">
              <a:extLst>
                <a:ext uri="{FF2B5EF4-FFF2-40B4-BE49-F238E27FC236}">
                  <a16:creationId xmlns:a16="http://schemas.microsoft.com/office/drawing/2014/main" id="{DEF74A52-D59C-4149-859B-025F2AB48BDD}"/>
                </a:ext>
              </a:extLst>
            </p:cNvPr>
            <p:cNvSpPr/>
            <p:nvPr/>
          </p:nvSpPr>
          <p:spPr>
            <a:xfrm>
              <a:off x="8128813" y="6413452"/>
              <a:ext cx="20955" cy="15875"/>
            </a:xfrm>
            <a:custGeom>
              <a:avLst/>
              <a:gdLst/>
              <a:ahLst/>
              <a:cxnLst/>
              <a:rect l="l" t="t" r="r" b="b"/>
              <a:pathLst>
                <a:path w="20954" h="15875">
                  <a:moveTo>
                    <a:pt x="7213" y="10642"/>
                  </a:moveTo>
                  <a:lnTo>
                    <a:pt x="6845" y="10147"/>
                  </a:lnTo>
                  <a:lnTo>
                    <a:pt x="4660" y="11785"/>
                  </a:lnTo>
                  <a:lnTo>
                    <a:pt x="0" y="15189"/>
                  </a:lnTo>
                  <a:lnTo>
                    <a:pt x="279" y="15582"/>
                  </a:lnTo>
                  <a:lnTo>
                    <a:pt x="7213" y="10642"/>
                  </a:lnTo>
                  <a:close/>
                </a:path>
                <a:path w="20954" h="15875">
                  <a:moveTo>
                    <a:pt x="20675" y="508"/>
                  </a:moveTo>
                  <a:lnTo>
                    <a:pt x="20307" y="0"/>
                  </a:lnTo>
                  <a:lnTo>
                    <a:pt x="19773" y="368"/>
                  </a:lnTo>
                  <a:lnTo>
                    <a:pt x="19291" y="596"/>
                  </a:lnTo>
                  <a:lnTo>
                    <a:pt x="18859" y="698"/>
                  </a:lnTo>
                  <a:lnTo>
                    <a:pt x="16433" y="2755"/>
                  </a:lnTo>
                  <a:lnTo>
                    <a:pt x="13944" y="4749"/>
                  </a:lnTo>
                  <a:lnTo>
                    <a:pt x="11341" y="6743"/>
                  </a:lnTo>
                  <a:lnTo>
                    <a:pt x="11785" y="7378"/>
                  </a:lnTo>
                  <a:lnTo>
                    <a:pt x="15989" y="4381"/>
                  </a:lnTo>
                  <a:lnTo>
                    <a:pt x="17589" y="3111"/>
                  </a:lnTo>
                  <a:lnTo>
                    <a:pt x="19151" y="1816"/>
                  </a:lnTo>
                  <a:lnTo>
                    <a:pt x="20675" y="508"/>
                  </a:lnTo>
                  <a:close/>
                </a:path>
              </a:pathLst>
            </a:custGeom>
            <a:solidFill>
              <a:srgbClr val="EFCC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1" name="object 273">
              <a:extLst>
                <a:ext uri="{FF2B5EF4-FFF2-40B4-BE49-F238E27FC236}">
                  <a16:creationId xmlns:a16="http://schemas.microsoft.com/office/drawing/2014/main" id="{B8420795-66C5-4046-BB9A-0D8583344240}"/>
                </a:ext>
              </a:extLst>
            </p:cNvPr>
            <p:cNvSpPr/>
            <p:nvPr/>
          </p:nvSpPr>
          <p:spPr>
            <a:xfrm>
              <a:off x="8144803" y="6413960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686" y="0"/>
                  </a:moveTo>
                  <a:lnTo>
                    <a:pt x="3162" y="1308"/>
                  </a:lnTo>
                  <a:lnTo>
                    <a:pt x="1600" y="2590"/>
                  </a:lnTo>
                  <a:lnTo>
                    <a:pt x="0" y="3873"/>
                  </a:lnTo>
                  <a:lnTo>
                    <a:pt x="4940" y="355"/>
                  </a:lnTo>
                  <a:lnTo>
                    <a:pt x="4686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2" name="object 274">
              <a:extLst>
                <a:ext uri="{FF2B5EF4-FFF2-40B4-BE49-F238E27FC236}">
                  <a16:creationId xmlns:a16="http://schemas.microsoft.com/office/drawing/2014/main" id="{79F7E527-E4BD-4247-B28F-F916C0E4E5AD}"/>
                </a:ext>
              </a:extLst>
            </p:cNvPr>
            <p:cNvSpPr/>
            <p:nvPr/>
          </p:nvSpPr>
          <p:spPr>
            <a:xfrm>
              <a:off x="8144510" y="6384890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1955" y="16332"/>
                  </a:moveTo>
                  <a:lnTo>
                    <a:pt x="1206" y="15582"/>
                  </a:lnTo>
                  <a:lnTo>
                    <a:pt x="812" y="15976"/>
                  </a:lnTo>
                  <a:lnTo>
                    <a:pt x="406" y="16370"/>
                  </a:lnTo>
                  <a:lnTo>
                    <a:pt x="0" y="16738"/>
                  </a:lnTo>
                  <a:lnTo>
                    <a:pt x="749" y="17475"/>
                  </a:lnTo>
                  <a:lnTo>
                    <a:pt x="1155" y="17094"/>
                  </a:lnTo>
                  <a:lnTo>
                    <a:pt x="1549" y="16713"/>
                  </a:lnTo>
                  <a:lnTo>
                    <a:pt x="1955" y="16332"/>
                  </a:lnTo>
                  <a:close/>
                </a:path>
                <a:path w="16509" h="17779">
                  <a:moveTo>
                    <a:pt x="7962" y="10172"/>
                  </a:moveTo>
                  <a:lnTo>
                    <a:pt x="6972" y="9702"/>
                  </a:lnTo>
                  <a:lnTo>
                    <a:pt x="5689" y="11087"/>
                  </a:lnTo>
                  <a:lnTo>
                    <a:pt x="4394" y="12420"/>
                  </a:lnTo>
                  <a:lnTo>
                    <a:pt x="3111" y="13716"/>
                  </a:lnTo>
                  <a:lnTo>
                    <a:pt x="4127" y="14185"/>
                  </a:lnTo>
                  <a:lnTo>
                    <a:pt x="5410" y="12890"/>
                  </a:lnTo>
                  <a:lnTo>
                    <a:pt x="6680" y="11557"/>
                  </a:lnTo>
                  <a:lnTo>
                    <a:pt x="7962" y="10172"/>
                  </a:lnTo>
                  <a:close/>
                </a:path>
                <a:path w="16509" h="17779">
                  <a:moveTo>
                    <a:pt x="10680" y="7150"/>
                  </a:moveTo>
                  <a:lnTo>
                    <a:pt x="10172" y="6134"/>
                  </a:lnTo>
                  <a:lnTo>
                    <a:pt x="9779" y="6578"/>
                  </a:lnTo>
                  <a:lnTo>
                    <a:pt x="9398" y="7023"/>
                  </a:lnTo>
                  <a:lnTo>
                    <a:pt x="9004" y="7454"/>
                  </a:lnTo>
                  <a:lnTo>
                    <a:pt x="9499" y="8483"/>
                  </a:lnTo>
                  <a:lnTo>
                    <a:pt x="10680" y="7150"/>
                  </a:lnTo>
                  <a:close/>
                </a:path>
                <a:path w="16509" h="17779">
                  <a:moveTo>
                    <a:pt x="16014" y="736"/>
                  </a:moveTo>
                  <a:lnTo>
                    <a:pt x="15278" y="0"/>
                  </a:lnTo>
                  <a:lnTo>
                    <a:pt x="14160" y="1409"/>
                  </a:lnTo>
                  <a:lnTo>
                    <a:pt x="13042" y="2768"/>
                  </a:lnTo>
                  <a:lnTo>
                    <a:pt x="11938" y="4076"/>
                  </a:lnTo>
                  <a:lnTo>
                    <a:pt x="12687" y="4813"/>
                  </a:lnTo>
                  <a:lnTo>
                    <a:pt x="13792" y="3505"/>
                  </a:lnTo>
                  <a:lnTo>
                    <a:pt x="14897" y="2146"/>
                  </a:lnTo>
                  <a:lnTo>
                    <a:pt x="16014" y="736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3" name="object 275">
              <a:extLst>
                <a:ext uri="{FF2B5EF4-FFF2-40B4-BE49-F238E27FC236}">
                  <a16:creationId xmlns:a16="http://schemas.microsoft.com/office/drawing/2014/main" id="{857A4399-6C7F-4333-B1ED-5EE3C92C2353}"/>
                </a:ext>
              </a:extLst>
            </p:cNvPr>
            <p:cNvSpPr/>
            <p:nvPr/>
          </p:nvSpPr>
          <p:spPr>
            <a:xfrm>
              <a:off x="8145247" y="6385627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1955" y="16332"/>
                  </a:moveTo>
                  <a:lnTo>
                    <a:pt x="1206" y="15595"/>
                  </a:lnTo>
                  <a:lnTo>
                    <a:pt x="406" y="16370"/>
                  </a:lnTo>
                  <a:lnTo>
                    <a:pt x="0" y="16738"/>
                  </a:lnTo>
                  <a:lnTo>
                    <a:pt x="749" y="17475"/>
                  </a:lnTo>
                  <a:lnTo>
                    <a:pt x="1549" y="16700"/>
                  </a:lnTo>
                  <a:lnTo>
                    <a:pt x="1955" y="16332"/>
                  </a:lnTo>
                  <a:close/>
                </a:path>
                <a:path w="16509" h="17779">
                  <a:moveTo>
                    <a:pt x="8216" y="9906"/>
                  </a:moveTo>
                  <a:lnTo>
                    <a:pt x="7213" y="9436"/>
                  </a:lnTo>
                  <a:lnTo>
                    <a:pt x="5943" y="10820"/>
                  </a:lnTo>
                  <a:lnTo>
                    <a:pt x="4660" y="12153"/>
                  </a:lnTo>
                  <a:lnTo>
                    <a:pt x="3378" y="13449"/>
                  </a:lnTo>
                  <a:lnTo>
                    <a:pt x="4394" y="13919"/>
                  </a:lnTo>
                  <a:lnTo>
                    <a:pt x="5664" y="12623"/>
                  </a:lnTo>
                  <a:lnTo>
                    <a:pt x="6946" y="11290"/>
                  </a:lnTo>
                  <a:lnTo>
                    <a:pt x="8216" y="9906"/>
                  </a:lnTo>
                  <a:close/>
                </a:path>
                <a:path w="16509" h="17779">
                  <a:moveTo>
                    <a:pt x="10439" y="7429"/>
                  </a:moveTo>
                  <a:lnTo>
                    <a:pt x="9944" y="6413"/>
                  </a:lnTo>
                  <a:lnTo>
                    <a:pt x="8763" y="7747"/>
                  </a:lnTo>
                  <a:lnTo>
                    <a:pt x="9258" y="8763"/>
                  </a:lnTo>
                  <a:lnTo>
                    <a:pt x="10439" y="7429"/>
                  </a:lnTo>
                  <a:close/>
                </a:path>
                <a:path w="16509" h="17779">
                  <a:moveTo>
                    <a:pt x="16014" y="736"/>
                  </a:moveTo>
                  <a:lnTo>
                    <a:pt x="15278" y="0"/>
                  </a:lnTo>
                  <a:lnTo>
                    <a:pt x="14160" y="1409"/>
                  </a:lnTo>
                  <a:lnTo>
                    <a:pt x="13042" y="2768"/>
                  </a:lnTo>
                  <a:lnTo>
                    <a:pt x="11938" y="4076"/>
                  </a:lnTo>
                  <a:lnTo>
                    <a:pt x="12687" y="4813"/>
                  </a:lnTo>
                  <a:lnTo>
                    <a:pt x="13792" y="3505"/>
                  </a:lnTo>
                  <a:lnTo>
                    <a:pt x="14897" y="2146"/>
                  </a:lnTo>
                  <a:lnTo>
                    <a:pt x="16014" y="736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4" name="object 276">
              <a:extLst>
                <a:ext uri="{FF2B5EF4-FFF2-40B4-BE49-F238E27FC236}">
                  <a16:creationId xmlns:a16="http://schemas.microsoft.com/office/drawing/2014/main" id="{BDDD40B4-35E9-411C-85AC-8C7EA5C7ED05}"/>
                </a:ext>
              </a:extLst>
            </p:cNvPr>
            <p:cNvSpPr/>
            <p:nvPr/>
          </p:nvSpPr>
          <p:spPr>
            <a:xfrm>
              <a:off x="8145996" y="6386363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1955" y="16332"/>
                  </a:moveTo>
                  <a:lnTo>
                    <a:pt x="1206" y="15595"/>
                  </a:lnTo>
                  <a:lnTo>
                    <a:pt x="800" y="15976"/>
                  </a:lnTo>
                  <a:lnTo>
                    <a:pt x="406" y="16370"/>
                  </a:lnTo>
                  <a:lnTo>
                    <a:pt x="0" y="16738"/>
                  </a:lnTo>
                  <a:lnTo>
                    <a:pt x="749" y="17475"/>
                  </a:lnTo>
                  <a:lnTo>
                    <a:pt x="1143" y="17094"/>
                  </a:lnTo>
                  <a:lnTo>
                    <a:pt x="1955" y="16332"/>
                  </a:lnTo>
                  <a:close/>
                </a:path>
                <a:path w="16509" h="17779">
                  <a:moveTo>
                    <a:pt x="8458" y="9626"/>
                  </a:moveTo>
                  <a:lnTo>
                    <a:pt x="7467" y="9156"/>
                  </a:lnTo>
                  <a:lnTo>
                    <a:pt x="6197" y="10541"/>
                  </a:lnTo>
                  <a:lnTo>
                    <a:pt x="4927" y="11887"/>
                  </a:lnTo>
                  <a:lnTo>
                    <a:pt x="3657" y="13169"/>
                  </a:lnTo>
                  <a:lnTo>
                    <a:pt x="4660" y="13639"/>
                  </a:lnTo>
                  <a:lnTo>
                    <a:pt x="5930" y="12344"/>
                  </a:lnTo>
                  <a:lnTo>
                    <a:pt x="7200" y="11023"/>
                  </a:lnTo>
                  <a:lnTo>
                    <a:pt x="8458" y="9626"/>
                  </a:lnTo>
                  <a:close/>
                </a:path>
                <a:path w="16509" h="17779">
                  <a:moveTo>
                    <a:pt x="10198" y="7708"/>
                  </a:moveTo>
                  <a:lnTo>
                    <a:pt x="9690" y="6692"/>
                  </a:lnTo>
                  <a:lnTo>
                    <a:pt x="8902" y="7581"/>
                  </a:lnTo>
                  <a:lnTo>
                    <a:pt x="8496" y="8026"/>
                  </a:lnTo>
                  <a:lnTo>
                    <a:pt x="8991" y="9055"/>
                  </a:lnTo>
                  <a:lnTo>
                    <a:pt x="9398" y="8610"/>
                  </a:lnTo>
                  <a:lnTo>
                    <a:pt x="9791" y="8153"/>
                  </a:lnTo>
                  <a:lnTo>
                    <a:pt x="10198" y="7708"/>
                  </a:lnTo>
                  <a:close/>
                </a:path>
                <a:path w="16509" h="17779">
                  <a:moveTo>
                    <a:pt x="16014" y="736"/>
                  </a:moveTo>
                  <a:lnTo>
                    <a:pt x="15278" y="0"/>
                  </a:lnTo>
                  <a:lnTo>
                    <a:pt x="14160" y="1409"/>
                  </a:lnTo>
                  <a:lnTo>
                    <a:pt x="13042" y="2768"/>
                  </a:lnTo>
                  <a:lnTo>
                    <a:pt x="11938" y="4076"/>
                  </a:lnTo>
                  <a:lnTo>
                    <a:pt x="12687" y="4813"/>
                  </a:lnTo>
                  <a:lnTo>
                    <a:pt x="13792" y="3492"/>
                  </a:lnTo>
                  <a:lnTo>
                    <a:pt x="14909" y="2133"/>
                  </a:lnTo>
                  <a:lnTo>
                    <a:pt x="16014" y="736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5" name="object 277">
              <a:extLst>
                <a:ext uri="{FF2B5EF4-FFF2-40B4-BE49-F238E27FC236}">
                  <a16:creationId xmlns:a16="http://schemas.microsoft.com/office/drawing/2014/main" id="{714E9111-CED8-4949-A566-ACCC0EF47E7E}"/>
                </a:ext>
              </a:extLst>
            </p:cNvPr>
            <p:cNvSpPr/>
            <p:nvPr/>
          </p:nvSpPr>
          <p:spPr>
            <a:xfrm>
              <a:off x="8146745" y="6387100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1943" y="16306"/>
                  </a:moveTo>
                  <a:lnTo>
                    <a:pt x="1193" y="15582"/>
                  </a:lnTo>
                  <a:lnTo>
                    <a:pt x="393" y="16357"/>
                  </a:lnTo>
                  <a:lnTo>
                    <a:pt x="0" y="16725"/>
                  </a:lnTo>
                  <a:lnTo>
                    <a:pt x="736" y="17462"/>
                  </a:lnTo>
                  <a:lnTo>
                    <a:pt x="1143" y="17081"/>
                  </a:lnTo>
                  <a:lnTo>
                    <a:pt x="1943" y="16306"/>
                  </a:lnTo>
                  <a:close/>
                </a:path>
                <a:path w="16509" h="17779">
                  <a:moveTo>
                    <a:pt x="8712" y="9372"/>
                  </a:moveTo>
                  <a:lnTo>
                    <a:pt x="7708" y="8902"/>
                  </a:lnTo>
                  <a:lnTo>
                    <a:pt x="6451" y="10287"/>
                  </a:lnTo>
                  <a:lnTo>
                    <a:pt x="5181" y="11620"/>
                  </a:lnTo>
                  <a:lnTo>
                    <a:pt x="3911" y="12903"/>
                  </a:lnTo>
                  <a:lnTo>
                    <a:pt x="4927" y="13373"/>
                  </a:lnTo>
                  <a:lnTo>
                    <a:pt x="6184" y="12077"/>
                  </a:lnTo>
                  <a:lnTo>
                    <a:pt x="7442" y="10756"/>
                  </a:lnTo>
                  <a:lnTo>
                    <a:pt x="8712" y="9372"/>
                  </a:lnTo>
                  <a:close/>
                </a:path>
                <a:path w="16509" h="17779">
                  <a:moveTo>
                    <a:pt x="9944" y="7988"/>
                  </a:moveTo>
                  <a:lnTo>
                    <a:pt x="9448" y="6972"/>
                  </a:lnTo>
                  <a:lnTo>
                    <a:pt x="9042" y="7416"/>
                  </a:lnTo>
                  <a:lnTo>
                    <a:pt x="8648" y="7874"/>
                  </a:lnTo>
                  <a:lnTo>
                    <a:pt x="8242" y="8318"/>
                  </a:lnTo>
                  <a:lnTo>
                    <a:pt x="8737" y="9334"/>
                  </a:lnTo>
                  <a:lnTo>
                    <a:pt x="9144" y="8890"/>
                  </a:lnTo>
                  <a:lnTo>
                    <a:pt x="9944" y="7988"/>
                  </a:lnTo>
                  <a:close/>
                </a:path>
                <a:path w="16509" h="17779">
                  <a:moveTo>
                    <a:pt x="16014" y="723"/>
                  </a:moveTo>
                  <a:lnTo>
                    <a:pt x="15265" y="0"/>
                  </a:lnTo>
                  <a:lnTo>
                    <a:pt x="14147" y="1397"/>
                  </a:lnTo>
                  <a:lnTo>
                    <a:pt x="13042" y="2755"/>
                  </a:lnTo>
                  <a:lnTo>
                    <a:pt x="11938" y="4076"/>
                  </a:lnTo>
                  <a:lnTo>
                    <a:pt x="12687" y="4813"/>
                  </a:lnTo>
                  <a:lnTo>
                    <a:pt x="13792" y="3492"/>
                  </a:lnTo>
                  <a:lnTo>
                    <a:pt x="14897" y="2133"/>
                  </a:lnTo>
                  <a:lnTo>
                    <a:pt x="16014" y="723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6" name="object 278">
              <a:extLst>
                <a:ext uri="{FF2B5EF4-FFF2-40B4-BE49-F238E27FC236}">
                  <a16:creationId xmlns:a16="http://schemas.microsoft.com/office/drawing/2014/main" id="{020A4337-09BB-4BAA-8FE7-CFD807D3A337}"/>
                </a:ext>
              </a:extLst>
            </p:cNvPr>
            <p:cNvSpPr/>
            <p:nvPr/>
          </p:nvSpPr>
          <p:spPr>
            <a:xfrm>
              <a:off x="8147482" y="6387837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1955" y="16319"/>
                  </a:moveTo>
                  <a:lnTo>
                    <a:pt x="1206" y="15582"/>
                  </a:lnTo>
                  <a:lnTo>
                    <a:pt x="812" y="15976"/>
                  </a:lnTo>
                  <a:lnTo>
                    <a:pt x="0" y="16738"/>
                  </a:lnTo>
                  <a:lnTo>
                    <a:pt x="749" y="17462"/>
                  </a:lnTo>
                  <a:lnTo>
                    <a:pt x="1549" y="16713"/>
                  </a:lnTo>
                  <a:lnTo>
                    <a:pt x="1955" y="16319"/>
                  </a:lnTo>
                  <a:close/>
                </a:path>
                <a:path w="16509" h="17779">
                  <a:moveTo>
                    <a:pt x="9715" y="8255"/>
                  </a:moveTo>
                  <a:lnTo>
                    <a:pt x="9207" y="7239"/>
                  </a:lnTo>
                  <a:lnTo>
                    <a:pt x="8001" y="8585"/>
                  </a:lnTo>
                  <a:lnTo>
                    <a:pt x="6705" y="10007"/>
                  </a:lnTo>
                  <a:lnTo>
                    <a:pt x="5435" y="11341"/>
                  </a:lnTo>
                  <a:lnTo>
                    <a:pt x="4178" y="12623"/>
                  </a:lnTo>
                  <a:lnTo>
                    <a:pt x="5194" y="13093"/>
                  </a:lnTo>
                  <a:lnTo>
                    <a:pt x="6692" y="11557"/>
                  </a:lnTo>
                  <a:lnTo>
                    <a:pt x="8204" y="9944"/>
                  </a:lnTo>
                  <a:lnTo>
                    <a:pt x="9715" y="8255"/>
                  </a:lnTo>
                  <a:close/>
                </a:path>
                <a:path w="16509" h="17779">
                  <a:moveTo>
                    <a:pt x="16027" y="736"/>
                  </a:moveTo>
                  <a:lnTo>
                    <a:pt x="15278" y="0"/>
                  </a:lnTo>
                  <a:lnTo>
                    <a:pt x="14160" y="1409"/>
                  </a:lnTo>
                  <a:lnTo>
                    <a:pt x="13055" y="2768"/>
                  </a:lnTo>
                  <a:lnTo>
                    <a:pt x="11950" y="4089"/>
                  </a:lnTo>
                  <a:lnTo>
                    <a:pt x="12700" y="4826"/>
                  </a:lnTo>
                  <a:lnTo>
                    <a:pt x="13804" y="3505"/>
                  </a:lnTo>
                  <a:lnTo>
                    <a:pt x="14909" y="2146"/>
                  </a:lnTo>
                  <a:lnTo>
                    <a:pt x="16027" y="736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7" name="object 279">
              <a:extLst>
                <a:ext uri="{FF2B5EF4-FFF2-40B4-BE49-F238E27FC236}">
                  <a16:creationId xmlns:a16="http://schemas.microsoft.com/office/drawing/2014/main" id="{5835E207-8DF7-44A8-91F7-B7B48D0ACDC8}"/>
                </a:ext>
              </a:extLst>
            </p:cNvPr>
            <p:cNvSpPr/>
            <p:nvPr/>
          </p:nvSpPr>
          <p:spPr>
            <a:xfrm>
              <a:off x="8148231" y="6388560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1943" y="16332"/>
                  </a:moveTo>
                  <a:lnTo>
                    <a:pt x="1739" y="16129"/>
                  </a:lnTo>
                  <a:lnTo>
                    <a:pt x="1193" y="15595"/>
                  </a:lnTo>
                  <a:lnTo>
                    <a:pt x="800" y="15989"/>
                  </a:lnTo>
                  <a:lnTo>
                    <a:pt x="0" y="16738"/>
                  </a:lnTo>
                  <a:lnTo>
                    <a:pt x="457" y="17195"/>
                  </a:lnTo>
                  <a:lnTo>
                    <a:pt x="635" y="17386"/>
                  </a:lnTo>
                  <a:lnTo>
                    <a:pt x="1549" y="16713"/>
                  </a:lnTo>
                  <a:lnTo>
                    <a:pt x="1943" y="16332"/>
                  </a:lnTo>
                  <a:close/>
                </a:path>
                <a:path w="16509" h="17779">
                  <a:moveTo>
                    <a:pt x="9461" y="8547"/>
                  </a:moveTo>
                  <a:lnTo>
                    <a:pt x="8966" y="7531"/>
                  </a:lnTo>
                  <a:lnTo>
                    <a:pt x="7454" y="9220"/>
                  </a:lnTo>
                  <a:lnTo>
                    <a:pt x="5956" y="10833"/>
                  </a:lnTo>
                  <a:lnTo>
                    <a:pt x="4445" y="12369"/>
                  </a:lnTo>
                  <a:lnTo>
                    <a:pt x="5461" y="12839"/>
                  </a:lnTo>
                  <a:lnTo>
                    <a:pt x="6794" y="11468"/>
                  </a:lnTo>
                  <a:lnTo>
                    <a:pt x="8128" y="10033"/>
                  </a:lnTo>
                  <a:lnTo>
                    <a:pt x="9461" y="8547"/>
                  </a:lnTo>
                  <a:close/>
                </a:path>
                <a:path w="16509" h="17779">
                  <a:moveTo>
                    <a:pt x="16027" y="736"/>
                  </a:moveTo>
                  <a:lnTo>
                    <a:pt x="15278" y="0"/>
                  </a:lnTo>
                  <a:lnTo>
                    <a:pt x="14160" y="1409"/>
                  </a:lnTo>
                  <a:lnTo>
                    <a:pt x="13055" y="2781"/>
                  </a:lnTo>
                  <a:lnTo>
                    <a:pt x="11950" y="4089"/>
                  </a:lnTo>
                  <a:lnTo>
                    <a:pt x="12700" y="4826"/>
                  </a:lnTo>
                  <a:lnTo>
                    <a:pt x="13804" y="3517"/>
                  </a:lnTo>
                  <a:lnTo>
                    <a:pt x="14909" y="2146"/>
                  </a:lnTo>
                  <a:lnTo>
                    <a:pt x="16027" y="736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8" name="object 280">
              <a:extLst>
                <a:ext uri="{FF2B5EF4-FFF2-40B4-BE49-F238E27FC236}">
                  <a16:creationId xmlns:a16="http://schemas.microsoft.com/office/drawing/2014/main" id="{4A69D6B2-B686-4064-931C-BE163180FDC2}"/>
                </a:ext>
              </a:extLst>
            </p:cNvPr>
            <p:cNvSpPr/>
            <p:nvPr/>
          </p:nvSpPr>
          <p:spPr>
            <a:xfrm>
              <a:off x="8148980" y="6389297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1955" y="16319"/>
                  </a:moveTo>
                  <a:lnTo>
                    <a:pt x="1473" y="15862"/>
                  </a:lnTo>
                  <a:lnTo>
                    <a:pt x="1206" y="15595"/>
                  </a:lnTo>
                  <a:lnTo>
                    <a:pt x="406" y="16370"/>
                  </a:lnTo>
                  <a:lnTo>
                    <a:pt x="0" y="16738"/>
                  </a:lnTo>
                  <a:lnTo>
                    <a:pt x="266" y="17005"/>
                  </a:lnTo>
                  <a:lnTo>
                    <a:pt x="723" y="17487"/>
                  </a:lnTo>
                  <a:lnTo>
                    <a:pt x="1549" y="16713"/>
                  </a:lnTo>
                  <a:lnTo>
                    <a:pt x="1955" y="16319"/>
                  </a:lnTo>
                  <a:close/>
                </a:path>
                <a:path w="16509" h="17779">
                  <a:moveTo>
                    <a:pt x="9220" y="8826"/>
                  </a:moveTo>
                  <a:lnTo>
                    <a:pt x="8724" y="7810"/>
                  </a:lnTo>
                  <a:lnTo>
                    <a:pt x="7378" y="9309"/>
                  </a:lnTo>
                  <a:lnTo>
                    <a:pt x="6045" y="10731"/>
                  </a:lnTo>
                  <a:lnTo>
                    <a:pt x="4711" y="12115"/>
                  </a:lnTo>
                  <a:lnTo>
                    <a:pt x="5727" y="12573"/>
                  </a:lnTo>
                  <a:lnTo>
                    <a:pt x="6896" y="11366"/>
                  </a:lnTo>
                  <a:lnTo>
                    <a:pt x="8051" y="10134"/>
                  </a:lnTo>
                  <a:lnTo>
                    <a:pt x="9220" y="8826"/>
                  </a:lnTo>
                  <a:close/>
                </a:path>
                <a:path w="16509" h="17779">
                  <a:moveTo>
                    <a:pt x="16027" y="736"/>
                  </a:moveTo>
                  <a:lnTo>
                    <a:pt x="15278" y="0"/>
                  </a:lnTo>
                  <a:lnTo>
                    <a:pt x="14160" y="1422"/>
                  </a:lnTo>
                  <a:lnTo>
                    <a:pt x="13055" y="2781"/>
                  </a:lnTo>
                  <a:lnTo>
                    <a:pt x="11950" y="4089"/>
                  </a:lnTo>
                  <a:lnTo>
                    <a:pt x="12700" y="4826"/>
                  </a:lnTo>
                  <a:lnTo>
                    <a:pt x="13804" y="3517"/>
                  </a:lnTo>
                  <a:lnTo>
                    <a:pt x="14909" y="2159"/>
                  </a:lnTo>
                  <a:lnTo>
                    <a:pt x="16027" y="736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89" name="object 281">
              <a:extLst>
                <a:ext uri="{FF2B5EF4-FFF2-40B4-BE49-F238E27FC236}">
                  <a16:creationId xmlns:a16="http://schemas.microsoft.com/office/drawing/2014/main" id="{FEAAFEF6-3D91-47BE-B11D-92C6AE2853B2}"/>
                </a:ext>
              </a:extLst>
            </p:cNvPr>
            <p:cNvSpPr/>
            <p:nvPr/>
          </p:nvSpPr>
          <p:spPr>
            <a:xfrm>
              <a:off x="8149704" y="6390034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2006" y="16281"/>
                  </a:moveTo>
                  <a:lnTo>
                    <a:pt x="1511" y="15836"/>
                  </a:lnTo>
                  <a:lnTo>
                    <a:pt x="1231" y="15570"/>
                  </a:lnTo>
                  <a:lnTo>
                    <a:pt x="825" y="15976"/>
                  </a:lnTo>
                  <a:lnTo>
                    <a:pt x="406" y="16357"/>
                  </a:lnTo>
                  <a:lnTo>
                    <a:pt x="0" y="16738"/>
                  </a:lnTo>
                  <a:lnTo>
                    <a:pt x="508" y="17272"/>
                  </a:lnTo>
                  <a:lnTo>
                    <a:pt x="711" y="17513"/>
                  </a:lnTo>
                  <a:lnTo>
                    <a:pt x="1574" y="16700"/>
                  </a:lnTo>
                  <a:lnTo>
                    <a:pt x="2006" y="16281"/>
                  </a:lnTo>
                  <a:close/>
                </a:path>
                <a:path w="16509" h="17779">
                  <a:moveTo>
                    <a:pt x="8991" y="9105"/>
                  </a:moveTo>
                  <a:lnTo>
                    <a:pt x="8496" y="8089"/>
                  </a:lnTo>
                  <a:lnTo>
                    <a:pt x="7327" y="9385"/>
                  </a:lnTo>
                  <a:lnTo>
                    <a:pt x="6172" y="10629"/>
                  </a:lnTo>
                  <a:lnTo>
                    <a:pt x="5003" y="11823"/>
                  </a:lnTo>
                  <a:lnTo>
                    <a:pt x="6007" y="12293"/>
                  </a:lnTo>
                  <a:lnTo>
                    <a:pt x="7010" y="11264"/>
                  </a:lnTo>
                  <a:lnTo>
                    <a:pt x="8001" y="10198"/>
                  </a:lnTo>
                  <a:lnTo>
                    <a:pt x="8991" y="9105"/>
                  </a:lnTo>
                  <a:close/>
                </a:path>
                <a:path w="16509" h="17779">
                  <a:moveTo>
                    <a:pt x="16040" y="736"/>
                  </a:moveTo>
                  <a:lnTo>
                    <a:pt x="15290" y="0"/>
                  </a:lnTo>
                  <a:lnTo>
                    <a:pt x="14173" y="1422"/>
                  </a:lnTo>
                  <a:lnTo>
                    <a:pt x="13068" y="2781"/>
                  </a:lnTo>
                  <a:lnTo>
                    <a:pt x="11963" y="4089"/>
                  </a:lnTo>
                  <a:lnTo>
                    <a:pt x="12712" y="4826"/>
                  </a:lnTo>
                  <a:lnTo>
                    <a:pt x="13817" y="3517"/>
                  </a:lnTo>
                  <a:lnTo>
                    <a:pt x="14922" y="2159"/>
                  </a:lnTo>
                  <a:lnTo>
                    <a:pt x="16040" y="736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0" name="object 282">
              <a:extLst>
                <a:ext uri="{FF2B5EF4-FFF2-40B4-BE49-F238E27FC236}">
                  <a16:creationId xmlns:a16="http://schemas.microsoft.com/office/drawing/2014/main" id="{4588E67F-B2E5-4851-946D-884C549E25A2}"/>
                </a:ext>
              </a:extLst>
            </p:cNvPr>
            <p:cNvSpPr/>
            <p:nvPr/>
          </p:nvSpPr>
          <p:spPr>
            <a:xfrm>
              <a:off x="8150403" y="6390770"/>
              <a:ext cx="16510" cy="17780"/>
            </a:xfrm>
            <a:custGeom>
              <a:avLst/>
              <a:gdLst/>
              <a:ahLst/>
              <a:cxnLst/>
              <a:rect l="l" t="t" r="r" b="b"/>
              <a:pathLst>
                <a:path w="16509" h="17779">
                  <a:moveTo>
                    <a:pt x="2120" y="16217"/>
                  </a:moveTo>
                  <a:lnTo>
                    <a:pt x="1866" y="16027"/>
                  </a:lnTo>
                  <a:lnTo>
                    <a:pt x="1308" y="15544"/>
                  </a:lnTo>
                  <a:lnTo>
                    <a:pt x="863" y="15963"/>
                  </a:lnTo>
                  <a:lnTo>
                    <a:pt x="444" y="16370"/>
                  </a:lnTo>
                  <a:lnTo>
                    <a:pt x="0" y="16776"/>
                  </a:lnTo>
                  <a:lnTo>
                    <a:pt x="266" y="17068"/>
                  </a:lnTo>
                  <a:lnTo>
                    <a:pt x="482" y="17335"/>
                  </a:lnTo>
                  <a:lnTo>
                    <a:pt x="660" y="17589"/>
                  </a:lnTo>
                  <a:lnTo>
                    <a:pt x="1143" y="17132"/>
                  </a:lnTo>
                  <a:lnTo>
                    <a:pt x="1638" y="16675"/>
                  </a:lnTo>
                  <a:lnTo>
                    <a:pt x="2120" y="16217"/>
                  </a:lnTo>
                  <a:close/>
                </a:path>
                <a:path w="16509" h="17779">
                  <a:moveTo>
                    <a:pt x="8801" y="9372"/>
                  </a:moveTo>
                  <a:lnTo>
                    <a:pt x="8305" y="8369"/>
                  </a:lnTo>
                  <a:lnTo>
                    <a:pt x="7302" y="9461"/>
                  </a:lnTo>
                  <a:lnTo>
                    <a:pt x="6311" y="10528"/>
                  </a:lnTo>
                  <a:lnTo>
                    <a:pt x="5308" y="11557"/>
                  </a:lnTo>
                  <a:lnTo>
                    <a:pt x="6324" y="12026"/>
                  </a:lnTo>
                  <a:lnTo>
                    <a:pt x="7150" y="11176"/>
                  </a:lnTo>
                  <a:lnTo>
                    <a:pt x="7975" y="10287"/>
                  </a:lnTo>
                  <a:lnTo>
                    <a:pt x="8801" y="9372"/>
                  </a:lnTo>
                  <a:close/>
                </a:path>
                <a:path w="16509" h="17779">
                  <a:moveTo>
                    <a:pt x="16090" y="749"/>
                  </a:moveTo>
                  <a:lnTo>
                    <a:pt x="15341" y="0"/>
                  </a:lnTo>
                  <a:lnTo>
                    <a:pt x="14224" y="1435"/>
                  </a:lnTo>
                  <a:lnTo>
                    <a:pt x="13119" y="2794"/>
                  </a:lnTo>
                  <a:lnTo>
                    <a:pt x="12026" y="4102"/>
                  </a:lnTo>
                  <a:lnTo>
                    <a:pt x="12700" y="4775"/>
                  </a:lnTo>
                  <a:lnTo>
                    <a:pt x="13868" y="3530"/>
                  </a:lnTo>
                  <a:lnTo>
                    <a:pt x="14973" y="2159"/>
                  </a:lnTo>
                  <a:lnTo>
                    <a:pt x="16090" y="749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1" name="object 283">
              <a:extLst>
                <a:ext uri="{FF2B5EF4-FFF2-40B4-BE49-F238E27FC236}">
                  <a16:creationId xmlns:a16="http://schemas.microsoft.com/office/drawing/2014/main" id="{7F54FCB5-AC45-4CBD-A5B9-8F8328E09CDE}"/>
                </a:ext>
              </a:extLst>
            </p:cNvPr>
            <p:cNvSpPr/>
            <p:nvPr/>
          </p:nvSpPr>
          <p:spPr>
            <a:xfrm>
              <a:off x="8151063" y="6391507"/>
              <a:ext cx="16510" cy="18415"/>
            </a:xfrm>
            <a:custGeom>
              <a:avLst/>
              <a:gdLst/>
              <a:ahLst/>
              <a:cxnLst/>
              <a:rect l="l" t="t" r="r" b="b"/>
              <a:pathLst>
                <a:path w="16509" h="18415">
                  <a:moveTo>
                    <a:pt x="2413" y="16027"/>
                  </a:moveTo>
                  <a:lnTo>
                    <a:pt x="2120" y="15913"/>
                  </a:lnTo>
                  <a:lnTo>
                    <a:pt x="1816" y="15735"/>
                  </a:lnTo>
                  <a:lnTo>
                    <a:pt x="1460" y="15494"/>
                  </a:lnTo>
                  <a:lnTo>
                    <a:pt x="495" y="16408"/>
                  </a:lnTo>
                  <a:lnTo>
                    <a:pt x="0" y="16865"/>
                  </a:lnTo>
                  <a:lnTo>
                    <a:pt x="241" y="17208"/>
                  </a:lnTo>
                  <a:lnTo>
                    <a:pt x="419" y="17513"/>
                  </a:lnTo>
                  <a:lnTo>
                    <a:pt x="520" y="17805"/>
                  </a:lnTo>
                  <a:lnTo>
                    <a:pt x="1155" y="17221"/>
                  </a:lnTo>
                  <a:lnTo>
                    <a:pt x="1778" y="16624"/>
                  </a:lnTo>
                  <a:lnTo>
                    <a:pt x="2413" y="16027"/>
                  </a:lnTo>
                  <a:close/>
                </a:path>
                <a:path w="16509" h="18415">
                  <a:moveTo>
                    <a:pt x="8636" y="9664"/>
                  </a:moveTo>
                  <a:lnTo>
                    <a:pt x="8128" y="8648"/>
                  </a:lnTo>
                  <a:lnTo>
                    <a:pt x="7302" y="9550"/>
                  </a:lnTo>
                  <a:lnTo>
                    <a:pt x="6477" y="10439"/>
                  </a:lnTo>
                  <a:lnTo>
                    <a:pt x="5651" y="11290"/>
                  </a:lnTo>
                  <a:lnTo>
                    <a:pt x="6667" y="11760"/>
                  </a:lnTo>
                  <a:lnTo>
                    <a:pt x="7975" y="10375"/>
                  </a:lnTo>
                  <a:lnTo>
                    <a:pt x="8636" y="9664"/>
                  </a:lnTo>
                  <a:close/>
                </a:path>
                <a:path w="16509" h="18415">
                  <a:moveTo>
                    <a:pt x="16192" y="723"/>
                  </a:moveTo>
                  <a:lnTo>
                    <a:pt x="15887" y="457"/>
                  </a:lnTo>
                  <a:lnTo>
                    <a:pt x="15430" y="0"/>
                  </a:lnTo>
                  <a:lnTo>
                    <a:pt x="14312" y="1422"/>
                  </a:lnTo>
                  <a:lnTo>
                    <a:pt x="13208" y="2794"/>
                  </a:lnTo>
                  <a:lnTo>
                    <a:pt x="12103" y="4102"/>
                  </a:lnTo>
                  <a:lnTo>
                    <a:pt x="12395" y="4394"/>
                  </a:lnTo>
                  <a:lnTo>
                    <a:pt x="12623" y="4660"/>
                  </a:lnTo>
                  <a:lnTo>
                    <a:pt x="12788" y="4914"/>
                  </a:lnTo>
                  <a:lnTo>
                    <a:pt x="13919" y="3568"/>
                  </a:lnTo>
                  <a:lnTo>
                    <a:pt x="15049" y="2184"/>
                  </a:lnTo>
                  <a:lnTo>
                    <a:pt x="16192" y="723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2" name="object 284">
              <a:extLst>
                <a:ext uri="{FF2B5EF4-FFF2-40B4-BE49-F238E27FC236}">
                  <a16:creationId xmlns:a16="http://schemas.microsoft.com/office/drawing/2014/main" id="{F2BB2CD4-84E5-4157-8752-32B388C09171}"/>
                </a:ext>
              </a:extLst>
            </p:cNvPr>
            <p:cNvSpPr/>
            <p:nvPr/>
          </p:nvSpPr>
          <p:spPr>
            <a:xfrm>
              <a:off x="8151584" y="6392218"/>
              <a:ext cx="17145" cy="19050"/>
            </a:xfrm>
            <a:custGeom>
              <a:avLst/>
              <a:gdLst/>
              <a:ahLst/>
              <a:cxnLst/>
              <a:rect l="l" t="t" r="r" b="b"/>
              <a:pathLst>
                <a:path w="17145" h="19050">
                  <a:moveTo>
                    <a:pt x="3441" y="15265"/>
                  </a:moveTo>
                  <a:lnTo>
                    <a:pt x="2921" y="15506"/>
                  </a:lnTo>
                  <a:lnTo>
                    <a:pt x="2451" y="15532"/>
                  </a:lnTo>
                  <a:lnTo>
                    <a:pt x="1892" y="15316"/>
                  </a:lnTo>
                  <a:lnTo>
                    <a:pt x="1257" y="15913"/>
                  </a:lnTo>
                  <a:lnTo>
                    <a:pt x="635" y="16510"/>
                  </a:lnTo>
                  <a:lnTo>
                    <a:pt x="0" y="17094"/>
                  </a:lnTo>
                  <a:lnTo>
                    <a:pt x="177" y="17589"/>
                  </a:lnTo>
                  <a:lnTo>
                    <a:pt x="165" y="18034"/>
                  </a:lnTo>
                  <a:lnTo>
                    <a:pt x="0" y="18503"/>
                  </a:lnTo>
                  <a:lnTo>
                    <a:pt x="1155" y="17449"/>
                  </a:lnTo>
                  <a:lnTo>
                    <a:pt x="2311" y="16383"/>
                  </a:lnTo>
                  <a:lnTo>
                    <a:pt x="3441" y="15265"/>
                  </a:lnTo>
                  <a:close/>
                </a:path>
                <a:path w="17145" h="19050">
                  <a:moveTo>
                    <a:pt x="8623" y="9956"/>
                  </a:moveTo>
                  <a:lnTo>
                    <a:pt x="8115" y="8940"/>
                  </a:lnTo>
                  <a:lnTo>
                    <a:pt x="7467" y="9664"/>
                  </a:lnTo>
                  <a:lnTo>
                    <a:pt x="6807" y="10363"/>
                  </a:lnTo>
                  <a:lnTo>
                    <a:pt x="6159" y="11036"/>
                  </a:lnTo>
                  <a:lnTo>
                    <a:pt x="7162" y="11506"/>
                  </a:lnTo>
                  <a:lnTo>
                    <a:pt x="7645" y="10998"/>
                  </a:lnTo>
                  <a:lnTo>
                    <a:pt x="8128" y="10477"/>
                  </a:lnTo>
                  <a:lnTo>
                    <a:pt x="8623" y="9956"/>
                  </a:lnTo>
                  <a:close/>
                </a:path>
                <a:path w="17145" h="19050">
                  <a:moveTo>
                    <a:pt x="16560" y="571"/>
                  </a:moveTo>
                  <a:lnTo>
                    <a:pt x="16281" y="444"/>
                  </a:lnTo>
                  <a:lnTo>
                    <a:pt x="15989" y="254"/>
                  </a:lnTo>
                  <a:lnTo>
                    <a:pt x="15671" y="0"/>
                  </a:lnTo>
                  <a:lnTo>
                    <a:pt x="14528" y="1460"/>
                  </a:lnTo>
                  <a:lnTo>
                    <a:pt x="13398" y="2857"/>
                  </a:lnTo>
                  <a:lnTo>
                    <a:pt x="12280" y="4203"/>
                  </a:lnTo>
                  <a:lnTo>
                    <a:pt x="12547" y="4597"/>
                  </a:lnTo>
                  <a:lnTo>
                    <a:pt x="12674" y="4965"/>
                  </a:lnTo>
                  <a:lnTo>
                    <a:pt x="12687" y="5346"/>
                  </a:lnTo>
                  <a:lnTo>
                    <a:pt x="13970" y="3835"/>
                  </a:lnTo>
                  <a:lnTo>
                    <a:pt x="15265" y="2247"/>
                  </a:lnTo>
                  <a:lnTo>
                    <a:pt x="16560" y="571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3" name="object 285">
              <a:extLst>
                <a:ext uri="{FF2B5EF4-FFF2-40B4-BE49-F238E27FC236}">
                  <a16:creationId xmlns:a16="http://schemas.microsoft.com/office/drawing/2014/main" id="{DDEE24ED-C210-47EA-B0DB-D497167209AA}"/>
                </a:ext>
              </a:extLst>
            </p:cNvPr>
            <p:cNvSpPr/>
            <p:nvPr/>
          </p:nvSpPr>
          <p:spPr>
            <a:xfrm>
              <a:off x="8150682" y="6392790"/>
              <a:ext cx="19050" cy="20320"/>
            </a:xfrm>
            <a:custGeom>
              <a:avLst/>
              <a:gdLst/>
              <a:ahLst/>
              <a:cxnLst/>
              <a:rect l="l" t="t" r="r" b="b"/>
              <a:pathLst>
                <a:path w="19050" h="20320">
                  <a:moveTo>
                    <a:pt x="6223" y="14325"/>
                  </a:moveTo>
                  <a:lnTo>
                    <a:pt x="5676" y="13792"/>
                  </a:lnTo>
                  <a:lnTo>
                    <a:pt x="5168" y="14198"/>
                  </a:lnTo>
                  <a:lnTo>
                    <a:pt x="4749" y="14503"/>
                  </a:lnTo>
                  <a:lnTo>
                    <a:pt x="4343" y="14693"/>
                  </a:lnTo>
                  <a:lnTo>
                    <a:pt x="3213" y="15798"/>
                  </a:lnTo>
                  <a:lnTo>
                    <a:pt x="2057" y="16878"/>
                  </a:lnTo>
                  <a:lnTo>
                    <a:pt x="901" y="17932"/>
                  </a:lnTo>
                  <a:lnTo>
                    <a:pt x="736" y="18402"/>
                  </a:lnTo>
                  <a:lnTo>
                    <a:pt x="419" y="18910"/>
                  </a:lnTo>
                  <a:lnTo>
                    <a:pt x="0" y="19545"/>
                  </a:lnTo>
                  <a:lnTo>
                    <a:pt x="304" y="19850"/>
                  </a:lnTo>
                  <a:lnTo>
                    <a:pt x="2311" y="18084"/>
                  </a:lnTo>
                  <a:lnTo>
                    <a:pt x="4279" y="16256"/>
                  </a:lnTo>
                  <a:lnTo>
                    <a:pt x="6223" y="14325"/>
                  </a:lnTo>
                  <a:close/>
                </a:path>
                <a:path w="19050" h="20320">
                  <a:moveTo>
                    <a:pt x="10007" y="10401"/>
                  </a:moveTo>
                  <a:lnTo>
                    <a:pt x="9512" y="9385"/>
                  </a:lnTo>
                  <a:lnTo>
                    <a:pt x="8547" y="10426"/>
                  </a:lnTo>
                  <a:lnTo>
                    <a:pt x="8051" y="10934"/>
                  </a:lnTo>
                  <a:lnTo>
                    <a:pt x="9067" y="11404"/>
                  </a:lnTo>
                  <a:lnTo>
                    <a:pt x="9385" y="11074"/>
                  </a:lnTo>
                  <a:lnTo>
                    <a:pt x="10007" y="10401"/>
                  </a:lnTo>
                  <a:close/>
                </a:path>
                <a:path w="19050" h="20320">
                  <a:moveTo>
                    <a:pt x="18745" y="50"/>
                  </a:moveTo>
                  <a:lnTo>
                    <a:pt x="18313" y="203"/>
                  </a:lnTo>
                  <a:lnTo>
                    <a:pt x="17894" y="177"/>
                  </a:lnTo>
                  <a:lnTo>
                    <a:pt x="17462" y="0"/>
                  </a:lnTo>
                  <a:lnTo>
                    <a:pt x="16154" y="1676"/>
                  </a:lnTo>
                  <a:lnTo>
                    <a:pt x="14871" y="3263"/>
                  </a:lnTo>
                  <a:lnTo>
                    <a:pt x="13589" y="4775"/>
                  </a:lnTo>
                  <a:lnTo>
                    <a:pt x="13601" y="5473"/>
                  </a:lnTo>
                  <a:lnTo>
                    <a:pt x="13182" y="6172"/>
                  </a:lnTo>
                  <a:lnTo>
                    <a:pt x="12344" y="7023"/>
                  </a:lnTo>
                  <a:lnTo>
                    <a:pt x="12725" y="7404"/>
                  </a:lnTo>
                  <a:lnTo>
                    <a:pt x="14706" y="5130"/>
                  </a:lnTo>
                  <a:lnTo>
                    <a:pt x="16713" y="2705"/>
                  </a:lnTo>
                  <a:lnTo>
                    <a:pt x="18745" y="50"/>
                  </a:lnTo>
                  <a:close/>
                </a:path>
              </a:pathLst>
            </a:custGeom>
            <a:solidFill>
              <a:srgbClr val="EFCC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4" name="object 286">
              <a:extLst>
                <a:ext uri="{FF2B5EF4-FFF2-40B4-BE49-F238E27FC236}">
                  <a16:creationId xmlns:a16="http://schemas.microsoft.com/office/drawing/2014/main" id="{2E8033F0-7F4B-4722-AB52-E5690A4BE5DC}"/>
                </a:ext>
              </a:extLst>
            </p:cNvPr>
            <p:cNvSpPr/>
            <p:nvPr/>
          </p:nvSpPr>
          <p:spPr>
            <a:xfrm>
              <a:off x="8150987" y="6391659"/>
              <a:ext cx="20955" cy="21590"/>
            </a:xfrm>
            <a:custGeom>
              <a:avLst/>
              <a:gdLst/>
              <a:ahLst/>
              <a:cxnLst/>
              <a:rect l="l" t="t" r="r" b="b"/>
              <a:pathLst>
                <a:path w="20954" h="21590">
                  <a:moveTo>
                    <a:pt x="6134" y="15659"/>
                  </a:moveTo>
                  <a:lnTo>
                    <a:pt x="5918" y="15455"/>
                  </a:lnTo>
                  <a:lnTo>
                    <a:pt x="3975" y="17386"/>
                  </a:lnTo>
                  <a:lnTo>
                    <a:pt x="2019" y="19215"/>
                  </a:lnTo>
                  <a:lnTo>
                    <a:pt x="0" y="20980"/>
                  </a:lnTo>
                  <a:lnTo>
                    <a:pt x="444" y="21412"/>
                  </a:lnTo>
                  <a:lnTo>
                    <a:pt x="6134" y="15659"/>
                  </a:lnTo>
                  <a:close/>
                </a:path>
                <a:path w="20954" h="21590">
                  <a:moveTo>
                    <a:pt x="9880" y="11849"/>
                  </a:moveTo>
                  <a:lnTo>
                    <a:pt x="9715" y="11531"/>
                  </a:lnTo>
                  <a:lnTo>
                    <a:pt x="9398" y="11861"/>
                  </a:lnTo>
                  <a:lnTo>
                    <a:pt x="8775" y="12534"/>
                  </a:lnTo>
                  <a:lnTo>
                    <a:pt x="9067" y="12674"/>
                  </a:lnTo>
                  <a:lnTo>
                    <a:pt x="9880" y="11849"/>
                  </a:lnTo>
                  <a:close/>
                </a:path>
                <a:path w="20954" h="21590">
                  <a:moveTo>
                    <a:pt x="20396" y="317"/>
                  </a:moveTo>
                  <a:lnTo>
                    <a:pt x="20066" y="0"/>
                  </a:lnTo>
                  <a:lnTo>
                    <a:pt x="19469" y="609"/>
                  </a:lnTo>
                  <a:lnTo>
                    <a:pt x="18935" y="1003"/>
                  </a:lnTo>
                  <a:lnTo>
                    <a:pt x="18440" y="1181"/>
                  </a:lnTo>
                  <a:lnTo>
                    <a:pt x="16395" y="3822"/>
                  </a:lnTo>
                  <a:lnTo>
                    <a:pt x="14401" y="6248"/>
                  </a:lnTo>
                  <a:lnTo>
                    <a:pt x="12407" y="8521"/>
                  </a:lnTo>
                  <a:lnTo>
                    <a:pt x="12788" y="8890"/>
                  </a:lnTo>
                  <a:lnTo>
                    <a:pt x="17310" y="4305"/>
                  </a:lnTo>
                  <a:lnTo>
                    <a:pt x="18326" y="3035"/>
                  </a:lnTo>
                  <a:lnTo>
                    <a:pt x="19354" y="1701"/>
                  </a:lnTo>
                  <a:lnTo>
                    <a:pt x="20396" y="317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5" name="object 287">
              <a:extLst>
                <a:ext uri="{FF2B5EF4-FFF2-40B4-BE49-F238E27FC236}">
                  <a16:creationId xmlns:a16="http://schemas.microsoft.com/office/drawing/2014/main" id="{47FEE6A4-D3A0-45C6-96FC-E03900FEB1F9}"/>
                </a:ext>
              </a:extLst>
            </p:cNvPr>
            <p:cNvSpPr/>
            <p:nvPr/>
          </p:nvSpPr>
          <p:spPr>
            <a:xfrm>
              <a:off x="8168298" y="6391977"/>
              <a:ext cx="3810" cy="4445"/>
            </a:xfrm>
            <a:custGeom>
              <a:avLst/>
              <a:gdLst/>
              <a:ahLst/>
              <a:cxnLst/>
              <a:rect l="l" t="t" r="r" b="b"/>
              <a:pathLst>
                <a:path w="3809" h="4445">
                  <a:moveTo>
                    <a:pt x="3098" y="0"/>
                  </a:moveTo>
                  <a:lnTo>
                    <a:pt x="2057" y="1384"/>
                  </a:lnTo>
                  <a:lnTo>
                    <a:pt x="1028" y="2717"/>
                  </a:lnTo>
                  <a:lnTo>
                    <a:pt x="0" y="3987"/>
                  </a:lnTo>
                  <a:lnTo>
                    <a:pt x="3517" y="419"/>
                  </a:lnTo>
                  <a:lnTo>
                    <a:pt x="3098" y="0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6" name="object 288">
              <a:extLst>
                <a:ext uri="{FF2B5EF4-FFF2-40B4-BE49-F238E27FC236}">
                  <a16:creationId xmlns:a16="http://schemas.microsoft.com/office/drawing/2014/main" id="{FA2BB46D-A9E2-4A04-90F0-C5924CCFF7AE}"/>
                </a:ext>
              </a:extLst>
            </p:cNvPr>
            <p:cNvSpPr/>
            <p:nvPr/>
          </p:nvSpPr>
          <p:spPr>
            <a:xfrm>
              <a:off x="8165820" y="6366196"/>
              <a:ext cx="8255" cy="11430"/>
            </a:xfrm>
            <a:custGeom>
              <a:avLst/>
              <a:gdLst/>
              <a:ahLst/>
              <a:cxnLst/>
              <a:rect l="l" t="t" r="r" b="b"/>
              <a:pathLst>
                <a:path w="8254" h="11429">
                  <a:moveTo>
                    <a:pt x="3835" y="6908"/>
                  </a:moveTo>
                  <a:lnTo>
                    <a:pt x="2997" y="6350"/>
                  </a:lnTo>
                  <a:lnTo>
                    <a:pt x="990" y="9258"/>
                  </a:lnTo>
                  <a:lnTo>
                    <a:pt x="0" y="10655"/>
                  </a:lnTo>
                  <a:lnTo>
                    <a:pt x="850" y="11226"/>
                  </a:lnTo>
                  <a:lnTo>
                    <a:pt x="1841" y="9829"/>
                  </a:lnTo>
                  <a:lnTo>
                    <a:pt x="2832" y="8407"/>
                  </a:lnTo>
                  <a:lnTo>
                    <a:pt x="3835" y="6908"/>
                  </a:lnTo>
                  <a:close/>
                </a:path>
                <a:path w="8254" h="11429">
                  <a:moveTo>
                    <a:pt x="7988" y="571"/>
                  </a:moveTo>
                  <a:lnTo>
                    <a:pt x="7150" y="0"/>
                  </a:lnTo>
                  <a:lnTo>
                    <a:pt x="6680" y="749"/>
                  </a:lnTo>
                  <a:lnTo>
                    <a:pt x="5727" y="2209"/>
                  </a:lnTo>
                  <a:lnTo>
                    <a:pt x="5892" y="2946"/>
                  </a:lnTo>
                  <a:lnTo>
                    <a:pt x="5803" y="3657"/>
                  </a:lnTo>
                  <a:lnTo>
                    <a:pt x="5499" y="4419"/>
                  </a:lnTo>
                  <a:lnTo>
                    <a:pt x="6324" y="3162"/>
                  </a:lnTo>
                  <a:lnTo>
                    <a:pt x="7988" y="571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7" name="object 289">
              <a:extLst>
                <a:ext uri="{FF2B5EF4-FFF2-40B4-BE49-F238E27FC236}">
                  <a16:creationId xmlns:a16="http://schemas.microsoft.com/office/drawing/2014/main" id="{918A209F-B363-4755-AD19-C91FA844DEE4}"/>
                </a:ext>
              </a:extLst>
            </p:cNvPr>
            <p:cNvSpPr/>
            <p:nvPr/>
          </p:nvSpPr>
          <p:spPr>
            <a:xfrm>
              <a:off x="8166680" y="6366769"/>
              <a:ext cx="8255" cy="11430"/>
            </a:xfrm>
            <a:custGeom>
              <a:avLst/>
              <a:gdLst/>
              <a:ahLst/>
              <a:cxnLst/>
              <a:rect l="l" t="t" r="r" b="b"/>
              <a:pathLst>
                <a:path w="8254" h="11429">
                  <a:moveTo>
                    <a:pt x="7137" y="0"/>
                  </a:moveTo>
                  <a:lnTo>
                    <a:pt x="4648" y="3848"/>
                  </a:lnTo>
                  <a:lnTo>
                    <a:pt x="4394" y="4470"/>
                  </a:lnTo>
                  <a:lnTo>
                    <a:pt x="4013" y="5143"/>
                  </a:lnTo>
                  <a:lnTo>
                    <a:pt x="3136" y="6438"/>
                  </a:lnTo>
                  <a:lnTo>
                    <a:pt x="2984" y="6324"/>
                  </a:lnTo>
                  <a:lnTo>
                    <a:pt x="1981" y="7823"/>
                  </a:lnTo>
                  <a:lnTo>
                    <a:pt x="0" y="10642"/>
                  </a:lnTo>
                  <a:lnTo>
                    <a:pt x="850" y="11214"/>
                  </a:lnTo>
                  <a:lnTo>
                    <a:pt x="3175" y="7924"/>
                  </a:lnTo>
                  <a:lnTo>
                    <a:pt x="5549" y="4394"/>
                  </a:lnTo>
                  <a:lnTo>
                    <a:pt x="7988" y="558"/>
                  </a:lnTo>
                  <a:lnTo>
                    <a:pt x="7137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8" name="object 290">
              <a:extLst>
                <a:ext uri="{FF2B5EF4-FFF2-40B4-BE49-F238E27FC236}">
                  <a16:creationId xmlns:a16="http://schemas.microsoft.com/office/drawing/2014/main" id="{9F0A5476-1513-4726-9148-72AC102A52C8}"/>
                </a:ext>
              </a:extLst>
            </p:cNvPr>
            <p:cNvSpPr/>
            <p:nvPr/>
          </p:nvSpPr>
          <p:spPr>
            <a:xfrm>
              <a:off x="8167532" y="6367332"/>
              <a:ext cx="8255" cy="11430"/>
            </a:xfrm>
            <a:custGeom>
              <a:avLst/>
              <a:gdLst/>
              <a:ahLst/>
              <a:cxnLst/>
              <a:rect l="l" t="t" r="r" b="b"/>
              <a:pathLst>
                <a:path w="8254" h="11429">
                  <a:moveTo>
                    <a:pt x="7124" y="0"/>
                  </a:moveTo>
                  <a:lnTo>
                    <a:pt x="4699" y="3835"/>
                  </a:lnTo>
                  <a:lnTo>
                    <a:pt x="2324" y="7365"/>
                  </a:lnTo>
                  <a:lnTo>
                    <a:pt x="0" y="10642"/>
                  </a:lnTo>
                  <a:lnTo>
                    <a:pt x="850" y="11226"/>
                  </a:lnTo>
                  <a:lnTo>
                    <a:pt x="2832" y="8394"/>
                  </a:lnTo>
                  <a:lnTo>
                    <a:pt x="3822" y="6908"/>
                  </a:lnTo>
                  <a:lnTo>
                    <a:pt x="3530" y="6705"/>
                  </a:lnTo>
                  <a:lnTo>
                    <a:pt x="4533" y="5219"/>
                  </a:lnTo>
                  <a:lnTo>
                    <a:pt x="5105" y="4533"/>
                  </a:lnTo>
                  <a:lnTo>
                    <a:pt x="5727" y="4038"/>
                  </a:lnTo>
                  <a:lnTo>
                    <a:pt x="6477" y="2908"/>
                  </a:lnTo>
                  <a:lnTo>
                    <a:pt x="7975" y="558"/>
                  </a:lnTo>
                  <a:lnTo>
                    <a:pt x="7124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99" name="object 291">
              <a:extLst>
                <a:ext uri="{FF2B5EF4-FFF2-40B4-BE49-F238E27FC236}">
                  <a16:creationId xmlns:a16="http://schemas.microsoft.com/office/drawing/2014/main" id="{F63A6557-3CE6-4BBE-B97E-FC5ADD8F11E9}"/>
                </a:ext>
              </a:extLst>
            </p:cNvPr>
            <p:cNvSpPr/>
            <p:nvPr/>
          </p:nvSpPr>
          <p:spPr>
            <a:xfrm>
              <a:off x="8168386" y="6367898"/>
              <a:ext cx="8255" cy="11430"/>
            </a:xfrm>
            <a:custGeom>
              <a:avLst/>
              <a:gdLst/>
              <a:ahLst/>
              <a:cxnLst/>
              <a:rect l="l" t="t" r="r" b="b"/>
              <a:pathLst>
                <a:path w="8254" h="11429">
                  <a:moveTo>
                    <a:pt x="3822" y="6921"/>
                  </a:moveTo>
                  <a:lnTo>
                    <a:pt x="2971" y="6350"/>
                  </a:lnTo>
                  <a:lnTo>
                    <a:pt x="1968" y="7835"/>
                  </a:lnTo>
                  <a:lnTo>
                    <a:pt x="977" y="9271"/>
                  </a:lnTo>
                  <a:lnTo>
                    <a:pt x="0" y="10668"/>
                  </a:lnTo>
                  <a:lnTo>
                    <a:pt x="850" y="11239"/>
                  </a:lnTo>
                  <a:lnTo>
                    <a:pt x="1828" y="9855"/>
                  </a:lnTo>
                  <a:lnTo>
                    <a:pt x="2819" y="8407"/>
                  </a:lnTo>
                  <a:lnTo>
                    <a:pt x="3822" y="6921"/>
                  </a:lnTo>
                  <a:close/>
                </a:path>
                <a:path w="8254" h="11429">
                  <a:moveTo>
                    <a:pt x="7962" y="571"/>
                  </a:moveTo>
                  <a:lnTo>
                    <a:pt x="7124" y="0"/>
                  </a:lnTo>
                  <a:lnTo>
                    <a:pt x="6362" y="1193"/>
                  </a:lnTo>
                  <a:lnTo>
                    <a:pt x="4876" y="3479"/>
                  </a:lnTo>
                  <a:lnTo>
                    <a:pt x="5397" y="3073"/>
                  </a:lnTo>
                  <a:lnTo>
                    <a:pt x="5956" y="2806"/>
                  </a:lnTo>
                  <a:lnTo>
                    <a:pt x="6591" y="2705"/>
                  </a:lnTo>
                  <a:lnTo>
                    <a:pt x="7505" y="1295"/>
                  </a:lnTo>
                  <a:lnTo>
                    <a:pt x="7962" y="571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0" name="object 292">
              <a:extLst>
                <a:ext uri="{FF2B5EF4-FFF2-40B4-BE49-F238E27FC236}">
                  <a16:creationId xmlns:a16="http://schemas.microsoft.com/office/drawing/2014/main" id="{E2AB0E01-6E11-4E80-B910-8999724D5933}"/>
                </a:ext>
              </a:extLst>
            </p:cNvPr>
            <p:cNvSpPr/>
            <p:nvPr/>
          </p:nvSpPr>
          <p:spPr>
            <a:xfrm>
              <a:off x="8169237" y="6368469"/>
              <a:ext cx="8255" cy="11430"/>
            </a:xfrm>
            <a:custGeom>
              <a:avLst/>
              <a:gdLst/>
              <a:ahLst/>
              <a:cxnLst/>
              <a:rect l="l" t="t" r="r" b="b"/>
              <a:pathLst>
                <a:path w="8254" h="11429">
                  <a:moveTo>
                    <a:pt x="3810" y="6908"/>
                  </a:moveTo>
                  <a:lnTo>
                    <a:pt x="2971" y="6350"/>
                  </a:lnTo>
                  <a:lnTo>
                    <a:pt x="1968" y="7835"/>
                  </a:lnTo>
                  <a:lnTo>
                    <a:pt x="977" y="9271"/>
                  </a:lnTo>
                  <a:lnTo>
                    <a:pt x="0" y="10668"/>
                  </a:lnTo>
                  <a:lnTo>
                    <a:pt x="850" y="11239"/>
                  </a:lnTo>
                  <a:lnTo>
                    <a:pt x="1828" y="9842"/>
                  </a:lnTo>
                  <a:lnTo>
                    <a:pt x="2819" y="8407"/>
                  </a:lnTo>
                  <a:lnTo>
                    <a:pt x="3810" y="6908"/>
                  </a:lnTo>
                  <a:close/>
                </a:path>
                <a:path w="8254" h="11429">
                  <a:moveTo>
                    <a:pt x="7937" y="558"/>
                  </a:moveTo>
                  <a:lnTo>
                    <a:pt x="7099" y="0"/>
                  </a:lnTo>
                  <a:lnTo>
                    <a:pt x="6642" y="723"/>
                  </a:lnTo>
                  <a:lnTo>
                    <a:pt x="5727" y="2146"/>
                  </a:lnTo>
                  <a:lnTo>
                    <a:pt x="6108" y="2082"/>
                  </a:lnTo>
                  <a:lnTo>
                    <a:pt x="6502" y="2082"/>
                  </a:lnTo>
                  <a:lnTo>
                    <a:pt x="6946" y="2133"/>
                  </a:lnTo>
                  <a:lnTo>
                    <a:pt x="7607" y="1092"/>
                  </a:lnTo>
                  <a:lnTo>
                    <a:pt x="7937" y="558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1" name="object 293">
              <a:extLst>
                <a:ext uri="{FF2B5EF4-FFF2-40B4-BE49-F238E27FC236}">
                  <a16:creationId xmlns:a16="http://schemas.microsoft.com/office/drawing/2014/main" id="{059F8D8B-7786-4235-B3FB-09CC74264D42}"/>
                </a:ext>
              </a:extLst>
            </p:cNvPr>
            <p:cNvSpPr/>
            <p:nvPr/>
          </p:nvSpPr>
          <p:spPr>
            <a:xfrm>
              <a:off x="8170088" y="6369028"/>
              <a:ext cx="8255" cy="11430"/>
            </a:xfrm>
            <a:custGeom>
              <a:avLst/>
              <a:gdLst/>
              <a:ahLst/>
              <a:cxnLst/>
              <a:rect l="l" t="t" r="r" b="b"/>
              <a:pathLst>
                <a:path w="8254" h="11429">
                  <a:moveTo>
                    <a:pt x="3810" y="6921"/>
                  </a:moveTo>
                  <a:lnTo>
                    <a:pt x="2959" y="6350"/>
                  </a:lnTo>
                  <a:lnTo>
                    <a:pt x="1955" y="7848"/>
                  </a:lnTo>
                  <a:lnTo>
                    <a:pt x="977" y="9283"/>
                  </a:lnTo>
                  <a:lnTo>
                    <a:pt x="0" y="10668"/>
                  </a:lnTo>
                  <a:lnTo>
                    <a:pt x="850" y="11252"/>
                  </a:lnTo>
                  <a:lnTo>
                    <a:pt x="1828" y="9855"/>
                  </a:lnTo>
                  <a:lnTo>
                    <a:pt x="2806" y="8420"/>
                  </a:lnTo>
                  <a:lnTo>
                    <a:pt x="3810" y="6921"/>
                  </a:lnTo>
                  <a:close/>
                </a:path>
                <a:path w="8254" h="11429">
                  <a:moveTo>
                    <a:pt x="7950" y="571"/>
                  </a:moveTo>
                  <a:lnTo>
                    <a:pt x="7099" y="0"/>
                  </a:lnTo>
                  <a:lnTo>
                    <a:pt x="6769" y="533"/>
                  </a:lnTo>
                  <a:lnTo>
                    <a:pt x="6426" y="1054"/>
                  </a:lnTo>
                  <a:lnTo>
                    <a:pt x="6108" y="1574"/>
                  </a:lnTo>
                  <a:lnTo>
                    <a:pt x="6438" y="1600"/>
                  </a:lnTo>
                  <a:lnTo>
                    <a:pt x="6794" y="1676"/>
                  </a:lnTo>
                  <a:lnTo>
                    <a:pt x="7175" y="1778"/>
                  </a:lnTo>
                  <a:lnTo>
                    <a:pt x="7429" y="1384"/>
                  </a:lnTo>
                  <a:lnTo>
                    <a:pt x="7683" y="965"/>
                  </a:lnTo>
                  <a:lnTo>
                    <a:pt x="7950" y="571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2" name="object 294">
              <a:extLst>
                <a:ext uri="{FF2B5EF4-FFF2-40B4-BE49-F238E27FC236}">
                  <a16:creationId xmlns:a16="http://schemas.microsoft.com/office/drawing/2014/main" id="{66678A48-2EAA-4FA0-B27F-57F3FEF70ED8}"/>
                </a:ext>
              </a:extLst>
            </p:cNvPr>
            <p:cNvSpPr/>
            <p:nvPr/>
          </p:nvSpPr>
          <p:spPr>
            <a:xfrm>
              <a:off x="8170939" y="6369599"/>
              <a:ext cx="8255" cy="11430"/>
            </a:xfrm>
            <a:custGeom>
              <a:avLst/>
              <a:gdLst/>
              <a:ahLst/>
              <a:cxnLst/>
              <a:rect l="l" t="t" r="r" b="b"/>
              <a:pathLst>
                <a:path w="8254" h="11429">
                  <a:moveTo>
                    <a:pt x="3810" y="6921"/>
                  </a:moveTo>
                  <a:lnTo>
                    <a:pt x="2959" y="6350"/>
                  </a:lnTo>
                  <a:lnTo>
                    <a:pt x="1955" y="7848"/>
                  </a:lnTo>
                  <a:lnTo>
                    <a:pt x="977" y="9283"/>
                  </a:lnTo>
                  <a:lnTo>
                    <a:pt x="0" y="10680"/>
                  </a:lnTo>
                  <a:lnTo>
                    <a:pt x="850" y="11252"/>
                  </a:lnTo>
                  <a:lnTo>
                    <a:pt x="2806" y="8420"/>
                  </a:lnTo>
                  <a:lnTo>
                    <a:pt x="3810" y="6921"/>
                  </a:lnTo>
                  <a:close/>
                </a:path>
                <a:path w="8254" h="11429">
                  <a:moveTo>
                    <a:pt x="7632" y="368"/>
                  </a:moveTo>
                  <a:lnTo>
                    <a:pt x="7086" y="0"/>
                  </a:lnTo>
                  <a:lnTo>
                    <a:pt x="6819" y="406"/>
                  </a:lnTo>
                  <a:lnTo>
                    <a:pt x="6565" y="812"/>
                  </a:lnTo>
                  <a:lnTo>
                    <a:pt x="6311" y="1206"/>
                  </a:lnTo>
                  <a:lnTo>
                    <a:pt x="6515" y="1257"/>
                  </a:lnTo>
                  <a:lnTo>
                    <a:pt x="6731" y="1320"/>
                  </a:lnTo>
                  <a:lnTo>
                    <a:pt x="6934" y="1397"/>
                  </a:lnTo>
                  <a:lnTo>
                    <a:pt x="7632" y="368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3" name="object 295">
              <a:extLst>
                <a:ext uri="{FF2B5EF4-FFF2-40B4-BE49-F238E27FC236}">
                  <a16:creationId xmlns:a16="http://schemas.microsoft.com/office/drawing/2014/main" id="{62ACC204-5CB9-460B-8DEF-CF3F01E03AD3}"/>
                </a:ext>
              </a:extLst>
            </p:cNvPr>
            <p:cNvSpPr/>
            <p:nvPr/>
          </p:nvSpPr>
          <p:spPr>
            <a:xfrm>
              <a:off x="8171802" y="6365878"/>
              <a:ext cx="11430" cy="15875"/>
            </a:xfrm>
            <a:custGeom>
              <a:avLst/>
              <a:gdLst/>
              <a:ahLst/>
              <a:cxnLst/>
              <a:rect l="l" t="t" r="r" b="b"/>
              <a:pathLst>
                <a:path w="11429" h="15875">
                  <a:moveTo>
                    <a:pt x="3810" y="11214"/>
                  </a:moveTo>
                  <a:lnTo>
                    <a:pt x="2946" y="10642"/>
                  </a:lnTo>
                  <a:lnTo>
                    <a:pt x="1955" y="12141"/>
                  </a:lnTo>
                  <a:lnTo>
                    <a:pt x="0" y="14973"/>
                  </a:lnTo>
                  <a:lnTo>
                    <a:pt x="850" y="15544"/>
                  </a:lnTo>
                  <a:lnTo>
                    <a:pt x="2806" y="12700"/>
                  </a:lnTo>
                  <a:lnTo>
                    <a:pt x="3810" y="11214"/>
                  </a:lnTo>
                  <a:close/>
                </a:path>
                <a:path w="11429" h="15875">
                  <a:moveTo>
                    <a:pt x="10909" y="0"/>
                  </a:moveTo>
                  <a:lnTo>
                    <a:pt x="10109" y="431"/>
                  </a:lnTo>
                  <a:lnTo>
                    <a:pt x="10172" y="635"/>
                  </a:lnTo>
                  <a:lnTo>
                    <a:pt x="10223" y="838"/>
                  </a:lnTo>
                  <a:lnTo>
                    <a:pt x="10274" y="1054"/>
                  </a:lnTo>
                  <a:lnTo>
                    <a:pt x="10477" y="698"/>
                  </a:lnTo>
                  <a:lnTo>
                    <a:pt x="10693" y="368"/>
                  </a:lnTo>
                  <a:lnTo>
                    <a:pt x="10896" y="25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4" name="object 296">
              <a:extLst>
                <a:ext uri="{FF2B5EF4-FFF2-40B4-BE49-F238E27FC236}">
                  <a16:creationId xmlns:a16="http://schemas.microsoft.com/office/drawing/2014/main" id="{6A657ED9-7A7C-4C80-B3E6-43F5DF1D342B}"/>
                </a:ext>
              </a:extLst>
            </p:cNvPr>
            <p:cNvSpPr/>
            <p:nvPr/>
          </p:nvSpPr>
          <p:spPr>
            <a:xfrm>
              <a:off x="8172640" y="6365840"/>
              <a:ext cx="10795" cy="16510"/>
            </a:xfrm>
            <a:custGeom>
              <a:avLst/>
              <a:gdLst/>
              <a:ahLst/>
              <a:cxnLst/>
              <a:rect l="l" t="t" r="r" b="b"/>
              <a:pathLst>
                <a:path w="10795" h="16509">
                  <a:moveTo>
                    <a:pt x="3797" y="11823"/>
                  </a:moveTo>
                  <a:lnTo>
                    <a:pt x="2959" y="11252"/>
                  </a:lnTo>
                  <a:lnTo>
                    <a:pt x="1955" y="12750"/>
                  </a:lnTo>
                  <a:lnTo>
                    <a:pt x="0" y="15582"/>
                  </a:lnTo>
                  <a:lnTo>
                    <a:pt x="850" y="16167"/>
                  </a:lnTo>
                  <a:lnTo>
                    <a:pt x="1828" y="14770"/>
                  </a:lnTo>
                  <a:lnTo>
                    <a:pt x="3797" y="11823"/>
                  </a:lnTo>
                  <a:close/>
                </a:path>
                <a:path w="10795" h="16509">
                  <a:moveTo>
                    <a:pt x="10731" y="901"/>
                  </a:moveTo>
                  <a:lnTo>
                    <a:pt x="10121" y="0"/>
                  </a:lnTo>
                  <a:lnTo>
                    <a:pt x="9639" y="736"/>
                  </a:lnTo>
                  <a:lnTo>
                    <a:pt x="9423" y="1092"/>
                  </a:lnTo>
                  <a:lnTo>
                    <a:pt x="9537" y="1574"/>
                  </a:lnTo>
                  <a:lnTo>
                    <a:pt x="9639" y="2057"/>
                  </a:lnTo>
                  <a:lnTo>
                    <a:pt x="9715" y="2565"/>
                  </a:lnTo>
                  <a:lnTo>
                    <a:pt x="10045" y="2006"/>
                  </a:lnTo>
                  <a:lnTo>
                    <a:pt x="10388" y="1447"/>
                  </a:lnTo>
                  <a:lnTo>
                    <a:pt x="10731" y="901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5" name="object 297">
              <a:extLst>
                <a:ext uri="{FF2B5EF4-FFF2-40B4-BE49-F238E27FC236}">
                  <a16:creationId xmlns:a16="http://schemas.microsoft.com/office/drawing/2014/main" id="{946A1318-D52E-43FE-A117-56442C5FA1EC}"/>
                </a:ext>
              </a:extLst>
            </p:cNvPr>
            <p:cNvSpPr/>
            <p:nvPr/>
          </p:nvSpPr>
          <p:spPr>
            <a:xfrm>
              <a:off x="8173491" y="6366742"/>
              <a:ext cx="10795" cy="15875"/>
            </a:xfrm>
            <a:custGeom>
              <a:avLst/>
              <a:gdLst/>
              <a:ahLst/>
              <a:cxnLst/>
              <a:rect l="l" t="t" r="r" b="b"/>
              <a:pathLst>
                <a:path w="10795" h="15875">
                  <a:moveTo>
                    <a:pt x="3810" y="11480"/>
                  </a:moveTo>
                  <a:lnTo>
                    <a:pt x="3162" y="11074"/>
                  </a:lnTo>
                  <a:lnTo>
                    <a:pt x="2946" y="10922"/>
                  </a:lnTo>
                  <a:lnTo>
                    <a:pt x="1955" y="12420"/>
                  </a:lnTo>
                  <a:lnTo>
                    <a:pt x="977" y="13868"/>
                  </a:lnTo>
                  <a:lnTo>
                    <a:pt x="0" y="15265"/>
                  </a:lnTo>
                  <a:lnTo>
                    <a:pt x="533" y="15621"/>
                  </a:lnTo>
                  <a:lnTo>
                    <a:pt x="749" y="15760"/>
                  </a:lnTo>
                  <a:lnTo>
                    <a:pt x="2806" y="12992"/>
                  </a:lnTo>
                  <a:lnTo>
                    <a:pt x="3810" y="11480"/>
                  </a:lnTo>
                  <a:close/>
                </a:path>
                <a:path w="10795" h="15875">
                  <a:moveTo>
                    <a:pt x="10502" y="914"/>
                  </a:moveTo>
                  <a:lnTo>
                    <a:pt x="9880" y="0"/>
                  </a:lnTo>
                  <a:lnTo>
                    <a:pt x="9537" y="546"/>
                  </a:lnTo>
                  <a:lnTo>
                    <a:pt x="9207" y="1104"/>
                  </a:lnTo>
                  <a:lnTo>
                    <a:pt x="8864" y="1663"/>
                  </a:lnTo>
                  <a:lnTo>
                    <a:pt x="8940" y="2209"/>
                  </a:lnTo>
                  <a:lnTo>
                    <a:pt x="9004" y="2768"/>
                  </a:lnTo>
                  <a:lnTo>
                    <a:pt x="9017" y="3327"/>
                  </a:lnTo>
                  <a:lnTo>
                    <a:pt x="10007" y="1727"/>
                  </a:lnTo>
                  <a:lnTo>
                    <a:pt x="10502" y="914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6" name="object 298">
              <a:extLst>
                <a:ext uri="{FF2B5EF4-FFF2-40B4-BE49-F238E27FC236}">
                  <a16:creationId xmlns:a16="http://schemas.microsoft.com/office/drawing/2014/main" id="{5CA5C1E8-5E4C-4E14-B067-D2B1B34C4A5C}"/>
                </a:ext>
              </a:extLst>
            </p:cNvPr>
            <p:cNvSpPr/>
            <p:nvPr/>
          </p:nvSpPr>
          <p:spPr>
            <a:xfrm>
              <a:off x="8174342" y="6367656"/>
              <a:ext cx="10795" cy="15875"/>
            </a:xfrm>
            <a:custGeom>
              <a:avLst/>
              <a:gdLst/>
              <a:ahLst/>
              <a:cxnLst/>
              <a:rect l="l" t="t" r="r" b="b"/>
              <a:pathLst>
                <a:path w="10795" h="15875">
                  <a:moveTo>
                    <a:pt x="3886" y="10998"/>
                  </a:moveTo>
                  <a:lnTo>
                    <a:pt x="3594" y="10909"/>
                  </a:lnTo>
                  <a:lnTo>
                    <a:pt x="3276" y="10756"/>
                  </a:lnTo>
                  <a:lnTo>
                    <a:pt x="2959" y="10553"/>
                  </a:lnTo>
                  <a:lnTo>
                    <a:pt x="1955" y="12065"/>
                  </a:lnTo>
                  <a:lnTo>
                    <a:pt x="965" y="13525"/>
                  </a:lnTo>
                  <a:lnTo>
                    <a:pt x="0" y="14922"/>
                  </a:lnTo>
                  <a:lnTo>
                    <a:pt x="317" y="15163"/>
                  </a:lnTo>
                  <a:lnTo>
                    <a:pt x="571" y="15392"/>
                  </a:lnTo>
                  <a:lnTo>
                    <a:pt x="762" y="15621"/>
                  </a:lnTo>
                  <a:lnTo>
                    <a:pt x="1790" y="14135"/>
                  </a:lnTo>
                  <a:lnTo>
                    <a:pt x="2832" y="12598"/>
                  </a:lnTo>
                  <a:lnTo>
                    <a:pt x="3886" y="10998"/>
                  </a:lnTo>
                  <a:close/>
                </a:path>
                <a:path w="10795" h="15875">
                  <a:moveTo>
                    <a:pt x="10274" y="927"/>
                  </a:moveTo>
                  <a:lnTo>
                    <a:pt x="9652" y="0"/>
                  </a:lnTo>
                  <a:lnTo>
                    <a:pt x="9156" y="825"/>
                  </a:lnTo>
                  <a:lnTo>
                    <a:pt x="8166" y="2413"/>
                  </a:lnTo>
                  <a:lnTo>
                    <a:pt x="8204" y="3073"/>
                  </a:lnTo>
                  <a:lnTo>
                    <a:pt x="8191" y="3733"/>
                  </a:lnTo>
                  <a:lnTo>
                    <a:pt x="8128" y="4394"/>
                  </a:lnTo>
                  <a:lnTo>
                    <a:pt x="8839" y="3276"/>
                  </a:lnTo>
                  <a:lnTo>
                    <a:pt x="10274" y="927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7" name="object 299">
              <a:extLst>
                <a:ext uri="{FF2B5EF4-FFF2-40B4-BE49-F238E27FC236}">
                  <a16:creationId xmlns:a16="http://schemas.microsoft.com/office/drawing/2014/main" id="{E434D122-5FD4-4AEB-B069-54B2A3B7C63B}"/>
                </a:ext>
              </a:extLst>
            </p:cNvPr>
            <p:cNvSpPr/>
            <p:nvPr/>
          </p:nvSpPr>
          <p:spPr>
            <a:xfrm>
              <a:off x="8175117" y="6368583"/>
              <a:ext cx="10160" cy="15875"/>
            </a:xfrm>
            <a:custGeom>
              <a:avLst/>
              <a:gdLst/>
              <a:ahLst/>
              <a:cxnLst/>
              <a:rect l="l" t="t" r="r" b="b"/>
              <a:pathLst>
                <a:path w="10159" h="15875">
                  <a:moveTo>
                    <a:pt x="4394" y="9994"/>
                  </a:moveTo>
                  <a:lnTo>
                    <a:pt x="3987" y="10198"/>
                  </a:lnTo>
                  <a:lnTo>
                    <a:pt x="3568" y="10198"/>
                  </a:lnTo>
                  <a:lnTo>
                    <a:pt x="3124" y="10071"/>
                  </a:lnTo>
                  <a:lnTo>
                    <a:pt x="2070" y="11684"/>
                  </a:lnTo>
                  <a:lnTo>
                    <a:pt x="1028" y="13220"/>
                  </a:lnTo>
                  <a:lnTo>
                    <a:pt x="0" y="14693"/>
                  </a:lnTo>
                  <a:lnTo>
                    <a:pt x="304" y="15049"/>
                  </a:lnTo>
                  <a:lnTo>
                    <a:pt x="457" y="15430"/>
                  </a:lnTo>
                  <a:lnTo>
                    <a:pt x="469" y="15824"/>
                  </a:lnTo>
                  <a:lnTo>
                    <a:pt x="1752" y="13970"/>
                  </a:lnTo>
                  <a:lnTo>
                    <a:pt x="3060" y="12039"/>
                  </a:lnTo>
                  <a:lnTo>
                    <a:pt x="4394" y="9994"/>
                  </a:lnTo>
                  <a:close/>
                </a:path>
                <a:path w="10159" h="15875">
                  <a:moveTo>
                    <a:pt x="10134" y="927"/>
                  </a:moveTo>
                  <a:lnTo>
                    <a:pt x="9512" y="0"/>
                  </a:lnTo>
                  <a:lnTo>
                    <a:pt x="8775" y="1181"/>
                  </a:lnTo>
                  <a:lnTo>
                    <a:pt x="7366" y="3479"/>
                  </a:lnTo>
                  <a:lnTo>
                    <a:pt x="7264" y="4432"/>
                  </a:lnTo>
                  <a:lnTo>
                    <a:pt x="7073" y="5397"/>
                  </a:lnTo>
                  <a:lnTo>
                    <a:pt x="6769" y="6311"/>
                  </a:lnTo>
                  <a:lnTo>
                    <a:pt x="7874" y="4584"/>
                  </a:lnTo>
                  <a:lnTo>
                    <a:pt x="8991" y="2794"/>
                  </a:lnTo>
                  <a:lnTo>
                    <a:pt x="10134" y="927"/>
                  </a:lnTo>
                  <a:close/>
                </a:path>
              </a:pathLst>
            </a:custGeom>
            <a:solidFill>
              <a:srgbClr val="EFCC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8" name="object 300">
              <a:extLst>
                <a:ext uri="{FF2B5EF4-FFF2-40B4-BE49-F238E27FC236}">
                  <a16:creationId xmlns:a16="http://schemas.microsoft.com/office/drawing/2014/main" id="{125BF14B-A3C8-4F8A-818F-1341B6B0B32F}"/>
                </a:ext>
              </a:extLst>
            </p:cNvPr>
            <p:cNvSpPr/>
            <p:nvPr/>
          </p:nvSpPr>
          <p:spPr>
            <a:xfrm>
              <a:off x="8174749" y="6369497"/>
              <a:ext cx="11430" cy="17780"/>
            </a:xfrm>
            <a:custGeom>
              <a:avLst/>
              <a:gdLst/>
              <a:ahLst/>
              <a:cxnLst/>
              <a:rect l="l" t="t" r="r" b="b"/>
              <a:pathLst>
                <a:path w="11429" h="17779">
                  <a:moveTo>
                    <a:pt x="10502" y="0"/>
                  </a:moveTo>
                  <a:lnTo>
                    <a:pt x="8242" y="3657"/>
                  </a:lnTo>
                  <a:lnTo>
                    <a:pt x="7137" y="5384"/>
                  </a:lnTo>
                  <a:lnTo>
                    <a:pt x="6832" y="6299"/>
                  </a:lnTo>
                  <a:lnTo>
                    <a:pt x="6413" y="7162"/>
                  </a:lnTo>
                  <a:lnTo>
                    <a:pt x="5486" y="8547"/>
                  </a:lnTo>
                  <a:lnTo>
                    <a:pt x="5130" y="8889"/>
                  </a:lnTo>
                  <a:lnTo>
                    <a:pt x="4762" y="9067"/>
                  </a:lnTo>
                  <a:lnTo>
                    <a:pt x="3429" y="11112"/>
                  </a:lnTo>
                  <a:lnTo>
                    <a:pt x="2120" y="13055"/>
                  </a:lnTo>
                  <a:lnTo>
                    <a:pt x="838" y="14897"/>
                  </a:lnTo>
                  <a:lnTo>
                    <a:pt x="876" y="15519"/>
                  </a:lnTo>
                  <a:lnTo>
                    <a:pt x="584" y="16205"/>
                  </a:lnTo>
                  <a:lnTo>
                    <a:pt x="0" y="17068"/>
                  </a:lnTo>
                  <a:lnTo>
                    <a:pt x="393" y="17335"/>
                  </a:lnTo>
                  <a:lnTo>
                    <a:pt x="3746" y="12572"/>
                  </a:lnTo>
                  <a:lnTo>
                    <a:pt x="7289" y="7162"/>
                  </a:lnTo>
                  <a:lnTo>
                    <a:pt x="11125" y="914"/>
                  </a:lnTo>
                  <a:lnTo>
                    <a:pt x="10502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09" name="object 301">
              <a:extLst>
                <a:ext uri="{FF2B5EF4-FFF2-40B4-BE49-F238E27FC236}">
                  <a16:creationId xmlns:a16="http://schemas.microsoft.com/office/drawing/2014/main" id="{6A8ECFC7-AADD-4285-9DAB-352F0F2623EA}"/>
                </a:ext>
              </a:extLst>
            </p:cNvPr>
            <p:cNvSpPr/>
            <p:nvPr/>
          </p:nvSpPr>
          <p:spPr>
            <a:xfrm>
              <a:off x="8175145" y="6370412"/>
              <a:ext cx="11430" cy="17145"/>
            </a:xfrm>
            <a:custGeom>
              <a:avLst/>
              <a:gdLst/>
              <a:ahLst/>
              <a:cxnLst/>
              <a:rect l="l" t="t" r="r" b="b"/>
              <a:pathLst>
                <a:path w="11429" h="17145">
                  <a:moveTo>
                    <a:pt x="10731" y="0"/>
                  </a:moveTo>
                  <a:lnTo>
                    <a:pt x="6896" y="6248"/>
                  </a:lnTo>
                  <a:lnTo>
                    <a:pt x="3352" y="11645"/>
                  </a:lnTo>
                  <a:lnTo>
                    <a:pt x="0" y="16421"/>
                  </a:lnTo>
                  <a:lnTo>
                    <a:pt x="482" y="16738"/>
                  </a:lnTo>
                  <a:lnTo>
                    <a:pt x="11226" y="736"/>
                  </a:lnTo>
                  <a:lnTo>
                    <a:pt x="10731" y="0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0" name="object 302">
              <a:extLst>
                <a:ext uri="{FF2B5EF4-FFF2-40B4-BE49-F238E27FC236}">
                  <a16:creationId xmlns:a16="http://schemas.microsoft.com/office/drawing/2014/main" id="{FF8AB3D0-6799-40AD-8452-A7DFFC7118DF}"/>
                </a:ext>
              </a:extLst>
            </p:cNvPr>
            <p:cNvSpPr/>
            <p:nvPr/>
          </p:nvSpPr>
          <p:spPr>
            <a:xfrm>
              <a:off x="8178635" y="6343031"/>
              <a:ext cx="7620" cy="14604"/>
            </a:xfrm>
            <a:custGeom>
              <a:avLst/>
              <a:gdLst/>
              <a:ahLst/>
              <a:cxnLst/>
              <a:rect l="l" t="t" r="r" b="b"/>
              <a:pathLst>
                <a:path w="7620" h="14604">
                  <a:moveTo>
                    <a:pt x="3467" y="9677"/>
                  </a:moveTo>
                  <a:lnTo>
                    <a:pt x="3175" y="9550"/>
                  </a:lnTo>
                  <a:lnTo>
                    <a:pt x="2552" y="9258"/>
                  </a:lnTo>
                  <a:lnTo>
                    <a:pt x="876" y="12331"/>
                  </a:lnTo>
                  <a:lnTo>
                    <a:pt x="0" y="13855"/>
                  </a:lnTo>
                  <a:lnTo>
                    <a:pt x="914" y="14287"/>
                  </a:lnTo>
                  <a:lnTo>
                    <a:pt x="1790" y="12763"/>
                  </a:lnTo>
                  <a:lnTo>
                    <a:pt x="3467" y="9677"/>
                  </a:lnTo>
                  <a:close/>
                </a:path>
                <a:path w="7620" h="14604">
                  <a:moveTo>
                    <a:pt x="7340" y="787"/>
                  </a:moveTo>
                  <a:lnTo>
                    <a:pt x="7251" y="0"/>
                  </a:lnTo>
                  <a:lnTo>
                    <a:pt x="6400" y="1790"/>
                  </a:lnTo>
                  <a:lnTo>
                    <a:pt x="4597" y="5359"/>
                  </a:lnTo>
                  <a:lnTo>
                    <a:pt x="4470" y="6375"/>
                  </a:lnTo>
                  <a:lnTo>
                    <a:pt x="4089" y="7569"/>
                  </a:lnTo>
                  <a:lnTo>
                    <a:pt x="3429" y="8991"/>
                  </a:lnTo>
                  <a:lnTo>
                    <a:pt x="3175" y="9537"/>
                  </a:lnTo>
                  <a:lnTo>
                    <a:pt x="7315" y="1587"/>
                  </a:lnTo>
                  <a:lnTo>
                    <a:pt x="7340" y="787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1" name="object 303">
              <a:extLst>
                <a:ext uri="{FF2B5EF4-FFF2-40B4-BE49-F238E27FC236}">
                  <a16:creationId xmlns:a16="http://schemas.microsoft.com/office/drawing/2014/main" id="{4A78D9EC-225A-4363-8683-BDD205BFDA78}"/>
                </a:ext>
              </a:extLst>
            </p:cNvPr>
            <p:cNvSpPr/>
            <p:nvPr/>
          </p:nvSpPr>
          <p:spPr>
            <a:xfrm>
              <a:off x="8179549" y="6345419"/>
              <a:ext cx="6985" cy="12700"/>
            </a:xfrm>
            <a:custGeom>
              <a:avLst/>
              <a:gdLst/>
              <a:ahLst/>
              <a:cxnLst/>
              <a:rect l="l" t="t" r="r" b="b"/>
              <a:pathLst>
                <a:path w="6984" h="12700">
                  <a:moveTo>
                    <a:pt x="3454" y="7708"/>
                  </a:moveTo>
                  <a:lnTo>
                    <a:pt x="2540" y="7289"/>
                  </a:lnTo>
                  <a:lnTo>
                    <a:pt x="1714" y="8839"/>
                  </a:lnTo>
                  <a:lnTo>
                    <a:pt x="863" y="10375"/>
                  </a:lnTo>
                  <a:lnTo>
                    <a:pt x="0" y="11899"/>
                  </a:lnTo>
                  <a:lnTo>
                    <a:pt x="914" y="12319"/>
                  </a:lnTo>
                  <a:lnTo>
                    <a:pt x="1790" y="10795"/>
                  </a:lnTo>
                  <a:lnTo>
                    <a:pt x="2628" y="9258"/>
                  </a:lnTo>
                  <a:lnTo>
                    <a:pt x="3454" y="7708"/>
                  </a:lnTo>
                  <a:close/>
                </a:path>
                <a:path w="6984" h="12700">
                  <a:moveTo>
                    <a:pt x="6921" y="927"/>
                  </a:moveTo>
                  <a:lnTo>
                    <a:pt x="6616" y="1016"/>
                  </a:lnTo>
                  <a:lnTo>
                    <a:pt x="6311" y="1143"/>
                  </a:lnTo>
                  <a:lnTo>
                    <a:pt x="6019" y="1308"/>
                  </a:lnTo>
                  <a:lnTo>
                    <a:pt x="6121" y="889"/>
                  </a:lnTo>
                  <a:lnTo>
                    <a:pt x="6210" y="444"/>
                  </a:lnTo>
                  <a:lnTo>
                    <a:pt x="6273" y="0"/>
                  </a:lnTo>
                  <a:lnTo>
                    <a:pt x="5092" y="2438"/>
                  </a:lnTo>
                  <a:lnTo>
                    <a:pt x="3848" y="4851"/>
                  </a:lnTo>
                  <a:lnTo>
                    <a:pt x="2565" y="7264"/>
                  </a:lnTo>
                  <a:lnTo>
                    <a:pt x="3505" y="7620"/>
                  </a:lnTo>
                  <a:lnTo>
                    <a:pt x="4699" y="5410"/>
                  </a:lnTo>
                  <a:lnTo>
                    <a:pt x="5829" y="3175"/>
                  </a:lnTo>
                  <a:lnTo>
                    <a:pt x="6921" y="927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2" name="object 304">
              <a:extLst>
                <a:ext uri="{FF2B5EF4-FFF2-40B4-BE49-F238E27FC236}">
                  <a16:creationId xmlns:a16="http://schemas.microsoft.com/office/drawing/2014/main" id="{CD128262-D5AD-4538-A741-4C96B9F7FE0C}"/>
                </a:ext>
              </a:extLst>
            </p:cNvPr>
            <p:cNvSpPr/>
            <p:nvPr/>
          </p:nvSpPr>
          <p:spPr>
            <a:xfrm>
              <a:off x="8180476" y="6346142"/>
              <a:ext cx="7620" cy="12065"/>
            </a:xfrm>
            <a:custGeom>
              <a:avLst/>
              <a:gdLst/>
              <a:ahLst/>
              <a:cxnLst/>
              <a:rect l="l" t="t" r="r" b="b"/>
              <a:pathLst>
                <a:path w="7620" h="12065">
                  <a:moveTo>
                    <a:pt x="3454" y="7404"/>
                  </a:moveTo>
                  <a:lnTo>
                    <a:pt x="2540" y="6985"/>
                  </a:lnTo>
                  <a:lnTo>
                    <a:pt x="1714" y="8521"/>
                  </a:lnTo>
                  <a:lnTo>
                    <a:pt x="863" y="10058"/>
                  </a:lnTo>
                  <a:lnTo>
                    <a:pt x="0" y="11582"/>
                  </a:lnTo>
                  <a:lnTo>
                    <a:pt x="914" y="12014"/>
                  </a:lnTo>
                  <a:lnTo>
                    <a:pt x="1790" y="10490"/>
                  </a:lnTo>
                  <a:lnTo>
                    <a:pt x="3454" y="7404"/>
                  </a:lnTo>
                  <a:close/>
                </a:path>
                <a:path w="7620" h="12065">
                  <a:moveTo>
                    <a:pt x="7188" y="0"/>
                  </a:moveTo>
                  <a:lnTo>
                    <a:pt x="6781" y="38"/>
                  </a:lnTo>
                  <a:lnTo>
                    <a:pt x="6375" y="101"/>
                  </a:lnTo>
                  <a:lnTo>
                    <a:pt x="5994" y="215"/>
                  </a:lnTo>
                  <a:lnTo>
                    <a:pt x="4902" y="2451"/>
                  </a:lnTo>
                  <a:lnTo>
                    <a:pt x="3759" y="4686"/>
                  </a:lnTo>
                  <a:lnTo>
                    <a:pt x="2578" y="6896"/>
                  </a:lnTo>
                  <a:lnTo>
                    <a:pt x="2743" y="6972"/>
                  </a:lnTo>
                  <a:lnTo>
                    <a:pt x="3048" y="6324"/>
                  </a:lnTo>
                  <a:lnTo>
                    <a:pt x="3467" y="5753"/>
                  </a:lnTo>
                  <a:lnTo>
                    <a:pt x="4521" y="5372"/>
                  </a:lnTo>
                  <a:lnTo>
                    <a:pt x="5435" y="3581"/>
                  </a:lnTo>
                  <a:lnTo>
                    <a:pt x="6324" y="1790"/>
                  </a:lnTo>
                  <a:lnTo>
                    <a:pt x="7188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3" name="object 305">
              <a:extLst>
                <a:ext uri="{FF2B5EF4-FFF2-40B4-BE49-F238E27FC236}">
                  <a16:creationId xmlns:a16="http://schemas.microsoft.com/office/drawing/2014/main" id="{BF770306-D35F-4415-A8A2-A46A91814500}"/>
                </a:ext>
              </a:extLst>
            </p:cNvPr>
            <p:cNvSpPr/>
            <p:nvPr/>
          </p:nvSpPr>
          <p:spPr>
            <a:xfrm>
              <a:off x="8181378" y="6346092"/>
              <a:ext cx="7620" cy="12700"/>
            </a:xfrm>
            <a:custGeom>
              <a:avLst/>
              <a:gdLst/>
              <a:ahLst/>
              <a:cxnLst/>
              <a:rect l="l" t="t" r="r" b="b"/>
              <a:pathLst>
                <a:path w="7620" h="12700">
                  <a:moveTo>
                    <a:pt x="3454" y="7886"/>
                  </a:moveTo>
                  <a:lnTo>
                    <a:pt x="2540" y="7467"/>
                  </a:lnTo>
                  <a:lnTo>
                    <a:pt x="1727" y="9004"/>
                  </a:lnTo>
                  <a:lnTo>
                    <a:pt x="876" y="10541"/>
                  </a:lnTo>
                  <a:lnTo>
                    <a:pt x="0" y="12077"/>
                  </a:lnTo>
                  <a:lnTo>
                    <a:pt x="927" y="12496"/>
                  </a:lnTo>
                  <a:lnTo>
                    <a:pt x="1790" y="10972"/>
                  </a:lnTo>
                  <a:lnTo>
                    <a:pt x="2641" y="9423"/>
                  </a:lnTo>
                  <a:lnTo>
                    <a:pt x="3454" y="7886"/>
                  </a:lnTo>
                  <a:close/>
                </a:path>
                <a:path w="7620" h="12700">
                  <a:moveTo>
                    <a:pt x="7404" y="0"/>
                  </a:moveTo>
                  <a:lnTo>
                    <a:pt x="7035" y="0"/>
                  </a:lnTo>
                  <a:lnTo>
                    <a:pt x="6286" y="50"/>
                  </a:lnTo>
                  <a:lnTo>
                    <a:pt x="5422" y="1841"/>
                  </a:lnTo>
                  <a:lnTo>
                    <a:pt x="4533" y="3632"/>
                  </a:lnTo>
                  <a:lnTo>
                    <a:pt x="3606" y="5410"/>
                  </a:lnTo>
                  <a:lnTo>
                    <a:pt x="3962" y="5283"/>
                  </a:lnTo>
                  <a:lnTo>
                    <a:pt x="4394" y="5181"/>
                  </a:lnTo>
                  <a:lnTo>
                    <a:pt x="4902" y="5092"/>
                  </a:lnTo>
                  <a:lnTo>
                    <a:pt x="5765" y="3403"/>
                  </a:lnTo>
                  <a:lnTo>
                    <a:pt x="6591" y="1701"/>
                  </a:lnTo>
                  <a:lnTo>
                    <a:pt x="7404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4" name="object 306">
              <a:extLst>
                <a:ext uri="{FF2B5EF4-FFF2-40B4-BE49-F238E27FC236}">
                  <a16:creationId xmlns:a16="http://schemas.microsoft.com/office/drawing/2014/main" id="{482D1696-DA0F-4547-9F87-586582A72808}"/>
                </a:ext>
              </a:extLst>
            </p:cNvPr>
            <p:cNvSpPr/>
            <p:nvPr/>
          </p:nvSpPr>
          <p:spPr>
            <a:xfrm>
              <a:off x="8182292" y="6346041"/>
              <a:ext cx="7620" cy="13335"/>
            </a:xfrm>
            <a:custGeom>
              <a:avLst/>
              <a:gdLst/>
              <a:ahLst/>
              <a:cxnLst/>
              <a:rect l="l" t="t" r="r" b="b"/>
              <a:pathLst>
                <a:path w="7620" h="13334">
                  <a:moveTo>
                    <a:pt x="3441" y="8343"/>
                  </a:moveTo>
                  <a:lnTo>
                    <a:pt x="2527" y="7924"/>
                  </a:lnTo>
                  <a:lnTo>
                    <a:pt x="1714" y="9474"/>
                  </a:lnTo>
                  <a:lnTo>
                    <a:pt x="876" y="11010"/>
                  </a:lnTo>
                  <a:lnTo>
                    <a:pt x="0" y="12547"/>
                  </a:lnTo>
                  <a:lnTo>
                    <a:pt x="927" y="12966"/>
                  </a:lnTo>
                  <a:lnTo>
                    <a:pt x="1790" y="11442"/>
                  </a:lnTo>
                  <a:lnTo>
                    <a:pt x="2628" y="9893"/>
                  </a:lnTo>
                  <a:lnTo>
                    <a:pt x="3441" y="8343"/>
                  </a:lnTo>
                  <a:close/>
                </a:path>
                <a:path w="7620" h="13334">
                  <a:moveTo>
                    <a:pt x="7607" y="0"/>
                  </a:moveTo>
                  <a:lnTo>
                    <a:pt x="6642" y="25"/>
                  </a:lnTo>
                  <a:lnTo>
                    <a:pt x="6502" y="38"/>
                  </a:lnTo>
                  <a:lnTo>
                    <a:pt x="5689" y="1739"/>
                  </a:lnTo>
                  <a:lnTo>
                    <a:pt x="4851" y="3441"/>
                  </a:lnTo>
                  <a:lnTo>
                    <a:pt x="3987" y="5143"/>
                  </a:lnTo>
                  <a:lnTo>
                    <a:pt x="4330" y="5080"/>
                  </a:lnTo>
                  <a:lnTo>
                    <a:pt x="4724" y="5029"/>
                  </a:lnTo>
                  <a:lnTo>
                    <a:pt x="5168" y="5003"/>
                  </a:lnTo>
                  <a:lnTo>
                    <a:pt x="6007" y="3340"/>
                  </a:lnTo>
                  <a:lnTo>
                    <a:pt x="6819" y="1676"/>
                  </a:lnTo>
                  <a:lnTo>
                    <a:pt x="7607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5" name="object 307">
              <a:extLst>
                <a:ext uri="{FF2B5EF4-FFF2-40B4-BE49-F238E27FC236}">
                  <a16:creationId xmlns:a16="http://schemas.microsoft.com/office/drawing/2014/main" id="{E5251DE9-0D99-4DE4-9A29-CE3C0A8D7BC9}"/>
                </a:ext>
              </a:extLst>
            </p:cNvPr>
            <p:cNvSpPr/>
            <p:nvPr/>
          </p:nvSpPr>
          <p:spPr>
            <a:xfrm>
              <a:off x="8183219" y="6346015"/>
              <a:ext cx="8255" cy="13970"/>
            </a:xfrm>
            <a:custGeom>
              <a:avLst/>
              <a:gdLst/>
              <a:ahLst/>
              <a:cxnLst/>
              <a:rect l="l" t="t" r="r" b="b"/>
              <a:pathLst>
                <a:path w="8254" h="13970">
                  <a:moveTo>
                    <a:pt x="3429" y="8801"/>
                  </a:moveTo>
                  <a:lnTo>
                    <a:pt x="2514" y="8369"/>
                  </a:lnTo>
                  <a:lnTo>
                    <a:pt x="1701" y="9918"/>
                  </a:lnTo>
                  <a:lnTo>
                    <a:pt x="863" y="11455"/>
                  </a:lnTo>
                  <a:lnTo>
                    <a:pt x="0" y="12992"/>
                  </a:lnTo>
                  <a:lnTo>
                    <a:pt x="914" y="13411"/>
                  </a:lnTo>
                  <a:lnTo>
                    <a:pt x="1778" y="11887"/>
                  </a:lnTo>
                  <a:lnTo>
                    <a:pt x="2616" y="10350"/>
                  </a:lnTo>
                  <a:lnTo>
                    <a:pt x="3429" y="8801"/>
                  </a:lnTo>
                  <a:close/>
                </a:path>
                <a:path w="8254" h="13970">
                  <a:moveTo>
                    <a:pt x="7772" y="0"/>
                  </a:moveTo>
                  <a:lnTo>
                    <a:pt x="6667" y="38"/>
                  </a:lnTo>
                  <a:lnTo>
                    <a:pt x="5880" y="1701"/>
                  </a:lnTo>
                  <a:lnTo>
                    <a:pt x="5067" y="3378"/>
                  </a:lnTo>
                  <a:lnTo>
                    <a:pt x="4229" y="5041"/>
                  </a:lnTo>
                  <a:lnTo>
                    <a:pt x="4965" y="4991"/>
                  </a:lnTo>
                  <a:lnTo>
                    <a:pt x="5372" y="4991"/>
                  </a:lnTo>
                  <a:lnTo>
                    <a:pt x="6197" y="3327"/>
                  </a:lnTo>
                  <a:lnTo>
                    <a:pt x="6997" y="1663"/>
                  </a:lnTo>
                  <a:lnTo>
                    <a:pt x="7772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6" name="object 308">
              <a:extLst>
                <a:ext uri="{FF2B5EF4-FFF2-40B4-BE49-F238E27FC236}">
                  <a16:creationId xmlns:a16="http://schemas.microsoft.com/office/drawing/2014/main" id="{0AB1683C-2A46-406B-9E1E-75E6451D80EA}"/>
                </a:ext>
              </a:extLst>
            </p:cNvPr>
            <p:cNvSpPr/>
            <p:nvPr/>
          </p:nvSpPr>
          <p:spPr>
            <a:xfrm>
              <a:off x="8184146" y="6345977"/>
              <a:ext cx="8255" cy="13970"/>
            </a:xfrm>
            <a:custGeom>
              <a:avLst/>
              <a:gdLst/>
              <a:ahLst/>
              <a:cxnLst/>
              <a:rect l="l" t="t" r="r" b="b"/>
              <a:pathLst>
                <a:path w="8254" h="13970">
                  <a:moveTo>
                    <a:pt x="3416" y="9271"/>
                  </a:moveTo>
                  <a:lnTo>
                    <a:pt x="2514" y="8839"/>
                  </a:lnTo>
                  <a:lnTo>
                    <a:pt x="863" y="11925"/>
                  </a:lnTo>
                  <a:lnTo>
                    <a:pt x="0" y="13462"/>
                  </a:lnTo>
                  <a:lnTo>
                    <a:pt x="914" y="13881"/>
                  </a:lnTo>
                  <a:lnTo>
                    <a:pt x="1765" y="12357"/>
                  </a:lnTo>
                  <a:lnTo>
                    <a:pt x="2603" y="10807"/>
                  </a:lnTo>
                  <a:lnTo>
                    <a:pt x="3416" y="9271"/>
                  </a:lnTo>
                  <a:close/>
                </a:path>
                <a:path w="8254" h="13970">
                  <a:moveTo>
                    <a:pt x="7937" y="0"/>
                  </a:moveTo>
                  <a:lnTo>
                    <a:pt x="6845" y="25"/>
                  </a:lnTo>
                  <a:lnTo>
                    <a:pt x="6070" y="1701"/>
                  </a:lnTo>
                  <a:lnTo>
                    <a:pt x="5270" y="3365"/>
                  </a:lnTo>
                  <a:lnTo>
                    <a:pt x="4445" y="5016"/>
                  </a:lnTo>
                  <a:lnTo>
                    <a:pt x="4978" y="5016"/>
                  </a:lnTo>
                  <a:lnTo>
                    <a:pt x="5562" y="5003"/>
                  </a:lnTo>
                  <a:lnTo>
                    <a:pt x="6388" y="3340"/>
                  </a:lnTo>
                  <a:lnTo>
                    <a:pt x="7175" y="1676"/>
                  </a:lnTo>
                  <a:lnTo>
                    <a:pt x="7937" y="0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7" name="object 309">
              <a:extLst>
                <a:ext uri="{FF2B5EF4-FFF2-40B4-BE49-F238E27FC236}">
                  <a16:creationId xmlns:a16="http://schemas.microsoft.com/office/drawing/2014/main" id="{479B626F-705F-4276-A2AC-19A13B12CA21}"/>
                </a:ext>
              </a:extLst>
            </p:cNvPr>
            <p:cNvSpPr/>
            <p:nvPr/>
          </p:nvSpPr>
          <p:spPr>
            <a:xfrm>
              <a:off x="8185061" y="6345939"/>
              <a:ext cx="8255" cy="14604"/>
            </a:xfrm>
            <a:custGeom>
              <a:avLst/>
              <a:gdLst/>
              <a:ahLst/>
              <a:cxnLst/>
              <a:rect l="l" t="t" r="r" b="b"/>
              <a:pathLst>
                <a:path w="8254" h="14604">
                  <a:moveTo>
                    <a:pt x="3403" y="9715"/>
                  </a:moveTo>
                  <a:lnTo>
                    <a:pt x="2501" y="9296"/>
                  </a:lnTo>
                  <a:lnTo>
                    <a:pt x="1689" y="10845"/>
                  </a:lnTo>
                  <a:lnTo>
                    <a:pt x="850" y="12382"/>
                  </a:lnTo>
                  <a:lnTo>
                    <a:pt x="0" y="13919"/>
                  </a:lnTo>
                  <a:lnTo>
                    <a:pt x="914" y="14338"/>
                  </a:lnTo>
                  <a:lnTo>
                    <a:pt x="1765" y="12801"/>
                  </a:lnTo>
                  <a:lnTo>
                    <a:pt x="2603" y="11264"/>
                  </a:lnTo>
                  <a:lnTo>
                    <a:pt x="3403" y="9715"/>
                  </a:lnTo>
                  <a:close/>
                </a:path>
                <a:path w="8254" h="14604">
                  <a:moveTo>
                    <a:pt x="8128" y="0"/>
                  </a:moveTo>
                  <a:lnTo>
                    <a:pt x="7912" y="12"/>
                  </a:lnTo>
                  <a:lnTo>
                    <a:pt x="7035" y="50"/>
                  </a:lnTo>
                  <a:lnTo>
                    <a:pt x="6261" y="1714"/>
                  </a:lnTo>
                  <a:lnTo>
                    <a:pt x="5473" y="3378"/>
                  </a:lnTo>
                  <a:lnTo>
                    <a:pt x="4648" y="5054"/>
                  </a:lnTo>
                  <a:lnTo>
                    <a:pt x="5753" y="5041"/>
                  </a:lnTo>
                  <a:lnTo>
                    <a:pt x="6565" y="3365"/>
                  </a:lnTo>
                  <a:lnTo>
                    <a:pt x="7366" y="1676"/>
                  </a:lnTo>
                  <a:lnTo>
                    <a:pt x="8128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8" name="object 310">
              <a:extLst>
                <a:ext uri="{FF2B5EF4-FFF2-40B4-BE49-F238E27FC236}">
                  <a16:creationId xmlns:a16="http://schemas.microsoft.com/office/drawing/2014/main" id="{0EA65664-C56B-472D-8012-7EEFCED5AD0F}"/>
                </a:ext>
              </a:extLst>
            </p:cNvPr>
            <p:cNvSpPr/>
            <p:nvPr/>
          </p:nvSpPr>
          <p:spPr>
            <a:xfrm>
              <a:off x="8185975" y="6345838"/>
              <a:ext cx="8890" cy="15240"/>
            </a:xfrm>
            <a:custGeom>
              <a:avLst/>
              <a:gdLst/>
              <a:ahLst/>
              <a:cxnLst/>
              <a:rect l="l" t="t" r="r" b="b"/>
              <a:pathLst>
                <a:path w="8890" h="15240">
                  <a:moveTo>
                    <a:pt x="3403" y="10236"/>
                  </a:moveTo>
                  <a:lnTo>
                    <a:pt x="2489" y="9804"/>
                  </a:lnTo>
                  <a:lnTo>
                    <a:pt x="1689" y="11353"/>
                  </a:lnTo>
                  <a:lnTo>
                    <a:pt x="850" y="12903"/>
                  </a:lnTo>
                  <a:lnTo>
                    <a:pt x="0" y="14427"/>
                  </a:lnTo>
                  <a:lnTo>
                    <a:pt x="914" y="14859"/>
                  </a:lnTo>
                  <a:lnTo>
                    <a:pt x="1765" y="13322"/>
                  </a:lnTo>
                  <a:lnTo>
                    <a:pt x="2590" y="11785"/>
                  </a:lnTo>
                  <a:lnTo>
                    <a:pt x="3403" y="10236"/>
                  </a:lnTo>
                  <a:close/>
                </a:path>
                <a:path w="8890" h="15240">
                  <a:moveTo>
                    <a:pt x="8331" y="0"/>
                  </a:moveTo>
                  <a:lnTo>
                    <a:pt x="7594" y="76"/>
                  </a:lnTo>
                  <a:lnTo>
                    <a:pt x="7213" y="101"/>
                  </a:lnTo>
                  <a:lnTo>
                    <a:pt x="6451" y="1778"/>
                  </a:lnTo>
                  <a:lnTo>
                    <a:pt x="5651" y="3467"/>
                  </a:lnTo>
                  <a:lnTo>
                    <a:pt x="4838" y="5143"/>
                  </a:lnTo>
                  <a:lnTo>
                    <a:pt x="5943" y="5130"/>
                  </a:lnTo>
                  <a:lnTo>
                    <a:pt x="6769" y="3416"/>
                  </a:lnTo>
                  <a:lnTo>
                    <a:pt x="7556" y="1714"/>
                  </a:lnTo>
                  <a:lnTo>
                    <a:pt x="8331" y="0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19" name="object 311">
              <a:extLst>
                <a:ext uri="{FF2B5EF4-FFF2-40B4-BE49-F238E27FC236}">
                  <a16:creationId xmlns:a16="http://schemas.microsoft.com/office/drawing/2014/main" id="{2FDFDB50-C46B-4CCC-B8F6-40CC7C8314C6}"/>
                </a:ext>
              </a:extLst>
            </p:cNvPr>
            <p:cNvSpPr/>
            <p:nvPr/>
          </p:nvSpPr>
          <p:spPr>
            <a:xfrm>
              <a:off x="8186890" y="6345673"/>
              <a:ext cx="8890" cy="15875"/>
            </a:xfrm>
            <a:custGeom>
              <a:avLst/>
              <a:gdLst/>
              <a:ahLst/>
              <a:cxnLst/>
              <a:rect l="l" t="t" r="r" b="b"/>
              <a:pathLst>
                <a:path w="8890" h="15875">
                  <a:moveTo>
                    <a:pt x="3403" y="10795"/>
                  </a:moveTo>
                  <a:lnTo>
                    <a:pt x="3213" y="10731"/>
                  </a:lnTo>
                  <a:lnTo>
                    <a:pt x="2781" y="10541"/>
                  </a:lnTo>
                  <a:lnTo>
                    <a:pt x="2489" y="10401"/>
                  </a:lnTo>
                  <a:lnTo>
                    <a:pt x="1676" y="11963"/>
                  </a:lnTo>
                  <a:lnTo>
                    <a:pt x="850" y="13500"/>
                  </a:lnTo>
                  <a:lnTo>
                    <a:pt x="0" y="15036"/>
                  </a:lnTo>
                  <a:lnTo>
                    <a:pt x="584" y="15303"/>
                  </a:lnTo>
                  <a:lnTo>
                    <a:pt x="812" y="15405"/>
                  </a:lnTo>
                  <a:lnTo>
                    <a:pt x="1765" y="13919"/>
                  </a:lnTo>
                  <a:lnTo>
                    <a:pt x="2603" y="12357"/>
                  </a:lnTo>
                  <a:lnTo>
                    <a:pt x="3403" y="10795"/>
                  </a:lnTo>
                  <a:close/>
                </a:path>
                <a:path w="8890" h="15875">
                  <a:moveTo>
                    <a:pt x="8559" y="0"/>
                  </a:moveTo>
                  <a:lnTo>
                    <a:pt x="8191" y="76"/>
                  </a:lnTo>
                  <a:lnTo>
                    <a:pt x="7797" y="127"/>
                  </a:lnTo>
                  <a:lnTo>
                    <a:pt x="7416" y="165"/>
                  </a:lnTo>
                  <a:lnTo>
                    <a:pt x="6642" y="1879"/>
                  </a:lnTo>
                  <a:lnTo>
                    <a:pt x="5854" y="3581"/>
                  </a:lnTo>
                  <a:lnTo>
                    <a:pt x="5029" y="5295"/>
                  </a:lnTo>
                  <a:lnTo>
                    <a:pt x="6134" y="5283"/>
                  </a:lnTo>
                  <a:lnTo>
                    <a:pt x="6972" y="3517"/>
                  </a:lnTo>
                  <a:lnTo>
                    <a:pt x="8559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0" name="object 312">
              <a:extLst>
                <a:ext uri="{FF2B5EF4-FFF2-40B4-BE49-F238E27FC236}">
                  <a16:creationId xmlns:a16="http://schemas.microsoft.com/office/drawing/2014/main" id="{DB037B44-8A2A-48AB-BF8E-538F8C4B966C}"/>
                </a:ext>
              </a:extLst>
            </p:cNvPr>
            <p:cNvSpPr/>
            <p:nvPr/>
          </p:nvSpPr>
          <p:spPr>
            <a:xfrm>
              <a:off x="8187791" y="6345304"/>
              <a:ext cx="8890" cy="16510"/>
            </a:xfrm>
            <a:custGeom>
              <a:avLst/>
              <a:gdLst/>
              <a:ahLst/>
              <a:cxnLst/>
              <a:rect l="l" t="t" r="r" b="b"/>
              <a:pathLst>
                <a:path w="8890" h="16509">
                  <a:moveTo>
                    <a:pt x="3505" y="11379"/>
                  </a:moveTo>
                  <a:lnTo>
                    <a:pt x="3200" y="11366"/>
                  </a:lnTo>
                  <a:lnTo>
                    <a:pt x="2870" y="11290"/>
                  </a:lnTo>
                  <a:lnTo>
                    <a:pt x="2489" y="11163"/>
                  </a:lnTo>
                  <a:lnTo>
                    <a:pt x="1689" y="12725"/>
                  </a:lnTo>
                  <a:lnTo>
                    <a:pt x="863" y="14287"/>
                  </a:lnTo>
                  <a:lnTo>
                    <a:pt x="0" y="15836"/>
                  </a:lnTo>
                  <a:lnTo>
                    <a:pt x="342" y="16002"/>
                  </a:lnTo>
                  <a:lnTo>
                    <a:pt x="622" y="16192"/>
                  </a:lnTo>
                  <a:lnTo>
                    <a:pt x="850" y="16383"/>
                  </a:lnTo>
                  <a:lnTo>
                    <a:pt x="1765" y="14719"/>
                  </a:lnTo>
                  <a:lnTo>
                    <a:pt x="2641" y="13055"/>
                  </a:lnTo>
                  <a:lnTo>
                    <a:pt x="3505" y="11379"/>
                  </a:lnTo>
                  <a:close/>
                </a:path>
                <a:path w="8890" h="16509">
                  <a:moveTo>
                    <a:pt x="8877" y="0"/>
                  </a:moveTo>
                  <a:lnTo>
                    <a:pt x="8483" y="165"/>
                  </a:lnTo>
                  <a:lnTo>
                    <a:pt x="8077" y="279"/>
                  </a:lnTo>
                  <a:lnTo>
                    <a:pt x="7645" y="368"/>
                  </a:lnTo>
                  <a:lnTo>
                    <a:pt x="6870" y="2133"/>
                  </a:lnTo>
                  <a:lnTo>
                    <a:pt x="6057" y="3898"/>
                  </a:lnTo>
                  <a:lnTo>
                    <a:pt x="5232" y="5651"/>
                  </a:lnTo>
                  <a:lnTo>
                    <a:pt x="5753" y="5651"/>
                  </a:lnTo>
                  <a:lnTo>
                    <a:pt x="6134" y="5651"/>
                  </a:lnTo>
                  <a:lnTo>
                    <a:pt x="6324" y="5638"/>
                  </a:lnTo>
                  <a:lnTo>
                    <a:pt x="7200" y="3759"/>
                  </a:lnTo>
                  <a:lnTo>
                    <a:pt x="8051" y="1879"/>
                  </a:lnTo>
                  <a:lnTo>
                    <a:pt x="8877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1" name="object 313">
              <a:extLst>
                <a:ext uri="{FF2B5EF4-FFF2-40B4-BE49-F238E27FC236}">
                  <a16:creationId xmlns:a16="http://schemas.microsoft.com/office/drawing/2014/main" id="{6069B5EC-188F-4B87-8A44-013E1B7EDE5B}"/>
                </a:ext>
              </a:extLst>
            </p:cNvPr>
            <p:cNvSpPr/>
            <p:nvPr/>
          </p:nvSpPr>
          <p:spPr>
            <a:xfrm>
              <a:off x="8188655" y="6344288"/>
              <a:ext cx="9525" cy="18415"/>
            </a:xfrm>
            <a:custGeom>
              <a:avLst/>
              <a:gdLst/>
              <a:ahLst/>
              <a:cxnLst/>
              <a:rect l="l" t="t" r="r" b="b"/>
              <a:pathLst>
                <a:path w="9525" h="18415">
                  <a:moveTo>
                    <a:pt x="4064" y="11823"/>
                  </a:moveTo>
                  <a:lnTo>
                    <a:pt x="3657" y="12230"/>
                  </a:lnTo>
                  <a:lnTo>
                    <a:pt x="3213" y="12420"/>
                  </a:lnTo>
                  <a:lnTo>
                    <a:pt x="2654" y="12395"/>
                  </a:lnTo>
                  <a:lnTo>
                    <a:pt x="1790" y="14071"/>
                  </a:lnTo>
                  <a:lnTo>
                    <a:pt x="914" y="15735"/>
                  </a:lnTo>
                  <a:lnTo>
                    <a:pt x="0" y="17399"/>
                  </a:lnTo>
                  <a:lnTo>
                    <a:pt x="317" y="17678"/>
                  </a:lnTo>
                  <a:lnTo>
                    <a:pt x="533" y="17983"/>
                  </a:lnTo>
                  <a:lnTo>
                    <a:pt x="635" y="18313"/>
                  </a:lnTo>
                  <a:lnTo>
                    <a:pt x="1828" y="16167"/>
                  </a:lnTo>
                  <a:lnTo>
                    <a:pt x="2971" y="13995"/>
                  </a:lnTo>
                  <a:lnTo>
                    <a:pt x="4064" y="11823"/>
                  </a:lnTo>
                  <a:close/>
                </a:path>
                <a:path w="9525" h="18415">
                  <a:moveTo>
                    <a:pt x="9512" y="0"/>
                  </a:moveTo>
                  <a:lnTo>
                    <a:pt x="9067" y="457"/>
                  </a:lnTo>
                  <a:lnTo>
                    <a:pt x="8559" y="787"/>
                  </a:lnTo>
                  <a:lnTo>
                    <a:pt x="8013" y="1028"/>
                  </a:lnTo>
                  <a:lnTo>
                    <a:pt x="7200" y="2895"/>
                  </a:lnTo>
                  <a:lnTo>
                    <a:pt x="6350" y="4787"/>
                  </a:lnTo>
                  <a:lnTo>
                    <a:pt x="5461" y="6667"/>
                  </a:lnTo>
                  <a:lnTo>
                    <a:pt x="6184" y="6667"/>
                  </a:lnTo>
                  <a:lnTo>
                    <a:pt x="6553" y="6654"/>
                  </a:lnTo>
                  <a:lnTo>
                    <a:pt x="7581" y="4432"/>
                  </a:lnTo>
                  <a:lnTo>
                    <a:pt x="8572" y="2209"/>
                  </a:lnTo>
                  <a:lnTo>
                    <a:pt x="9512" y="0"/>
                  </a:lnTo>
                  <a:close/>
                </a:path>
              </a:pathLst>
            </a:custGeom>
            <a:solidFill>
              <a:srgbClr val="EFCC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2" name="object 314">
              <a:extLst>
                <a:ext uri="{FF2B5EF4-FFF2-40B4-BE49-F238E27FC236}">
                  <a16:creationId xmlns:a16="http://schemas.microsoft.com/office/drawing/2014/main" id="{554D7769-25FF-48FC-98BE-E8B639E5B4C1}"/>
                </a:ext>
              </a:extLst>
            </p:cNvPr>
            <p:cNvSpPr/>
            <p:nvPr/>
          </p:nvSpPr>
          <p:spPr>
            <a:xfrm>
              <a:off x="8188833" y="6343234"/>
              <a:ext cx="10795" cy="22225"/>
            </a:xfrm>
            <a:custGeom>
              <a:avLst/>
              <a:gdLst/>
              <a:ahLst/>
              <a:cxnLst/>
              <a:rect l="l" t="t" r="r" b="b"/>
              <a:pathLst>
                <a:path w="10795" h="22225">
                  <a:moveTo>
                    <a:pt x="5537" y="11747"/>
                  </a:moveTo>
                  <a:lnTo>
                    <a:pt x="4813" y="11404"/>
                  </a:lnTo>
                  <a:lnTo>
                    <a:pt x="4508" y="12052"/>
                  </a:lnTo>
                  <a:lnTo>
                    <a:pt x="4203" y="12534"/>
                  </a:lnTo>
                  <a:lnTo>
                    <a:pt x="3873" y="12877"/>
                  </a:lnTo>
                  <a:lnTo>
                    <a:pt x="2781" y="15049"/>
                  </a:lnTo>
                  <a:lnTo>
                    <a:pt x="1638" y="17221"/>
                  </a:lnTo>
                  <a:lnTo>
                    <a:pt x="444" y="19367"/>
                  </a:lnTo>
                  <a:lnTo>
                    <a:pt x="635" y="20002"/>
                  </a:lnTo>
                  <a:lnTo>
                    <a:pt x="469" y="20764"/>
                  </a:lnTo>
                  <a:lnTo>
                    <a:pt x="0" y="21793"/>
                  </a:lnTo>
                  <a:lnTo>
                    <a:pt x="190" y="21882"/>
                  </a:lnTo>
                  <a:lnTo>
                    <a:pt x="2095" y="18542"/>
                  </a:lnTo>
                  <a:lnTo>
                    <a:pt x="3873" y="15163"/>
                  </a:lnTo>
                  <a:lnTo>
                    <a:pt x="5537" y="11747"/>
                  </a:lnTo>
                  <a:close/>
                </a:path>
                <a:path w="10795" h="22225">
                  <a:moveTo>
                    <a:pt x="10693" y="266"/>
                  </a:moveTo>
                  <a:lnTo>
                    <a:pt x="10083" y="0"/>
                  </a:lnTo>
                  <a:lnTo>
                    <a:pt x="9855" y="406"/>
                  </a:lnTo>
                  <a:lnTo>
                    <a:pt x="9601" y="749"/>
                  </a:lnTo>
                  <a:lnTo>
                    <a:pt x="9321" y="1041"/>
                  </a:lnTo>
                  <a:lnTo>
                    <a:pt x="8382" y="3251"/>
                  </a:lnTo>
                  <a:lnTo>
                    <a:pt x="7404" y="5486"/>
                  </a:lnTo>
                  <a:lnTo>
                    <a:pt x="6375" y="7708"/>
                  </a:lnTo>
                  <a:lnTo>
                    <a:pt x="7124" y="7670"/>
                  </a:lnTo>
                  <a:lnTo>
                    <a:pt x="7493" y="7632"/>
                  </a:lnTo>
                  <a:lnTo>
                    <a:pt x="8610" y="5181"/>
                  </a:lnTo>
                  <a:lnTo>
                    <a:pt x="9677" y="2717"/>
                  </a:lnTo>
                  <a:lnTo>
                    <a:pt x="10693" y="266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3" name="object 315">
              <a:extLst>
                <a:ext uri="{FF2B5EF4-FFF2-40B4-BE49-F238E27FC236}">
                  <a16:creationId xmlns:a16="http://schemas.microsoft.com/office/drawing/2014/main" id="{734701A4-CA23-4295-ABFB-7F1B8A8FBE5C}"/>
                </a:ext>
              </a:extLst>
            </p:cNvPr>
            <p:cNvSpPr/>
            <p:nvPr/>
          </p:nvSpPr>
          <p:spPr>
            <a:xfrm>
              <a:off x="8189036" y="6343501"/>
              <a:ext cx="11430" cy="22225"/>
            </a:xfrm>
            <a:custGeom>
              <a:avLst/>
              <a:gdLst/>
              <a:ahLst/>
              <a:cxnLst/>
              <a:rect l="l" t="t" r="r" b="b"/>
              <a:pathLst>
                <a:path w="11429" h="22225">
                  <a:moveTo>
                    <a:pt x="5575" y="11569"/>
                  </a:moveTo>
                  <a:lnTo>
                    <a:pt x="5346" y="11480"/>
                  </a:lnTo>
                  <a:lnTo>
                    <a:pt x="3683" y="14884"/>
                  </a:lnTo>
                  <a:lnTo>
                    <a:pt x="1905" y="18275"/>
                  </a:lnTo>
                  <a:lnTo>
                    <a:pt x="0" y="21615"/>
                  </a:lnTo>
                  <a:lnTo>
                    <a:pt x="762" y="21971"/>
                  </a:lnTo>
                  <a:lnTo>
                    <a:pt x="5575" y="11569"/>
                  </a:lnTo>
                  <a:close/>
                </a:path>
                <a:path w="11429" h="22225">
                  <a:moveTo>
                    <a:pt x="10858" y="177"/>
                  </a:moveTo>
                  <a:lnTo>
                    <a:pt x="10490" y="0"/>
                  </a:lnTo>
                  <a:lnTo>
                    <a:pt x="9486" y="2463"/>
                  </a:lnTo>
                  <a:lnTo>
                    <a:pt x="8420" y="4914"/>
                  </a:lnTo>
                  <a:lnTo>
                    <a:pt x="7289" y="7366"/>
                  </a:lnTo>
                  <a:lnTo>
                    <a:pt x="7531" y="7340"/>
                  </a:lnTo>
                  <a:lnTo>
                    <a:pt x="10858" y="177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4" name="object 316">
              <a:extLst>
                <a:ext uri="{FF2B5EF4-FFF2-40B4-BE49-F238E27FC236}">
                  <a16:creationId xmlns:a16="http://schemas.microsoft.com/office/drawing/2014/main" id="{71B54E4D-4E1E-46E5-BC03-9F00417F22B4}"/>
                </a:ext>
              </a:extLst>
            </p:cNvPr>
            <p:cNvSpPr/>
            <p:nvPr/>
          </p:nvSpPr>
          <p:spPr>
            <a:xfrm>
              <a:off x="8189735" y="6329682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2044" y="0"/>
                  </a:moveTo>
                  <a:lnTo>
                    <a:pt x="1384" y="1612"/>
                  </a:lnTo>
                  <a:lnTo>
                    <a:pt x="711" y="3225"/>
                  </a:lnTo>
                  <a:lnTo>
                    <a:pt x="0" y="4851"/>
                  </a:lnTo>
                  <a:lnTo>
                    <a:pt x="927" y="5143"/>
                  </a:lnTo>
                  <a:lnTo>
                    <a:pt x="1625" y="3517"/>
                  </a:lnTo>
                  <a:lnTo>
                    <a:pt x="2298" y="1904"/>
                  </a:lnTo>
                  <a:lnTo>
                    <a:pt x="2946" y="292"/>
                  </a:lnTo>
                  <a:lnTo>
                    <a:pt x="2044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5" name="object 317">
              <a:extLst>
                <a:ext uri="{FF2B5EF4-FFF2-40B4-BE49-F238E27FC236}">
                  <a16:creationId xmlns:a16="http://schemas.microsoft.com/office/drawing/2014/main" id="{57A9A19D-F6A6-4312-85E2-9A1F0B1CDC94}"/>
                </a:ext>
              </a:extLst>
            </p:cNvPr>
            <p:cNvSpPr/>
            <p:nvPr/>
          </p:nvSpPr>
          <p:spPr>
            <a:xfrm>
              <a:off x="8190656" y="6329965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2031" y="0"/>
                  </a:moveTo>
                  <a:lnTo>
                    <a:pt x="698" y="3238"/>
                  </a:lnTo>
                  <a:lnTo>
                    <a:pt x="0" y="4864"/>
                  </a:lnTo>
                  <a:lnTo>
                    <a:pt x="927" y="5156"/>
                  </a:lnTo>
                  <a:lnTo>
                    <a:pt x="1612" y="3530"/>
                  </a:lnTo>
                  <a:lnTo>
                    <a:pt x="2285" y="1904"/>
                  </a:lnTo>
                  <a:lnTo>
                    <a:pt x="2933" y="292"/>
                  </a:lnTo>
                  <a:lnTo>
                    <a:pt x="2031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6" name="object 318">
              <a:extLst>
                <a:ext uri="{FF2B5EF4-FFF2-40B4-BE49-F238E27FC236}">
                  <a16:creationId xmlns:a16="http://schemas.microsoft.com/office/drawing/2014/main" id="{053F12D8-32E3-4497-A264-FA2617FCBEBA}"/>
                </a:ext>
              </a:extLst>
            </p:cNvPr>
            <p:cNvSpPr/>
            <p:nvPr/>
          </p:nvSpPr>
          <p:spPr>
            <a:xfrm>
              <a:off x="8191587" y="6330252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93" y="0"/>
                  </a:moveTo>
                  <a:lnTo>
                    <a:pt x="1358" y="1612"/>
                  </a:lnTo>
                  <a:lnTo>
                    <a:pt x="685" y="3238"/>
                  </a:lnTo>
                  <a:lnTo>
                    <a:pt x="0" y="4864"/>
                  </a:lnTo>
                  <a:lnTo>
                    <a:pt x="914" y="5156"/>
                  </a:lnTo>
                  <a:lnTo>
                    <a:pt x="1600" y="3530"/>
                  </a:lnTo>
                  <a:lnTo>
                    <a:pt x="2260" y="1904"/>
                  </a:lnTo>
                  <a:lnTo>
                    <a:pt x="2895" y="292"/>
                  </a:lnTo>
                  <a:lnTo>
                    <a:pt x="1993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7" name="object 319">
              <a:extLst>
                <a:ext uri="{FF2B5EF4-FFF2-40B4-BE49-F238E27FC236}">
                  <a16:creationId xmlns:a16="http://schemas.microsoft.com/office/drawing/2014/main" id="{6B350120-623E-4E40-862B-5C6A4EFDBC41}"/>
                </a:ext>
              </a:extLst>
            </p:cNvPr>
            <p:cNvSpPr/>
            <p:nvPr/>
          </p:nvSpPr>
          <p:spPr>
            <a:xfrm>
              <a:off x="8192502" y="6330544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81" y="0"/>
                  </a:moveTo>
                  <a:lnTo>
                    <a:pt x="1346" y="1612"/>
                  </a:lnTo>
                  <a:lnTo>
                    <a:pt x="685" y="3238"/>
                  </a:lnTo>
                  <a:lnTo>
                    <a:pt x="0" y="4864"/>
                  </a:lnTo>
                  <a:lnTo>
                    <a:pt x="914" y="5156"/>
                  </a:lnTo>
                  <a:lnTo>
                    <a:pt x="1600" y="3530"/>
                  </a:lnTo>
                  <a:lnTo>
                    <a:pt x="2895" y="279"/>
                  </a:lnTo>
                  <a:lnTo>
                    <a:pt x="1981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8" name="object 320">
              <a:extLst>
                <a:ext uri="{FF2B5EF4-FFF2-40B4-BE49-F238E27FC236}">
                  <a16:creationId xmlns:a16="http://schemas.microsoft.com/office/drawing/2014/main" id="{78B90767-895A-457F-B955-63F34AC71A89}"/>
                </a:ext>
              </a:extLst>
            </p:cNvPr>
            <p:cNvSpPr/>
            <p:nvPr/>
          </p:nvSpPr>
          <p:spPr>
            <a:xfrm>
              <a:off x="8193419" y="6330831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68" y="0"/>
                  </a:moveTo>
                  <a:lnTo>
                    <a:pt x="685" y="3238"/>
                  </a:lnTo>
                  <a:lnTo>
                    <a:pt x="0" y="4864"/>
                  </a:lnTo>
                  <a:lnTo>
                    <a:pt x="914" y="5156"/>
                  </a:lnTo>
                  <a:lnTo>
                    <a:pt x="1587" y="3530"/>
                  </a:lnTo>
                  <a:lnTo>
                    <a:pt x="2235" y="1904"/>
                  </a:lnTo>
                  <a:lnTo>
                    <a:pt x="2870" y="279"/>
                  </a:lnTo>
                  <a:lnTo>
                    <a:pt x="1968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29" name="object 321">
              <a:extLst>
                <a:ext uri="{FF2B5EF4-FFF2-40B4-BE49-F238E27FC236}">
                  <a16:creationId xmlns:a16="http://schemas.microsoft.com/office/drawing/2014/main" id="{FDC1F9D4-C237-4A2E-B555-A2F0CF5920BF}"/>
                </a:ext>
              </a:extLst>
            </p:cNvPr>
            <p:cNvSpPr/>
            <p:nvPr/>
          </p:nvSpPr>
          <p:spPr>
            <a:xfrm>
              <a:off x="8194336" y="6331116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55" y="0"/>
                  </a:moveTo>
                  <a:lnTo>
                    <a:pt x="673" y="3238"/>
                  </a:lnTo>
                  <a:lnTo>
                    <a:pt x="0" y="4876"/>
                  </a:lnTo>
                  <a:lnTo>
                    <a:pt x="914" y="5168"/>
                  </a:lnTo>
                  <a:lnTo>
                    <a:pt x="1587" y="3530"/>
                  </a:lnTo>
                  <a:lnTo>
                    <a:pt x="2222" y="1905"/>
                  </a:lnTo>
                  <a:lnTo>
                    <a:pt x="2844" y="279"/>
                  </a:lnTo>
                  <a:lnTo>
                    <a:pt x="1955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0" name="object 322">
              <a:extLst>
                <a:ext uri="{FF2B5EF4-FFF2-40B4-BE49-F238E27FC236}">
                  <a16:creationId xmlns:a16="http://schemas.microsoft.com/office/drawing/2014/main" id="{EAF93AA5-5FD9-48F8-B09F-ADE13B2CAF2C}"/>
                </a:ext>
              </a:extLst>
            </p:cNvPr>
            <p:cNvSpPr/>
            <p:nvPr/>
          </p:nvSpPr>
          <p:spPr>
            <a:xfrm>
              <a:off x="8195245" y="6331391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43" y="0"/>
                  </a:moveTo>
                  <a:lnTo>
                    <a:pt x="1320" y="1625"/>
                  </a:lnTo>
                  <a:lnTo>
                    <a:pt x="673" y="3251"/>
                  </a:lnTo>
                  <a:lnTo>
                    <a:pt x="0" y="4889"/>
                  </a:lnTo>
                  <a:lnTo>
                    <a:pt x="914" y="5181"/>
                  </a:lnTo>
                  <a:lnTo>
                    <a:pt x="2222" y="1917"/>
                  </a:lnTo>
                  <a:lnTo>
                    <a:pt x="2832" y="292"/>
                  </a:lnTo>
                  <a:lnTo>
                    <a:pt x="1943" y="0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1" name="object 323">
              <a:extLst>
                <a:ext uri="{FF2B5EF4-FFF2-40B4-BE49-F238E27FC236}">
                  <a16:creationId xmlns:a16="http://schemas.microsoft.com/office/drawing/2014/main" id="{905FED98-7280-4B2E-BD69-A2A3539C8B67}"/>
                </a:ext>
              </a:extLst>
            </p:cNvPr>
            <p:cNvSpPr/>
            <p:nvPr/>
          </p:nvSpPr>
          <p:spPr>
            <a:xfrm>
              <a:off x="8196157" y="6331682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30" y="0"/>
                  </a:moveTo>
                  <a:lnTo>
                    <a:pt x="1308" y="1625"/>
                  </a:lnTo>
                  <a:lnTo>
                    <a:pt x="0" y="4889"/>
                  </a:lnTo>
                  <a:lnTo>
                    <a:pt x="914" y="5181"/>
                  </a:lnTo>
                  <a:lnTo>
                    <a:pt x="1574" y="3543"/>
                  </a:lnTo>
                  <a:lnTo>
                    <a:pt x="2209" y="1905"/>
                  </a:lnTo>
                  <a:lnTo>
                    <a:pt x="2819" y="279"/>
                  </a:lnTo>
                  <a:lnTo>
                    <a:pt x="1930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2" name="object 324">
              <a:extLst>
                <a:ext uri="{FF2B5EF4-FFF2-40B4-BE49-F238E27FC236}">
                  <a16:creationId xmlns:a16="http://schemas.microsoft.com/office/drawing/2014/main" id="{DBC4A2E5-F766-4DB5-8C6C-77742C9396F3}"/>
                </a:ext>
              </a:extLst>
            </p:cNvPr>
            <p:cNvSpPr/>
            <p:nvPr/>
          </p:nvSpPr>
          <p:spPr>
            <a:xfrm>
              <a:off x="8197066" y="6331972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17" y="0"/>
                  </a:moveTo>
                  <a:lnTo>
                    <a:pt x="1295" y="1625"/>
                  </a:lnTo>
                  <a:lnTo>
                    <a:pt x="660" y="3251"/>
                  </a:lnTo>
                  <a:lnTo>
                    <a:pt x="0" y="4889"/>
                  </a:lnTo>
                  <a:lnTo>
                    <a:pt x="444" y="5029"/>
                  </a:lnTo>
                  <a:lnTo>
                    <a:pt x="609" y="5079"/>
                  </a:lnTo>
                  <a:lnTo>
                    <a:pt x="901" y="5194"/>
                  </a:lnTo>
                  <a:lnTo>
                    <a:pt x="2209" y="1879"/>
                  </a:lnTo>
                  <a:lnTo>
                    <a:pt x="2819" y="228"/>
                  </a:lnTo>
                  <a:lnTo>
                    <a:pt x="2578" y="190"/>
                  </a:lnTo>
                  <a:lnTo>
                    <a:pt x="2311" y="126"/>
                  </a:lnTo>
                  <a:lnTo>
                    <a:pt x="2031" y="25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3" name="object 325">
              <a:extLst>
                <a:ext uri="{FF2B5EF4-FFF2-40B4-BE49-F238E27FC236}">
                  <a16:creationId xmlns:a16="http://schemas.microsoft.com/office/drawing/2014/main" id="{C46B7A0C-D875-4A29-AA27-6B8AA46BE2AD}"/>
                </a:ext>
              </a:extLst>
            </p:cNvPr>
            <p:cNvSpPr/>
            <p:nvPr/>
          </p:nvSpPr>
          <p:spPr>
            <a:xfrm>
              <a:off x="8197970" y="6332203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1917" y="0"/>
                  </a:moveTo>
                  <a:lnTo>
                    <a:pt x="1295" y="1651"/>
                  </a:lnTo>
                  <a:lnTo>
                    <a:pt x="660" y="3302"/>
                  </a:lnTo>
                  <a:lnTo>
                    <a:pt x="0" y="4965"/>
                  </a:lnTo>
                  <a:lnTo>
                    <a:pt x="342" y="5092"/>
                  </a:lnTo>
                  <a:lnTo>
                    <a:pt x="622" y="5232"/>
                  </a:lnTo>
                  <a:lnTo>
                    <a:pt x="850" y="5397"/>
                  </a:lnTo>
                  <a:lnTo>
                    <a:pt x="1562" y="3606"/>
                  </a:lnTo>
                  <a:lnTo>
                    <a:pt x="2235" y="1828"/>
                  </a:lnTo>
                  <a:lnTo>
                    <a:pt x="2895" y="50"/>
                  </a:lnTo>
                  <a:lnTo>
                    <a:pt x="2603" y="88"/>
                  </a:lnTo>
                  <a:lnTo>
                    <a:pt x="2286" y="76"/>
                  </a:lnTo>
                  <a:lnTo>
                    <a:pt x="1917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4" name="object 326">
              <a:extLst>
                <a:ext uri="{FF2B5EF4-FFF2-40B4-BE49-F238E27FC236}">
                  <a16:creationId xmlns:a16="http://schemas.microsoft.com/office/drawing/2014/main" id="{2A47EF91-819F-4CA4-84A6-30D30DB7A478}"/>
                </a:ext>
              </a:extLst>
            </p:cNvPr>
            <p:cNvSpPr/>
            <p:nvPr/>
          </p:nvSpPr>
          <p:spPr>
            <a:xfrm>
              <a:off x="8198828" y="6331430"/>
              <a:ext cx="3810" cy="6985"/>
            </a:xfrm>
            <a:custGeom>
              <a:avLst/>
              <a:gdLst/>
              <a:ahLst/>
              <a:cxnLst/>
              <a:rect l="l" t="t" r="r" b="b"/>
              <a:pathLst>
                <a:path w="3809" h="6984">
                  <a:moveTo>
                    <a:pt x="3327" y="0"/>
                  </a:moveTo>
                  <a:lnTo>
                    <a:pt x="2984" y="482"/>
                  </a:lnTo>
                  <a:lnTo>
                    <a:pt x="2565" y="749"/>
                  </a:lnTo>
                  <a:lnTo>
                    <a:pt x="2044" y="825"/>
                  </a:lnTo>
                  <a:lnTo>
                    <a:pt x="711" y="4381"/>
                  </a:lnTo>
                  <a:lnTo>
                    <a:pt x="0" y="6172"/>
                  </a:lnTo>
                  <a:lnTo>
                    <a:pt x="330" y="6400"/>
                  </a:lnTo>
                  <a:lnTo>
                    <a:pt x="558" y="6667"/>
                  </a:lnTo>
                  <a:lnTo>
                    <a:pt x="698" y="6984"/>
                  </a:lnTo>
                  <a:lnTo>
                    <a:pt x="1612" y="4648"/>
                  </a:lnTo>
                  <a:lnTo>
                    <a:pt x="2489" y="2324"/>
                  </a:lnTo>
                  <a:lnTo>
                    <a:pt x="3327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5" name="object 327">
              <a:extLst>
                <a:ext uri="{FF2B5EF4-FFF2-40B4-BE49-F238E27FC236}">
                  <a16:creationId xmlns:a16="http://schemas.microsoft.com/office/drawing/2014/main" id="{0085B33C-EBC2-4CD2-B281-65690C921108}"/>
                </a:ext>
              </a:extLst>
            </p:cNvPr>
            <p:cNvSpPr/>
            <p:nvPr/>
          </p:nvSpPr>
          <p:spPr>
            <a:xfrm>
              <a:off x="8199375" y="6329936"/>
              <a:ext cx="4445" cy="11430"/>
            </a:xfrm>
            <a:custGeom>
              <a:avLst/>
              <a:gdLst/>
              <a:ahLst/>
              <a:cxnLst/>
              <a:rect l="l" t="t" r="r" b="b"/>
              <a:pathLst>
                <a:path w="4445" h="11429">
                  <a:moveTo>
                    <a:pt x="3467" y="0"/>
                  </a:moveTo>
                  <a:lnTo>
                    <a:pt x="3263" y="634"/>
                  </a:lnTo>
                  <a:lnTo>
                    <a:pt x="3035" y="1130"/>
                  </a:lnTo>
                  <a:lnTo>
                    <a:pt x="2768" y="1498"/>
                  </a:lnTo>
                  <a:lnTo>
                    <a:pt x="1943" y="3809"/>
                  </a:lnTo>
                  <a:lnTo>
                    <a:pt x="1066" y="6134"/>
                  </a:lnTo>
                  <a:lnTo>
                    <a:pt x="152" y="8483"/>
                  </a:lnTo>
                  <a:lnTo>
                    <a:pt x="406" y="9080"/>
                  </a:lnTo>
                  <a:lnTo>
                    <a:pt x="330" y="9842"/>
                  </a:lnTo>
                  <a:lnTo>
                    <a:pt x="0" y="10909"/>
                  </a:lnTo>
                  <a:lnTo>
                    <a:pt x="177" y="10972"/>
                  </a:lnTo>
                  <a:lnTo>
                    <a:pt x="1638" y="7365"/>
                  </a:lnTo>
                  <a:lnTo>
                    <a:pt x="2971" y="3771"/>
                  </a:lnTo>
                  <a:lnTo>
                    <a:pt x="4203" y="228"/>
                  </a:lnTo>
                  <a:lnTo>
                    <a:pt x="3467" y="0"/>
                  </a:lnTo>
                  <a:close/>
                </a:path>
              </a:pathLst>
            </a:custGeom>
            <a:solidFill>
              <a:srgbClr val="EFCC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6" name="object 328">
              <a:extLst>
                <a:ext uri="{FF2B5EF4-FFF2-40B4-BE49-F238E27FC236}">
                  <a16:creationId xmlns:a16="http://schemas.microsoft.com/office/drawing/2014/main" id="{0F6CFC39-774A-422F-A464-60FBA4079024}"/>
                </a:ext>
              </a:extLst>
            </p:cNvPr>
            <p:cNvSpPr/>
            <p:nvPr/>
          </p:nvSpPr>
          <p:spPr>
            <a:xfrm>
              <a:off x="8199556" y="6330171"/>
              <a:ext cx="4445" cy="11430"/>
            </a:xfrm>
            <a:custGeom>
              <a:avLst/>
              <a:gdLst/>
              <a:ahLst/>
              <a:cxnLst/>
              <a:rect l="l" t="t" r="r" b="b"/>
              <a:pathLst>
                <a:path w="4445" h="11429">
                  <a:moveTo>
                    <a:pt x="4013" y="0"/>
                  </a:moveTo>
                  <a:lnTo>
                    <a:pt x="2794" y="3530"/>
                  </a:lnTo>
                  <a:lnTo>
                    <a:pt x="1447" y="7124"/>
                  </a:lnTo>
                  <a:lnTo>
                    <a:pt x="0" y="10731"/>
                  </a:lnTo>
                  <a:lnTo>
                    <a:pt x="825" y="10998"/>
                  </a:lnTo>
                  <a:lnTo>
                    <a:pt x="4279" y="88"/>
                  </a:lnTo>
                  <a:lnTo>
                    <a:pt x="4013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7" name="object 329">
              <a:extLst>
                <a:ext uri="{FF2B5EF4-FFF2-40B4-BE49-F238E27FC236}">
                  <a16:creationId xmlns:a16="http://schemas.microsoft.com/office/drawing/2014/main" id="{1ADC886E-339E-4C32-BE6C-C7EA2007DC0A}"/>
                </a:ext>
              </a:extLst>
            </p:cNvPr>
            <p:cNvSpPr/>
            <p:nvPr/>
          </p:nvSpPr>
          <p:spPr>
            <a:xfrm>
              <a:off x="8192969" y="6321334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2044" y="0"/>
                  </a:moveTo>
                  <a:lnTo>
                    <a:pt x="1384" y="1778"/>
                  </a:lnTo>
                  <a:lnTo>
                    <a:pt x="711" y="3556"/>
                  </a:lnTo>
                  <a:lnTo>
                    <a:pt x="0" y="5346"/>
                  </a:lnTo>
                  <a:lnTo>
                    <a:pt x="507" y="5473"/>
                  </a:lnTo>
                  <a:lnTo>
                    <a:pt x="761" y="5524"/>
                  </a:lnTo>
                  <a:lnTo>
                    <a:pt x="927" y="5549"/>
                  </a:lnTo>
                  <a:lnTo>
                    <a:pt x="1650" y="3721"/>
                  </a:lnTo>
                  <a:lnTo>
                    <a:pt x="2997" y="88"/>
                  </a:lnTo>
                  <a:lnTo>
                    <a:pt x="2362" y="38"/>
                  </a:lnTo>
                  <a:lnTo>
                    <a:pt x="2044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8" name="object 330">
              <a:extLst>
                <a:ext uri="{FF2B5EF4-FFF2-40B4-BE49-F238E27FC236}">
                  <a16:creationId xmlns:a16="http://schemas.microsoft.com/office/drawing/2014/main" id="{407EF00C-B7F7-46DE-A1D3-147FB45947A3}"/>
                </a:ext>
              </a:extLst>
            </p:cNvPr>
            <p:cNvSpPr/>
            <p:nvPr/>
          </p:nvSpPr>
          <p:spPr>
            <a:xfrm>
              <a:off x="8193906" y="6321417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2057" y="0"/>
                  </a:moveTo>
                  <a:lnTo>
                    <a:pt x="711" y="3632"/>
                  </a:lnTo>
                  <a:lnTo>
                    <a:pt x="0" y="5473"/>
                  </a:lnTo>
                  <a:lnTo>
                    <a:pt x="304" y="5537"/>
                  </a:lnTo>
                  <a:lnTo>
                    <a:pt x="622" y="5587"/>
                  </a:lnTo>
                  <a:lnTo>
                    <a:pt x="939" y="5626"/>
                  </a:lnTo>
                  <a:lnTo>
                    <a:pt x="1663" y="3733"/>
                  </a:lnTo>
                  <a:lnTo>
                    <a:pt x="3022" y="12"/>
                  </a:lnTo>
                  <a:lnTo>
                    <a:pt x="2705" y="25"/>
                  </a:lnTo>
                  <a:lnTo>
                    <a:pt x="2057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39" name="object 331">
              <a:extLst>
                <a:ext uri="{FF2B5EF4-FFF2-40B4-BE49-F238E27FC236}">
                  <a16:creationId xmlns:a16="http://schemas.microsoft.com/office/drawing/2014/main" id="{4065B160-E7CE-45A4-A193-ABF711515BA7}"/>
                </a:ext>
              </a:extLst>
            </p:cNvPr>
            <p:cNvSpPr/>
            <p:nvPr/>
          </p:nvSpPr>
          <p:spPr>
            <a:xfrm>
              <a:off x="8194840" y="6308246"/>
              <a:ext cx="7620" cy="19050"/>
            </a:xfrm>
            <a:custGeom>
              <a:avLst/>
              <a:gdLst/>
              <a:ahLst/>
              <a:cxnLst/>
              <a:rect l="l" t="t" r="r" b="b"/>
              <a:pathLst>
                <a:path w="7620" h="19050">
                  <a:moveTo>
                    <a:pt x="3060" y="13144"/>
                  </a:moveTo>
                  <a:lnTo>
                    <a:pt x="2413" y="13195"/>
                  </a:lnTo>
                  <a:lnTo>
                    <a:pt x="2082" y="13195"/>
                  </a:lnTo>
                  <a:lnTo>
                    <a:pt x="1409" y="15049"/>
                  </a:lnTo>
                  <a:lnTo>
                    <a:pt x="0" y="18796"/>
                  </a:lnTo>
                  <a:lnTo>
                    <a:pt x="317" y="18834"/>
                  </a:lnTo>
                  <a:lnTo>
                    <a:pt x="635" y="18859"/>
                  </a:lnTo>
                  <a:lnTo>
                    <a:pt x="965" y="18872"/>
                  </a:lnTo>
                  <a:lnTo>
                    <a:pt x="1701" y="16954"/>
                  </a:lnTo>
                  <a:lnTo>
                    <a:pt x="3060" y="13144"/>
                  </a:lnTo>
                  <a:close/>
                </a:path>
                <a:path w="7620" h="19050">
                  <a:moveTo>
                    <a:pt x="7366" y="0"/>
                  </a:moveTo>
                  <a:lnTo>
                    <a:pt x="7277" y="139"/>
                  </a:lnTo>
                  <a:lnTo>
                    <a:pt x="7366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0" name="object 332">
              <a:extLst>
                <a:ext uri="{FF2B5EF4-FFF2-40B4-BE49-F238E27FC236}">
                  <a16:creationId xmlns:a16="http://schemas.microsoft.com/office/drawing/2014/main" id="{FF8264FE-7EED-472A-A4C8-EE13E04ABC45}"/>
                </a:ext>
              </a:extLst>
            </p:cNvPr>
            <p:cNvSpPr/>
            <p:nvPr/>
          </p:nvSpPr>
          <p:spPr>
            <a:xfrm>
              <a:off x="8195805" y="6307674"/>
              <a:ext cx="7620" cy="19685"/>
            </a:xfrm>
            <a:custGeom>
              <a:avLst/>
              <a:gdLst/>
              <a:ahLst/>
              <a:cxnLst/>
              <a:rect l="l" t="t" r="r" b="b"/>
              <a:pathLst>
                <a:path w="7620" h="19684">
                  <a:moveTo>
                    <a:pt x="3111" y="13601"/>
                  </a:moveTo>
                  <a:lnTo>
                    <a:pt x="2451" y="13703"/>
                  </a:lnTo>
                  <a:lnTo>
                    <a:pt x="2095" y="13728"/>
                  </a:lnTo>
                  <a:lnTo>
                    <a:pt x="1435" y="15621"/>
                  </a:lnTo>
                  <a:lnTo>
                    <a:pt x="736" y="17526"/>
                  </a:lnTo>
                  <a:lnTo>
                    <a:pt x="0" y="19456"/>
                  </a:lnTo>
                  <a:lnTo>
                    <a:pt x="673" y="19456"/>
                  </a:lnTo>
                  <a:lnTo>
                    <a:pt x="1003" y="19443"/>
                  </a:lnTo>
                  <a:lnTo>
                    <a:pt x="1739" y="17475"/>
                  </a:lnTo>
                  <a:lnTo>
                    <a:pt x="2438" y="15532"/>
                  </a:lnTo>
                  <a:lnTo>
                    <a:pt x="3111" y="13601"/>
                  </a:lnTo>
                  <a:close/>
                </a:path>
                <a:path w="7620" h="19684">
                  <a:moveTo>
                    <a:pt x="7378" y="304"/>
                  </a:moveTo>
                  <a:lnTo>
                    <a:pt x="7162" y="101"/>
                  </a:lnTo>
                  <a:lnTo>
                    <a:pt x="6400" y="584"/>
                  </a:lnTo>
                  <a:lnTo>
                    <a:pt x="6350" y="762"/>
                  </a:lnTo>
                  <a:lnTo>
                    <a:pt x="6578" y="1003"/>
                  </a:lnTo>
                  <a:lnTo>
                    <a:pt x="6807" y="1257"/>
                  </a:lnTo>
                  <a:lnTo>
                    <a:pt x="7023" y="1511"/>
                  </a:lnTo>
                  <a:lnTo>
                    <a:pt x="7150" y="1104"/>
                  </a:lnTo>
                  <a:lnTo>
                    <a:pt x="7264" y="698"/>
                  </a:lnTo>
                  <a:lnTo>
                    <a:pt x="7378" y="304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1" name="object 333">
              <a:extLst>
                <a:ext uri="{FF2B5EF4-FFF2-40B4-BE49-F238E27FC236}">
                  <a16:creationId xmlns:a16="http://schemas.microsoft.com/office/drawing/2014/main" id="{DF0E22A1-B12A-494B-A0FA-075BF57AB365}"/>
                </a:ext>
              </a:extLst>
            </p:cNvPr>
            <p:cNvSpPr/>
            <p:nvPr/>
          </p:nvSpPr>
          <p:spPr>
            <a:xfrm>
              <a:off x="8196808" y="6307966"/>
              <a:ext cx="7620" cy="19685"/>
            </a:xfrm>
            <a:custGeom>
              <a:avLst/>
              <a:gdLst/>
              <a:ahLst/>
              <a:cxnLst/>
              <a:rect l="l" t="t" r="r" b="b"/>
              <a:pathLst>
                <a:path w="7620" h="19684">
                  <a:moveTo>
                    <a:pt x="3149" y="13081"/>
                  </a:moveTo>
                  <a:lnTo>
                    <a:pt x="2819" y="13169"/>
                  </a:lnTo>
                  <a:lnTo>
                    <a:pt x="2108" y="13309"/>
                  </a:lnTo>
                  <a:lnTo>
                    <a:pt x="1447" y="15227"/>
                  </a:lnTo>
                  <a:lnTo>
                    <a:pt x="736" y="17183"/>
                  </a:lnTo>
                  <a:lnTo>
                    <a:pt x="0" y="19138"/>
                  </a:lnTo>
                  <a:lnTo>
                    <a:pt x="342" y="19126"/>
                  </a:lnTo>
                  <a:lnTo>
                    <a:pt x="685" y="19100"/>
                  </a:lnTo>
                  <a:lnTo>
                    <a:pt x="1028" y="19050"/>
                  </a:lnTo>
                  <a:lnTo>
                    <a:pt x="1765" y="17043"/>
                  </a:lnTo>
                  <a:lnTo>
                    <a:pt x="2476" y="15049"/>
                  </a:lnTo>
                  <a:lnTo>
                    <a:pt x="3149" y="13081"/>
                  </a:lnTo>
                  <a:close/>
                </a:path>
                <a:path w="7620" h="19684">
                  <a:moveTo>
                    <a:pt x="7073" y="673"/>
                  </a:moveTo>
                  <a:lnTo>
                    <a:pt x="6858" y="444"/>
                  </a:lnTo>
                  <a:lnTo>
                    <a:pt x="6616" y="215"/>
                  </a:lnTo>
                  <a:lnTo>
                    <a:pt x="6375" y="0"/>
                  </a:lnTo>
                  <a:lnTo>
                    <a:pt x="6146" y="800"/>
                  </a:lnTo>
                  <a:lnTo>
                    <a:pt x="6019" y="1206"/>
                  </a:lnTo>
                  <a:lnTo>
                    <a:pt x="6248" y="1473"/>
                  </a:lnTo>
                  <a:lnTo>
                    <a:pt x="6464" y="1752"/>
                  </a:lnTo>
                  <a:lnTo>
                    <a:pt x="6680" y="2019"/>
                  </a:lnTo>
                  <a:lnTo>
                    <a:pt x="6819" y="1562"/>
                  </a:lnTo>
                  <a:lnTo>
                    <a:pt x="7073" y="673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2" name="object 334">
              <a:extLst>
                <a:ext uri="{FF2B5EF4-FFF2-40B4-BE49-F238E27FC236}">
                  <a16:creationId xmlns:a16="http://schemas.microsoft.com/office/drawing/2014/main" id="{5F2F2E8F-7771-48B9-AC4E-1098B3756D5D}"/>
                </a:ext>
              </a:extLst>
            </p:cNvPr>
            <p:cNvSpPr/>
            <p:nvPr/>
          </p:nvSpPr>
          <p:spPr>
            <a:xfrm>
              <a:off x="8197825" y="6308639"/>
              <a:ext cx="6985" cy="18415"/>
            </a:xfrm>
            <a:custGeom>
              <a:avLst/>
              <a:gdLst/>
              <a:ahLst/>
              <a:cxnLst/>
              <a:rect l="l" t="t" r="r" b="b"/>
              <a:pathLst>
                <a:path w="6984" h="18415">
                  <a:moveTo>
                    <a:pt x="3200" y="12039"/>
                  </a:moveTo>
                  <a:lnTo>
                    <a:pt x="2870" y="12179"/>
                  </a:lnTo>
                  <a:lnTo>
                    <a:pt x="2501" y="12306"/>
                  </a:lnTo>
                  <a:lnTo>
                    <a:pt x="2120" y="12407"/>
                  </a:lnTo>
                  <a:lnTo>
                    <a:pt x="1460" y="14376"/>
                  </a:lnTo>
                  <a:lnTo>
                    <a:pt x="749" y="16383"/>
                  </a:lnTo>
                  <a:lnTo>
                    <a:pt x="0" y="18376"/>
                  </a:lnTo>
                  <a:lnTo>
                    <a:pt x="355" y="18338"/>
                  </a:lnTo>
                  <a:lnTo>
                    <a:pt x="711" y="18275"/>
                  </a:lnTo>
                  <a:lnTo>
                    <a:pt x="1054" y="18199"/>
                  </a:lnTo>
                  <a:lnTo>
                    <a:pt x="1816" y="16129"/>
                  </a:lnTo>
                  <a:lnTo>
                    <a:pt x="2527" y="14071"/>
                  </a:lnTo>
                  <a:lnTo>
                    <a:pt x="3200" y="12039"/>
                  </a:lnTo>
                  <a:close/>
                </a:path>
                <a:path w="6984" h="18415">
                  <a:moveTo>
                    <a:pt x="6743" y="723"/>
                  </a:moveTo>
                  <a:lnTo>
                    <a:pt x="6540" y="482"/>
                  </a:lnTo>
                  <a:lnTo>
                    <a:pt x="6311" y="241"/>
                  </a:lnTo>
                  <a:lnTo>
                    <a:pt x="6070" y="0"/>
                  </a:lnTo>
                  <a:lnTo>
                    <a:pt x="5943" y="457"/>
                  </a:lnTo>
                  <a:lnTo>
                    <a:pt x="5803" y="901"/>
                  </a:lnTo>
                  <a:lnTo>
                    <a:pt x="5676" y="1358"/>
                  </a:lnTo>
                  <a:lnTo>
                    <a:pt x="5892" y="1651"/>
                  </a:lnTo>
                  <a:lnTo>
                    <a:pt x="6108" y="1955"/>
                  </a:lnTo>
                  <a:lnTo>
                    <a:pt x="6299" y="2260"/>
                  </a:lnTo>
                  <a:lnTo>
                    <a:pt x="6604" y="1231"/>
                  </a:lnTo>
                  <a:lnTo>
                    <a:pt x="6743" y="723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3" name="object 335">
              <a:extLst>
                <a:ext uri="{FF2B5EF4-FFF2-40B4-BE49-F238E27FC236}">
                  <a16:creationId xmlns:a16="http://schemas.microsoft.com/office/drawing/2014/main" id="{F6324D2D-D3BD-4851-A70E-0E0632C39FA8}"/>
                </a:ext>
              </a:extLst>
            </p:cNvPr>
            <p:cNvSpPr/>
            <p:nvPr/>
          </p:nvSpPr>
          <p:spPr>
            <a:xfrm>
              <a:off x="8198879" y="6309363"/>
              <a:ext cx="6350" cy="17780"/>
            </a:xfrm>
            <a:custGeom>
              <a:avLst/>
              <a:gdLst/>
              <a:ahLst/>
              <a:cxnLst/>
              <a:rect l="l" t="t" r="r" b="b"/>
              <a:pathLst>
                <a:path w="6350" h="17779">
                  <a:moveTo>
                    <a:pt x="3302" y="10744"/>
                  </a:moveTo>
                  <a:lnTo>
                    <a:pt x="2946" y="10960"/>
                  </a:lnTo>
                  <a:lnTo>
                    <a:pt x="2565" y="11150"/>
                  </a:lnTo>
                  <a:lnTo>
                    <a:pt x="2159" y="11328"/>
                  </a:lnTo>
                  <a:lnTo>
                    <a:pt x="1473" y="13360"/>
                  </a:lnTo>
                  <a:lnTo>
                    <a:pt x="762" y="15405"/>
                  </a:lnTo>
                  <a:lnTo>
                    <a:pt x="0" y="17475"/>
                  </a:lnTo>
                  <a:lnTo>
                    <a:pt x="368" y="17399"/>
                  </a:lnTo>
                  <a:lnTo>
                    <a:pt x="736" y="17297"/>
                  </a:lnTo>
                  <a:lnTo>
                    <a:pt x="1092" y="17183"/>
                  </a:lnTo>
                  <a:lnTo>
                    <a:pt x="1866" y="15011"/>
                  </a:lnTo>
                  <a:lnTo>
                    <a:pt x="2603" y="12865"/>
                  </a:lnTo>
                  <a:lnTo>
                    <a:pt x="3302" y="10744"/>
                  </a:lnTo>
                  <a:close/>
                </a:path>
                <a:path w="6350" h="17779">
                  <a:moveTo>
                    <a:pt x="6350" y="812"/>
                  </a:moveTo>
                  <a:lnTo>
                    <a:pt x="6146" y="546"/>
                  </a:lnTo>
                  <a:lnTo>
                    <a:pt x="5918" y="266"/>
                  </a:lnTo>
                  <a:lnTo>
                    <a:pt x="5689" y="0"/>
                  </a:lnTo>
                  <a:lnTo>
                    <a:pt x="5537" y="508"/>
                  </a:lnTo>
                  <a:lnTo>
                    <a:pt x="5397" y="1028"/>
                  </a:lnTo>
                  <a:lnTo>
                    <a:pt x="5245" y="1536"/>
                  </a:lnTo>
                  <a:lnTo>
                    <a:pt x="5461" y="1892"/>
                  </a:lnTo>
                  <a:lnTo>
                    <a:pt x="5651" y="2247"/>
                  </a:lnTo>
                  <a:lnTo>
                    <a:pt x="5816" y="2628"/>
                  </a:lnTo>
                  <a:lnTo>
                    <a:pt x="6350" y="812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4" name="object 336">
              <a:extLst>
                <a:ext uri="{FF2B5EF4-FFF2-40B4-BE49-F238E27FC236}">
                  <a16:creationId xmlns:a16="http://schemas.microsoft.com/office/drawing/2014/main" id="{AD32B33B-6D2D-42E3-A639-133939B5FC50}"/>
                </a:ext>
              </a:extLst>
            </p:cNvPr>
            <p:cNvSpPr/>
            <p:nvPr/>
          </p:nvSpPr>
          <p:spPr>
            <a:xfrm>
              <a:off x="8199971" y="6310176"/>
              <a:ext cx="6350" cy="16510"/>
            </a:xfrm>
            <a:custGeom>
              <a:avLst/>
              <a:gdLst/>
              <a:ahLst/>
              <a:cxnLst/>
              <a:rect l="l" t="t" r="r" b="b"/>
              <a:pathLst>
                <a:path w="6350" h="16509">
                  <a:moveTo>
                    <a:pt x="3454" y="8966"/>
                  </a:moveTo>
                  <a:lnTo>
                    <a:pt x="3098" y="9309"/>
                  </a:lnTo>
                  <a:lnTo>
                    <a:pt x="2679" y="9639"/>
                  </a:lnTo>
                  <a:lnTo>
                    <a:pt x="2209" y="9931"/>
                  </a:lnTo>
                  <a:lnTo>
                    <a:pt x="1511" y="12039"/>
                  </a:lnTo>
                  <a:lnTo>
                    <a:pt x="774" y="14198"/>
                  </a:lnTo>
                  <a:lnTo>
                    <a:pt x="0" y="16357"/>
                  </a:lnTo>
                  <a:lnTo>
                    <a:pt x="393" y="16230"/>
                  </a:lnTo>
                  <a:lnTo>
                    <a:pt x="762" y="16090"/>
                  </a:lnTo>
                  <a:lnTo>
                    <a:pt x="1130" y="15925"/>
                  </a:lnTo>
                  <a:lnTo>
                    <a:pt x="1955" y="13576"/>
                  </a:lnTo>
                  <a:lnTo>
                    <a:pt x="2730" y="11252"/>
                  </a:lnTo>
                  <a:lnTo>
                    <a:pt x="3454" y="8966"/>
                  </a:lnTo>
                  <a:close/>
                </a:path>
                <a:path w="6350" h="16509">
                  <a:moveTo>
                    <a:pt x="5892" y="914"/>
                  </a:moveTo>
                  <a:lnTo>
                    <a:pt x="5486" y="304"/>
                  </a:lnTo>
                  <a:lnTo>
                    <a:pt x="5257" y="0"/>
                  </a:lnTo>
                  <a:lnTo>
                    <a:pt x="5080" y="596"/>
                  </a:lnTo>
                  <a:lnTo>
                    <a:pt x="4914" y="1206"/>
                  </a:lnTo>
                  <a:lnTo>
                    <a:pt x="4737" y="1816"/>
                  </a:lnTo>
                  <a:lnTo>
                    <a:pt x="4940" y="2273"/>
                  </a:lnTo>
                  <a:lnTo>
                    <a:pt x="5105" y="2768"/>
                  </a:lnTo>
                  <a:lnTo>
                    <a:pt x="5207" y="3263"/>
                  </a:lnTo>
                  <a:lnTo>
                    <a:pt x="5892" y="914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5" name="object 337">
              <a:extLst>
                <a:ext uri="{FF2B5EF4-FFF2-40B4-BE49-F238E27FC236}">
                  <a16:creationId xmlns:a16="http://schemas.microsoft.com/office/drawing/2014/main" id="{5A5F8A6B-3EA6-4EB3-A41B-C9B9AF375953}"/>
                </a:ext>
              </a:extLst>
            </p:cNvPr>
            <p:cNvSpPr/>
            <p:nvPr/>
          </p:nvSpPr>
          <p:spPr>
            <a:xfrm>
              <a:off x="8201107" y="6311092"/>
              <a:ext cx="5715" cy="15240"/>
            </a:xfrm>
            <a:custGeom>
              <a:avLst/>
              <a:gdLst/>
              <a:ahLst/>
              <a:cxnLst/>
              <a:rect l="l" t="t" r="r" b="b"/>
              <a:pathLst>
                <a:path w="5715" h="15240">
                  <a:moveTo>
                    <a:pt x="4749" y="0"/>
                  </a:moveTo>
                  <a:lnTo>
                    <a:pt x="4063" y="2336"/>
                  </a:lnTo>
                  <a:lnTo>
                    <a:pt x="4241" y="3149"/>
                  </a:lnTo>
                  <a:lnTo>
                    <a:pt x="4254" y="3987"/>
                  </a:lnTo>
                  <a:lnTo>
                    <a:pt x="3835" y="6032"/>
                  </a:lnTo>
                  <a:lnTo>
                    <a:pt x="3251" y="7137"/>
                  </a:lnTo>
                  <a:lnTo>
                    <a:pt x="2324" y="8051"/>
                  </a:lnTo>
                  <a:lnTo>
                    <a:pt x="812" y="12661"/>
                  </a:lnTo>
                  <a:lnTo>
                    <a:pt x="0" y="15011"/>
                  </a:lnTo>
                  <a:lnTo>
                    <a:pt x="800" y="14617"/>
                  </a:lnTo>
                  <a:lnTo>
                    <a:pt x="1181" y="14389"/>
                  </a:lnTo>
                  <a:lnTo>
                    <a:pt x="2743" y="9817"/>
                  </a:lnTo>
                  <a:lnTo>
                    <a:pt x="4114" y="5359"/>
                  </a:lnTo>
                  <a:lnTo>
                    <a:pt x="5346" y="1079"/>
                  </a:lnTo>
                  <a:lnTo>
                    <a:pt x="4965" y="342"/>
                  </a:lnTo>
                  <a:lnTo>
                    <a:pt x="4749" y="0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6" name="object 338">
              <a:extLst>
                <a:ext uri="{FF2B5EF4-FFF2-40B4-BE49-F238E27FC236}">
                  <a16:creationId xmlns:a16="http://schemas.microsoft.com/office/drawing/2014/main" id="{1B1AFDB9-249D-4788-88C0-51946F4CD618}"/>
                </a:ext>
              </a:extLst>
            </p:cNvPr>
            <p:cNvSpPr/>
            <p:nvPr/>
          </p:nvSpPr>
          <p:spPr>
            <a:xfrm>
              <a:off x="8202287" y="6312161"/>
              <a:ext cx="5080" cy="13335"/>
            </a:xfrm>
            <a:custGeom>
              <a:avLst/>
              <a:gdLst/>
              <a:ahLst/>
              <a:cxnLst/>
              <a:rect l="l" t="t" r="r" b="b"/>
              <a:pathLst>
                <a:path w="5079" h="13334">
                  <a:moveTo>
                    <a:pt x="4165" y="0"/>
                  </a:moveTo>
                  <a:lnTo>
                    <a:pt x="2933" y="4279"/>
                  </a:lnTo>
                  <a:lnTo>
                    <a:pt x="1562" y="8750"/>
                  </a:lnTo>
                  <a:lnTo>
                    <a:pt x="0" y="13322"/>
                  </a:lnTo>
                  <a:lnTo>
                    <a:pt x="444" y="13055"/>
                  </a:lnTo>
                  <a:lnTo>
                    <a:pt x="1257" y="12433"/>
                  </a:lnTo>
                  <a:lnTo>
                    <a:pt x="2514" y="8635"/>
                  </a:lnTo>
                  <a:lnTo>
                    <a:pt x="3657" y="4927"/>
                  </a:lnTo>
                  <a:lnTo>
                    <a:pt x="4686" y="1320"/>
                  </a:lnTo>
                  <a:lnTo>
                    <a:pt x="4356" y="431"/>
                  </a:lnTo>
                  <a:lnTo>
                    <a:pt x="4165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7" name="object 339">
              <a:extLst>
                <a:ext uri="{FF2B5EF4-FFF2-40B4-BE49-F238E27FC236}">
                  <a16:creationId xmlns:a16="http://schemas.microsoft.com/office/drawing/2014/main" id="{008E4E9F-68D6-499D-89FC-4CBC514BB7D0}"/>
                </a:ext>
              </a:extLst>
            </p:cNvPr>
            <p:cNvSpPr/>
            <p:nvPr/>
          </p:nvSpPr>
          <p:spPr>
            <a:xfrm>
              <a:off x="8203548" y="6313483"/>
              <a:ext cx="3810" cy="11430"/>
            </a:xfrm>
            <a:custGeom>
              <a:avLst/>
              <a:gdLst/>
              <a:ahLst/>
              <a:cxnLst/>
              <a:rect l="l" t="t" r="r" b="b"/>
              <a:pathLst>
                <a:path w="3809" h="11429">
                  <a:moveTo>
                    <a:pt x="3416" y="0"/>
                  </a:moveTo>
                  <a:lnTo>
                    <a:pt x="2387" y="3606"/>
                  </a:lnTo>
                  <a:lnTo>
                    <a:pt x="1257" y="7315"/>
                  </a:lnTo>
                  <a:lnTo>
                    <a:pt x="0" y="11112"/>
                  </a:lnTo>
                  <a:lnTo>
                    <a:pt x="495" y="10693"/>
                  </a:lnTo>
                  <a:lnTo>
                    <a:pt x="3784" y="1828"/>
                  </a:lnTo>
                  <a:lnTo>
                    <a:pt x="3733" y="1193"/>
                  </a:lnTo>
                  <a:lnTo>
                    <a:pt x="3594" y="596"/>
                  </a:lnTo>
                  <a:lnTo>
                    <a:pt x="3416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8" name="object 340">
              <a:extLst>
                <a:ext uri="{FF2B5EF4-FFF2-40B4-BE49-F238E27FC236}">
                  <a16:creationId xmlns:a16="http://schemas.microsoft.com/office/drawing/2014/main" id="{E9C76B58-2366-43D7-8875-5FB8EDB43BF5}"/>
                </a:ext>
              </a:extLst>
            </p:cNvPr>
            <p:cNvSpPr/>
            <p:nvPr/>
          </p:nvSpPr>
          <p:spPr>
            <a:xfrm>
              <a:off x="8204941" y="6315309"/>
              <a:ext cx="2540" cy="8255"/>
            </a:xfrm>
            <a:custGeom>
              <a:avLst/>
              <a:gdLst/>
              <a:ahLst/>
              <a:cxnLst/>
              <a:rect l="l" t="t" r="r" b="b"/>
              <a:pathLst>
                <a:path w="2540" h="8254">
                  <a:moveTo>
                    <a:pt x="2400" y="0"/>
                  </a:moveTo>
                  <a:lnTo>
                    <a:pt x="1663" y="2578"/>
                  </a:lnTo>
                  <a:lnTo>
                    <a:pt x="863" y="5219"/>
                  </a:lnTo>
                  <a:lnTo>
                    <a:pt x="0" y="7886"/>
                  </a:lnTo>
                  <a:lnTo>
                    <a:pt x="1054" y="6616"/>
                  </a:lnTo>
                  <a:lnTo>
                    <a:pt x="1828" y="5067"/>
                  </a:lnTo>
                  <a:lnTo>
                    <a:pt x="2209" y="3276"/>
                  </a:lnTo>
                  <a:lnTo>
                    <a:pt x="2451" y="2120"/>
                  </a:lnTo>
                  <a:lnTo>
                    <a:pt x="2501" y="1028"/>
                  </a:lnTo>
                  <a:lnTo>
                    <a:pt x="2400" y="0"/>
                  </a:lnTo>
                  <a:close/>
                </a:path>
              </a:pathLst>
            </a:custGeom>
            <a:solidFill>
              <a:srgbClr val="EFCC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49" name="object 341">
              <a:extLst>
                <a:ext uri="{FF2B5EF4-FFF2-40B4-BE49-F238E27FC236}">
                  <a16:creationId xmlns:a16="http://schemas.microsoft.com/office/drawing/2014/main" id="{903378F6-83A1-4C61-B38B-69984AAFD80E}"/>
                </a:ext>
              </a:extLst>
            </p:cNvPr>
            <p:cNvSpPr/>
            <p:nvPr/>
          </p:nvSpPr>
          <p:spPr>
            <a:xfrm>
              <a:off x="8200873" y="6287722"/>
              <a:ext cx="5715" cy="16510"/>
            </a:xfrm>
            <a:custGeom>
              <a:avLst/>
              <a:gdLst/>
              <a:ahLst/>
              <a:cxnLst/>
              <a:rect l="l" t="t" r="r" b="b"/>
              <a:pathLst>
                <a:path w="5715" h="16509">
                  <a:moveTo>
                    <a:pt x="1206" y="14935"/>
                  </a:moveTo>
                  <a:lnTo>
                    <a:pt x="431" y="14592"/>
                  </a:lnTo>
                  <a:lnTo>
                    <a:pt x="292" y="15074"/>
                  </a:lnTo>
                  <a:lnTo>
                    <a:pt x="139" y="15570"/>
                  </a:lnTo>
                  <a:lnTo>
                    <a:pt x="0" y="16065"/>
                  </a:lnTo>
                  <a:lnTo>
                    <a:pt x="774" y="16421"/>
                  </a:lnTo>
                  <a:lnTo>
                    <a:pt x="914" y="15925"/>
                  </a:lnTo>
                  <a:lnTo>
                    <a:pt x="1066" y="15430"/>
                  </a:lnTo>
                  <a:lnTo>
                    <a:pt x="1206" y="14935"/>
                  </a:lnTo>
                  <a:close/>
                </a:path>
                <a:path w="5715" h="16509">
                  <a:moveTo>
                    <a:pt x="5168" y="0"/>
                  </a:moveTo>
                  <a:lnTo>
                    <a:pt x="4902" y="76"/>
                  </a:lnTo>
                  <a:lnTo>
                    <a:pt x="4610" y="127"/>
                  </a:lnTo>
                  <a:lnTo>
                    <a:pt x="4318" y="203"/>
                  </a:lnTo>
                  <a:lnTo>
                    <a:pt x="3403" y="3873"/>
                  </a:lnTo>
                  <a:lnTo>
                    <a:pt x="2882" y="5829"/>
                  </a:lnTo>
                  <a:lnTo>
                    <a:pt x="3771" y="5626"/>
                  </a:lnTo>
                  <a:lnTo>
                    <a:pt x="4279" y="3670"/>
                  </a:lnTo>
                  <a:lnTo>
                    <a:pt x="5168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0" name="object 342">
              <a:extLst>
                <a:ext uri="{FF2B5EF4-FFF2-40B4-BE49-F238E27FC236}">
                  <a16:creationId xmlns:a16="http://schemas.microsoft.com/office/drawing/2014/main" id="{90DEE3B3-3B88-4A0F-BB65-107D697BBDB1}"/>
                </a:ext>
              </a:extLst>
            </p:cNvPr>
            <p:cNvSpPr/>
            <p:nvPr/>
          </p:nvSpPr>
          <p:spPr>
            <a:xfrm>
              <a:off x="8201647" y="6287494"/>
              <a:ext cx="5715" cy="17145"/>
            </a:xfrm>
            <a:custGeom>
              <a:avLst/>
              <a:gdLst/>
              <a:ahLst/>
              <a:cxnLst/>
              <a:rect l="l" t="t" r="r" b="b"/>
              <a:pathLst>
                <a:path w="5715" h="17145">
                  <a:moveTo>
                    <a:pt x="1219" y="15494"/>
                  </a:moveTo>
                  <a:lnTo>
                    <a:pt x="444" y="15163"/>
                  </a:lnTo>
                  <a:lnTo>
                    <a:pt x="304" y="15646"/>
                  </a:lnTo>
                  <a:lnTo>
                    <a:pt x="152" y="16141"/>
                  </a:lnTo>
                  <a:lnTo>
                    <a:pt x="0" y="16649"/>
                  </a:lnTo>
                  <a:lnTo>
                    <a:pt x="787" y="17005"/>
                  </a:lnTo>
                  <a:lnTo>
                    <a:pt x="939" y="16497"/>
                  </a:lnTo>
                  <a:lnTo>
                    <a:pt x="1219" y="15494"/>
                  </a:lnTo>
                  <a:close/>
                </a:path>
                <a:path w="5715" h="17145">
                  <a:moveTo>
                    <a:pt x="5245" y="0"/>
                  </a:moveTo>
                  <a:lnTo>
                    <a:pt x="4978" y="88"/>
                  </a:lnTo>
                  <a:lnTo>
                    <a:pt x="4699" y="165"/>
                  </a:lnTo>
                  <a:lnTo>
                    <a:pt x="4394" y="228"/>
                  </a:lnTo>
                  <a:lnTo>
                    <a:pt x="3962" y="2019"/>
                  </a:lnTo>
                  <a:lnTo>
                    <a:pt x="2997" y="5854"/>
                  </a:lnTo>
                  <a:lnTo>
                    <a:pt x="3771" y="5676"/>
                  </a:lnTo>
                  <a:lnTo>
                    <a:pt x="4368" y="3683"/>
                  </a:lnTo>
                  <a:lnTo>
                    <a:pt x="4826" y="1790"/>
                  </a:lnTo>
                  <a:lnTo>
                    <a:pt x="5245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1" name="object 343">
              <a:extLst>
                <a:ext uri="{FF2B5EF4-FFF2-40B4-BE49-F238E27FC236}">
                  <a16:creationId xmlns:a16="http://schemas.microsoft.com/office/drawing/2014/main" id="{B0AA1EB6-1561-4F28-ADD8-5563420EDA7C}"/>
                </a:ext>
              </a:extLst>
            </p:cNvPr>
            <p:cNvSpPr/>
            <p:nvPr/>
          </p:nvSpPr>
          <p:spPr>
            <a:xfrm>
              <a:off x="8202422" y="6287138"/>
              <a:ext cx="5715" cy="17780"/>
            </a:xfrm>
            <a:custGeom>
              <a:avLst/>
              <a:gdLst/>
              <a:ahLst/>
              <a:cxnLst/>
              <a:rect l="l" t="t" r="r" b="b"/>
              <a:pathLst>
                <a:path w="5715" h="17779">
                  <a:moveTo>
                    <a:pt x="1219" y="16179"/>
                  </a:moveTo>
                  <a:lnTo>
                    <a:pt x="977" y="16078"/>
                  </a:lnTo>
                  <a:lnTo>
                    <a:pt x="749" y="15976"/>
                  </a:lnTo>
                  <a:lnTo>
                    <a:pt x="520" y="15887"/>
                  </a:lnTo>
                  <a:lnTo>
                    <a:pt x="152" y="16840"/>
                  </a:lnTo>
                  <a:lnTo>
                    <a:pt x="0" y="17348"/>
                  </a:lnTo>
                  <a:lnTo>
                    <a:pt x="406" y="17538"/>
                  </a:lnTo>
                  <a:lnTo>
                    <a:pt x="533" y="17602"/>
                  </a:lnTo>
                  <a:lnTo>
                    <a:pt x="660" y="17653"/>
                  </a:lnTo>
                  <a:lnTo>
                    <a:pt x="927" y="17195"/>
                  </a:lnTo>
                  <a:lnTo>
                    <a:pt x="1066" y="16687"/>
                  </a:lnTo>
                  <a:lnTo>
                    <a:pt x="1219" y="16179"/>
                  </a:lnTo>
                  <a:close/>
                </a:path>
                <a:path w="5715" h="17779">
                  <a:moveTo>
                    <a:pt x="5346" y="0"/>
                  </a:moveTo>
                  <a:lnTo>
                    <a:pt x="5080" y="152"/>
                  </a:lnTo>
                  <a:lnTo>
                    <a:pt x="4470" y="355"/>
                  </a:lnTo>
                  <a:lnTo>
                    <a:pt x="4051" y="2146"/>
                  </a:lnTo>
                  <a:lnTo>
                    <a:pt x="3594" y="4038"/>
                  </a:lnTo>
                  <a:lnTo>
                    <a:pt x="3098" y="6007"/>
                  </a:lnTo>
                  <a:lnTo>
                    <a:pt x="3378" y="5930"/>
                  </a:lnTo>
                  <a:lnTo>
                    <a:pt x="3670" y="5867"/>
                  </a:lnTo>
                  <a:lnTo>
                    <a:pt x="3962" y="5829"/>
                  </a:lnTo>
                  <a:lnTo>
                    <a:pt x="4470" y="3784"/>
                  </a:lnTo>
                  <a:lnTo>
                    <a:pt x="5346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2" name="object 344">
              <a:extLst>
                <a:ext uri="{FF2B5EF4-FFF2-40B4-BE49-F238E27FC236}">
                  <a16:creationId xmlns:a16="http://schemas.microsoft.com/office/drawing/2014/main" id="{E83AA73F-CDBC-4E8B-B756-86B0328BD992}"/>
                </a:ext>
              </a:extLst>
            </p:cNvPr>
            <p:cNvSpPr/>
            <p:nvPr/>
          </p:nvSpPr>
          <p:spPr>
            <a:xfrm>
              <a:off x="8203210" y="6286300"/>
              <a:ext cx="5715" cy="19050"/>
            </a:xfrm>
            <a:custGeom>
              <a:avLst/>
              <a:gdLst/>
              <a:ahLst/>
              <a:cxnLst/>
              <a:rect l="l" t="t" r="r" b="b"/>
              <a:pathLst>
                <a:path w="5715" h="19050">
                  <a:moveTo>
                    <a:pt x="1231" y="17322"/>
                  </a:moveTo>
                  <a:lnTo>
                    <a:pt x="965" y="17233"/>
                  </a:lnTo>
                  <a:lnTo>
                    <a:pt x="698" y="17132"/>
                  </a:lnTo>
                  <a:lnTo>
                    <a:pt x="444" y="17018"/>
                  </a:lnTo>
                  <a:lnTo>
                    <a:pt x="292" y="17526"/>
                  </a:lnTo>
                  <a:lnTo>
                    <a:pt x="152" y="18046"/>
                  </a:lnTo>
                  <a:lnTo>
                    <a:pt x="0" y="18567"/>
                  </a:lnTo>
                  <a:lnTo>
                    <a:pt x="266" y="18694"/>
                  </a:lnTo>
                  <a:lnTo>
                    <a:pt x="533" y="18808"/>
                  </a:lnTo>
                  <a:lnTo>
                    <a:pt x="774" y="18935"/>
                  </a:lnTo>
                  <a:lnTo>
                    <a:pt x="927" y="18389"/>
                  </a:lnTo>
                  <a:lnTo>
                    <a:pt x="1092" y="17856"/>
                  </a:lnTo>
                  <a:lnTo>
                    <a:pt x="1231" y="17322"/>
                  </a:lnTo>
                  <a:close/>
                </a:path>
                <a:path w="5715" h="19050">
                  <a:moveTo>
                    <a:pt x="5537" y="0"/>
                  </a:moveTo>
                  <a:lnTo>
                    <a:pt x="5270" y="368"/>
                  </a:lnTo>
                  <a:lnTo>
                    <a:pt x="4940" y="635"/>
                  </a:lnTo>
                  <a:lnTo>
                    <a:pt x="4559" y="838"/>
                  </a:lnTo>
                  <a:lnTo>
                    <a:pt x="4140" y="2679"/>
                  </a:lnTo>
                  <a:lnTo>
                    <a:pt x="3683" y="4622"/>
                  </a:lnTo>
                  <a:lnTo>
                    <a:pt x="3187" y="6667"/>
                  </a:lnTo>
                  <a:lnTo>
                    <a:pt x="3746" y="6604"/>
                  </a:lnTo>
                  <a:lnTo>
                    <a:pt x="4013" y="6616"/>
                  </a:lnTo>
                  <a:lnTo>
                    <a:pt x="4572" y="4279"/>
                  </a:lnTo>
                  <a:lnTo>
                    <a:pt x="5080" y="2070"/>
                  </a:lnTo>
                  <a:lnTo>
                    <a:pt x="5537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3" name="object 345">
              <a:extLst>
                <a:ext uri="{FF2B5EF4-FFF2-40B4-BE49-F238E27FC236}">
                  <a16:creationId xmlns:a16="http://schemas.microsoft.com/office/drawing/2014/main" id="{F85E99B7-A44C-48B7-9B02-AD44D68D17BB}"/>
                </a:ext>
              </a:extLst>
            </p:cNvPr>
            <p:cNvSpPr/>
            <p:nvPr/>
          </p:nvSpPr>
          <p:spPr>
            <a:xfrm>
              <a:off x="8203984" y="6284344"/>
              <a:ext cx="6350" cy="21590"/>
            </a:xfrm>
            <a:custGeom>
              <a:avLst/>
              <a:gdLst/>
              <a:ahLst/>
              <a:cxnLst/>
              <a:rect l="l" t="t" r="r" b="b"/>
              <a:pathLst>
                <a:path w="6350" h="21590">
                  <a:moveTo>
                    <a:pt x="1270" y="19469"/>
                  </a:moveTo>
                  <a:lnTo>
                    <a:pt x="1003" y="19431"/>
                  </a:lnTo>
                  <a:lnTo>
                    <a:pt x="457" y="19278"/>
                  </a:lnTo>
                  <a:lnTo>
                    <a:pt x="152" y="20345"/>
                  </a:lnTo>
                  <a:lnTo>
                    <a:pt x="0" y="20891"/>
                  </a:lnTo>
                  <a:lnTo>
                    <a:pt x="266" y="21018"/>
                  </a:lnTo>
                  <a:lnTo>
                    <a:pt x="520" y="21158"/>
                  </a:lnTo>
                  <a:lnTo>
                    <a:pt x="762" y="21297"/>
                  </a:lnTo>
                  <a:lnTo>
                    <a:pt x="939" y="20688"/>
                  </a:lnTo>
                  <a:lnTo>
                    <a:pt x="1270" y="19469"/>
                  </a:lnTo>
                  <a:close/>
                </a:path>
                <a:path w="6350" h="21590">
                  <a:moveTo>
                    <a:pt x="5930" y="38"/>
                  </a:moveTo>
                  <a:lnTo>
                    <a:pt x="5372" y="0"/>
                  </a:lnTo>
                  <a:lnTo>
                    <a:pt x="5283" y="863"/>
                  </a:lnTo>
                  <a:lnTo>
                    <a:pt x="5067" y="1485"/>
                  </a:lnTo>
                  <a:lnTo>
                    <a:pt x="4749" y="1955"/>
                  </a:lnTo>
                  <a:lnTo>
                    <a:pt x="4305" y="4025"/>
                  </a:lnTo>
                  <a:lnTo>
                    <a:pt x="3797" y="6235"/>
                  </a:lnTo>
                  <a:lnTo>
                    <a:pt x="3238" y="8572"/>
                  </a:lnTo>
                  <a:lnTo>
                    <a:pt x="3594" y="8597"/>
                  </a:lnTo>
                  <a:lnTo>
                    <a:pt x="3822" y="8648"/>
                  </a:lnTo>
                  <a:lnTo>
                    <a:pt x="4000" y="8775"/>
                  </a:lnTo>
                  <a:lnTo>
                    <a:pt x="4749" y="5613"/>
                  </a:lnTo>
                  <a:lnTo>
                    <a:pt x="5384" y="2692"/>
                  </a:lnTo>
                  <a:lnTo>
                    <a:pt x="5930" y="38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4" name="object 346">
              <a:extLst>
                <a:ext uri="{FF2B5EF4-FFF2-40B4-BE49-F238E27FC236}">
                  <a16:creationId xmlns:a16="http://schemas.microsoft.com/office/drawing/2014/main" id="{901C785B-1C51-4D5D-A96A-365FDCEFEC90}"/>
                </a:ext>
              </a:extLst>
            </p:cNvPr>
            <p:cNvSpPr/>
            <p:nvPr/>
          </p:nvSpPr>
          <p:spPr>
            <a:xfrm>
              <a:off x="8204746" y="6284382"/>
              <a:ext cx="5715" cy="22225"/>
            </a:xfrm>
            <a:custGeom>
              <a:avLst/>
              <a:gdLst/>
              <a:ahLst/>
              <a:cxnLst/>
              <a:rect l="l" t="t" r="r" b="b"/>
              <a:pathLst>
                <a:path w="5715" h="22225">
                  <a:moveTo>
                    <a:pt x="1358" y="19443"/>
                  </a:moveTo>
                  <a:lnTo>
                    <a:pt x="1193" y="19481"/>
                  </a:lnTo>
                  <a:lnTo>
                    <a:pt x="1016" y="19481"/>
                  </a:lnTo>
                  <a:lnTo>
                    <a:pt x="838" y="19469"/>
                  </a:lnTo>
                  <a:lnTo>
                    <a:pt x="609" y="19443"/>
                  </a:lnTo>
                  <a:lnTo>
                    <a:pt x="342" y="20040"/>
                  </a:lnTo>
                  <a:lnTo>
                    <a:pt x="165" y="20650"/>
                  </a:lnTo>
                  <a:lnTo>
                    <a:pt x="0" y="21259"/>
                  </a:lnTo>
                  <a:lnTo>
                    <a:pt x="254" y="21412"/>
                  </a:lnTo>
                  <a:lnTo>
                    <a:pt x="508" y="21577"/>
                  </a:lnTo>
                  <a:lnTo>
                    <a:pt x="736" y="21742"/>
                  </a:lnTo>
                  <a:lnTo>
                    <a:pt x="952" y="20967"/>
                  </a:lnTo>
                  <a:lnTo>
                    <a:pt x="1358" y="19443"/>
                  </a:lnTo>
                  <a:close/>
                </a:path>
                <a:path w="5715" h="22225">
                  <a:moveTo>
                    <a:pt x="5651" y="38"/>
                  </a:moveTo>
                  <a:lnTo>
                    <a:pt x="5156" y="0"/>
                  </a:lnTo>
                  <a:lnTo>
                    <a:pt x="4610" y="2654"/>
                  </a:lnTo>
                  <a:lnTo>
                    <a:pt x="3975" y="5575"/>
                  </a:lnTo>
                  <a:lnTo>
                    <a:pt x="3225" y="8737"/>
                  </a:lnTo>
                  <a:lnTo>
                    <a:pt x="3517" y="8928"/>
                  </a:lnTo>
                  <a:lnTo>
                    <a:pt x="3708" y="9271"/>
                  </a:lnTo>
                  <a:lnTo>
                    <a:pt x="3771" y="9893"/>
                  </a:lnTo>
                  <a:lnTo>
                    <a:pt x="4432" y="7086"/>
                  </a:lnTo>
                  <a:lnTo>
                    <a:pt x="5511" y="2032"/>
                  </a:lnTo>
                  <a:lnTo>
                    <a:pt x="5651" y="38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5" name="object 347">
              <a:extLst>
                <a:ext uri="{FF2B5EF4-FFF2-40B4-BE49-F238E27FC236}">
                  <a16:creationId xmlns:a16="http://schemas.microsoft.com/office/drawing/2014/main" id="{897F9482-A267-46F5-9741-D42BCAD3210A}"/>
                </a:ext>
              </a:extLst>
            </p:cNvPr>
            <p:cNvSpPr/>
            <p:nvPr/>
          </p:nvSpPr>
          <p:spPr>
            <a:xfrm>
              <a:off x="8205496" y="6286414"/>
              <a:ext cx="5080" cy="20955"/>
            </a:xfrm>
            <a:custGeom>
              <a:avLst/>
              <a:gdLst/>
              <a:ahLst/>
              <a:cxnLst/>
              <a:rect l="l" t="t" r="r" b="b"/>
              <a:pathLst>
                <a:path w="5079" h="20954">
                  <a:moveTo>
                    <a:pt x="1600" y="16967"/>
                  </a:moveTo>
                  <a:lnTo>
                    <a:pt x="1333" y="17195"/>
                  </a:lnTo>
                  <a:lnTo>
                    <a:pt x="1003" y="17360"/>
                  </a:lnTo>
                  <a:lnTo>
                    <a:pt x="622" y="17411"/>
                  </a:lnTo>
                  <a:lnTo>
                    <a:pt x="215" y="18935"/>
                  </a:lnTo>
                  <a:lnTo>
                    <a:pt x="0" y="19710"/>
                  </a:lnTo>
                  <a:lnTo>
                    <a:pt x="254" y="19900"/>
                  </a:lnTo>
                  <a:lnTo>
                    <a:pt x="482" y="20104"/>
                  </a:lnTo>
                  <a:lnTo>
                    <a:pt x="698" y="20332"/>
                  </a:lnTo>
                  <a:lnTo>
                    <a:pt x="1016" y="19202"/>
                  </a:lnTo>
                  <a:lnTo>
                    <a:pt x="1600" y="16967"/>
                  </a:lnTo>
                  <a:close/>
                </a:path>
                <a:path w="5079" h="20954">
                  <a:moveTo>
                    <a:pt x="4762" y="0"/>
                  </a:moveTo>
                  <a:lnTo>
                    <a:pt x="4254" y="2425"/>
                  </a:lnTo>
                  <a:lnTo>
                    <a:pt x="3683" y="5054"/>
                  </a:lnTo>
                  <a:lnTo>
                    <a:pt x="3022" y="7861"/>
                  </a:lnTo>
                  <a:lnTo>
                    <a:pt x="3060" y="8191"/>
                  </a:lnTo>
                  <a:lnTo>
                    <a:pt x="3073" y="8610"/>
                  </a:lnTo>
                  <a:lnTo>
                    <a:pt x="3048" y="9118"/>
                  </a:lnTo>
                  <a:lnTo>
                    <a:pt x="3530" y="9156"/>
                  </a:lnTo>
                  <a:lnTo>
                    <a:pt x="4368" y="5486"/>
                  </a:lnTo>
                  <a:lnTo>
                    <a:pt x="4762" y="0"/>
                  </a:lnTo>
                  <a:close/>
                </a:path>
              </a:pathLst>
            </a:custGeom>
            <a:solidFill>
              <a:srgbClr val="E7BF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6" name="object 348">
              <a:extLst>
                <a:ext uri="{FF2B5EF4-FFF2-40B4-BE49-F238E27FC236}">
                  <a16:creationId xmlns:a16="http://schemas.microsoft.com/office/drawing/2014/main" id="{309A2CA5-2EC8-4D79-B37D-A3F956F344E0}"/>
                </a:ext>
              </a:extLst>
            </p:cNvPr>
            <p:cNvSpPr/>
            <p:nvPr/>
          </p:nvSpPr>
          <p:spPr>
            <a:xfrm>
              <a:off x="8206194" y="6291901"/>
              <a:ext cx="3810" cy="15875"/>
            </a:xfrm>
            <a:custGeom>
              <a:avLst/>
              <a:gdLst/>
              <a:ahLst/>
              <a:cxnLst/>
              <a:rect l="l" t="t" r="r" b="b"/>
              <a:pathLst>
                <a:path w="3809" h="15875">
                  <a:moveTo>
                    <a:pt x="2311" y="9283"/>
                  </a:moveTo>
                  <a:lnTo>
                    <a:pt x="1955" y="9245"/>
                  </a:lnTo>
                  <a:lnTo>
                    <a:pt x="1841" y="10109"/>
                  </a:lnTo>
                  <a:lnTo>
                    <a:pt x="1511" y="10972"/>
                  </a:lnTo>
                  <a:lnTo>
                    <a:pt x="901" y="11493"/>
                  </a:lnTo>
                  <a:lnTo>
                    <a:pt x="317" y="13716"/>
                  </a:lnTo>
                  <a:lnTo>
                    <a:pt x="0" y="14846"/>
                  </a:lnTo>
                  <a:lnTo>
                    <a:pt x="241" y="15100"/>
                  </a:lnTo>
                  <a:lnTo>
                    <a:pt x="444" y="15392"/>
                  </a:lnTo>
                  <a:lnTo>
                    <a:pt x="635" y="15722"/>
                  </a:lnTo>
                  <a:lnTo>
                    <a:pt x="1244" y="13512"/>
                  </a:lnTo>
                  <a:lnTo>
                    <a:pt x="1803" y="11366"/>
                  </a:lnTo>
                  <a:lnTo>
                    <a:pt x="2311" y="9283"/>
                  </a:lnTo>
                  <a:close/>
                </a:path>
                <a:path w="3809" h="15875">
                  <a:moveTo>
                    <a:pt x="3670" y="0"/>
                  </a:moveTo>
                  <a:lnTo>
                    <a:pt x="3124" y="2413"/>
                  </a:lnTo>
                  <a:lnTo>
                    <a:pt x="2832" y="3670"/>
                  </a:lnTo>
                  <a:lnTo>
                    <a:pt x="3403" y="3708"/>
                  </a:lnTo>
                  <a:lnTo>
                    <a:pt x="3670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7" name="object 349">
              <a:extLst>
                <a:ext uri="{FF2B5EF4-FFF2-40B4-BE49-F238E27FC236}">
                  <a16:creationId xmlns:a16="http://schemas.microsoft.com/office/drawing/2014/main" id="{A55391B7-15C8-427C-BD49-FF8EF55C6027}"/>
                </a:ext>
              </a:extLst>
            </p:cNvPr>
            <p:cNvSpPr/>
            <p:nvPr/>
          </p:nvSpPr>
          <p:spPr>
            <a:xfrm>
              <a:off x="8206839" y="6301172"/>
              <a:ext cx="2540" cy="8255"/>
            </a:xfrm>
            <a:custGeom>
              <a:avLst/>
              <a:gdLst/>
              <a:ahLst/>
              <a:cxnLst/>
              <a:rect l="l" t="t" r="r" b="b"/>
              <a:pathLst>
                <a:path w="2540" h="8254">
                  <a:moveTo>
                    <a:pt x="1676" y="0"/>
                  </a:moveTo>
                  <a:lnTo>
                    <a:pt x="1155" y="2082"/>
                  </a:lnTo>
                  <a:lnTo>
                    <a:pt x="596" y="4229"/>
                  </a:lnTo>
                  <a:lnTo>
                    <a:pt x="0" y="6438"/>
                  </a:lnTo>
                  <a:lnTo>
                    <a:pt x="203" y="6807"/>
                  </a:lnTo>
                  <a:lnTo>
                    <a:pt x="381" y="7226"/>
                  </a:lnTo>
                  <a:lnTo>
                    <a:pt x="520" y="7708"/>
                  </a:lnTo>
                  <a:lnTo>
                    <a:pt x="1168" y="5333"/>
                  </a:lnTo>
                  <a:lnTo>
                    <a:pt x="1765" y="3022"/>
                  </a:lnTo>
                  <a:lnTo>
                    <a:pt x="2311" y="800"/>
                  </a:lnTo>
                  <a:lnTo>
                    <a:pt x="2374" y="50"/>
                  </a:lnTo>
                  <a:lnTo>
                    <a:pt x="1676" y="0"/>
                  </a:lnTo>
                  <a:close/>
                </a:path>
              </a:pathLst>
            </a:custGeom>
            <a:solidFill>
              <a:srgbClr val="EBC4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8" name="object 350">
              <a:extLst>
                <a:ext uri="{FF2B5EF4-FFF2-40B4-BE49-F238E27FC236}">
                  <a16:creationId xmlns:a16="http://schemas.microsoft.com/office/drawing/2014/main" id="{4E9A32CE-E8C2-44ED-A943-A5879BC0B00C}"/>
                </a:ext>
              </a:extLst>
            </p:cNvPr>
            <p:cNvSpPr/>
            <p:nvPr/>
          </p:nvSpPr>
          <p:spPr>
            <a:xfrm>
              <a:off x="8207362" y="6301972"/>
              <a:ext cx="1905" cy="8255"/>
            </a:xfrm>
            <a:custGeom>
              <a:avLst/>
              <a:gdLst/>
              <a:ahLst/>
              <a:cxnLst/>
              <a:rect l="l" t="t" r="r" b="b"/>
              <a:pathLst>
                <a:path w="1904" h="8254">
                  <a:moveTo>
                    <a:pt x="1790" y="0"/>
                  </a:moveTo>
                  <a:lnTo>
                    <a:pt x="1244" y="2222"/>
                  </a:lnTo>
                  <a:lnTo>
                    <a:pt x="647" y="4533"/>
                  </a:lnTo>
                  <a:lnTo>
                    <a:pt x="0" y="6908"/>
                  </a:lnTo>
                  <a:lnTo>
                    <a:pt x="139" y="7391"/>
                  </a:lnTo>
                  <a:lnTo>
                    <a:pt x="190" y="7658"/>
                  </a:lnTo>
                  <a:lnTo>
                    <a:pt x="660" y="7696"/>
                  </a:lnTo>
                  <a:lnTo>
                    <a:pt x="1460" y="4699"/>
                  </a:lnTo>
                  <a:lnTo>
                    <a:pt x="1790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59" name="object 351">
              <a:extLst>
                <a:ext uri="{FF2B5EF4-FFF2-40B4-BE49-F238E27FC236}">
                  <a16:creationId xmlns:a16="http://schemas.microsoft.com/office/drawing/2014/main" id="{C266CDF8-0C27-49C5-8C2D-952CDACF8459}"/>
                </a:ext>
              </a:extLst>
            </p:cNvPr>
            <p:cNvSpPr/>
            <p:nvPr/>
          </p:nvSpPr>
          <p:spPr>
            <a:xfrm>
              <a:off x="8208021" y="6306670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800" y="0"/>
                  </a:moveTo>
                  <a:lnTo>
                    <a:pt x="279" y="1981"/>
                  </a:lnTo>
                  <a:lnTo>
                    <a:pt x="0" y="2997"/>
                  </a:lnTo>
                  <a:lnTo>
                    <a:pt x="584" y="3035"/>
                  </a:lnTo>
                  <a:lnTo>
                    <a:pt x="800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0" name="object 352">
              <a:extLst>
                <a:ext uri="{FF2B5EF4-FFF2-40B4-BE49-F238E27FC236}">
                  <a16:creationId xmlns:a16="http://schemas.microsoft.com/office/drawing/2014/main" id="{E06BE978-7A9F-4825-9E97-56F233DC6B16}"/>
                </a:ext>
              </a:extLst>
            </p:cNvPr>
            <p:cNvSpPr/>
            <p:nvPr/>
          </p:nvSpPr>
          <p:spPr>
            <a:xfrm>
              <a:off x="7878372" y="6245296"/>
              <a:ext cx="2540" cy="5080"/>
            </a:xfrm>
            <a:custGeom>
              <a:avLst/>
              <a:gdLst/>
              <a:ahLst/>
              <a:cxnLst/>
              <a:rect l="l" t="t" r="r" b="b"/>
              <a:pathLst>
                <a:path w="2540" h="5079">
                  <a:moveTo>
                    <a:pt x="1968" y="0"/>
                  </a:moveTo>
                  <a:lnTo>
                    <a:pt x="1003" y="1460"/>
                  </a:lnTo>
                  <a:lnTo>
                    <a:pt x="419" y="3124"/>
                  </a:lnTo>
                  <a:lnTo>
                    <a:pt x="0" y="5003"/>
                  </a:lnTo>
                  <a:lnTo>
                    <a:pt x="1373" y="1460"/>
                  </a:lnTo>
                  <a:lnTo>
                    <a:pt x="1968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1" name="object 353">
              <a:extLst>
                <a:ext uri="{FF2B5EF4-FFF2-40B4-BE49-F238E27FC236}">
                  <a16:creationId xmlns:a16="http://schemas.microsoft.com/office/drawing/2014/main" id="{5B631BD3-6479-4590-82F6-36E9C067D62C}"/>
                </a:ext>
              </a:extLst>
            </p:cNvPr>
            <p:cNvSpPr/>
            <p:nvPr/>
          </p:nvSpPr>
          <p:spPr>
            <a:xfrm>
              <a:off x="7877210" y="6243265"/>
              <a:ext cx="5080" cy="12700"/>
            </a:xfrm>
            <a:custGeom>
              <a:avLst/>
              <a:gdLst/>
              <a:ahLst/>
              <a:cxnLst/>
              <a:rect l="l" t="t" r="r" b="b"/>
              <a:pathLst>
                <a:path w="5079" h="12700">
                  <a:moveTo>
                    <a:pt x="4864" y="0"/>
                  </a:moveTo>
                  <a:lnTo>
                    <a:pt x="1130" y="7175"/>
                  </a:lnTo>
                  <a:lnTo>
                    <a:pt x="0" y="12420"/>
                  </a:lnTo>
                  <a:lnTo>
                    <a:pt x="1536" y="8216"/>
                  </a:lnTo>
                  <a:lnTo>
                    <a:pt x="3162" y="4076"/>
                  </a:lnTo>
                  <a:lnTo>
                    <a:pt x="4864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2" name="object 354">
              <a:extLst>
                <a:ext uri="{FF2B5EF4-FFF2-40B4-BE49-F238E27FC236}">
                  <a16:creationId xmlns:a16="http://schemas.microsoft.com/office/drawing/2014/main" id="{FBCE3ED2-5659-4F61-A830-A30FC8DE7B8E}"/>
                </a:ext>
              </a:extLst>
            </p:cNvPr>
            <p:cNvSpPr/>
            <p:nvPr/>
          </p:nvSpPr>
          <p:spPr>
            <a:xfrm>
              <a:off x="7875999" y="6242182"/>
              <a:ext cx="7620" cy="19685"/>
            </a:xfrm>
            <a:custGeom>
              <a:avLst/>
              <a:gdLst/>
              <a:ahLst/>
              <a:cxnLst/>
              <a:rect l="l" t="t" r="r" b="b"/>
              <a:pathLst>
                <a:path w="7620" h="19684">
                  <a:moveTo>
                    <a:pt x="7429" y="0"/>
                  </a:moveTo>
                  <a:lnTo>
                    <a:pt x="0" y="19138"/>
                  </a:lnTo>
                  <a:lnTo>
                    <a:pt x="1092" y="16090"/>
                  </a:lnTo>
                  <a:lnTo>
                    <a:pt x="2197" y="13055"/>
                  </a:lnTo>
                  <a:lnTo>
                    <a:pt x="3352" y="10058"/>
                  </a:lnTo>
                  <a:lnTo>
                    <a:pt x="3340" y="9728"/>
                  </a:lnTo>
                  <a:lnTo>
                    <a:pt x="3378" y="9321"/>
                  </a:lnTo>
                  <a:lnTo>
                    <a:pt x="3835" y="7264"/>
                  </a:lnTo>
                  <a:lnTo>
                    <a:pt x="4394" y="5930"/>
                  </a:lnTo>
                  <a:lnTo>
                    <a:pt x="5372" y="4965"/>
                  </a:lnTo>
                  <a:lnTo>
                    <a:pt x="7429" y="0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3" name="object 355">
              <a:extLst>
                <a:ext uri="{FF2B5EF4-FFF2-40B4-BE49-F238E27FC236}">
                  <a16:creationId xmlns:a16="http://schemas.microsoft.com/office/drawing/2014/main" id="{946F53AC-9720-4A31-8048-3D35C7BBF3F8}"/>
                </a:ext>
              </a:extLst>
            </p:cNvPr>
            <p:cNvSpPr/>
            <p:nvPr/>
          </p:nvSpPr>
          <p:spPr>
            <a:xfrm>
              <a:off x="7876020" y="6241482"/>
              <a:ext cx="8890" cy="20320"/>
            </a:xfrm>
            <a:custGeom>
              <a:avLst/>
              <a:gdLst/>
              <a:ahLst/>
              <a:cxnLst/>
              <a:rect l="l" t="t" r="r" b="b"/>
              <a:pathLst>
                <a:path w="8890" h="20320">
                  <a:moveTo>
                    <a:pt x="3771" y="11836"/>
                  </a:moveTo>
                  <a:lnTo>
                    <a:pt x="3505" y="11595"/>
                  </a:lnTo>
                  <a:lnTo>
                    <a:pt x="3340" y="11264"/>
                  </a:lnTo>
                  <a:lnTo>
                    <a:pt x="3327" y="10756"/>
                  </a:lnTo>
                  <a:lnTo>
                    <a:pt x="2171" y="13754"/>
                  </a:lnTo>
                  <a:lnTo>
                    <a:pt x="1066" y="16789"/>
                  </a:lnTo>
                  <a:lnTo>
                    <a:pt x="0" y="19850"/>
                  </a:lnTo>
                  <a:lnTo>
                    <a:pt x="762" y="20015"/>
                  </a:lnTo>
                  <a:lnTo>
                    <a:pt x="1727" y="17272"/>
                  </a:lnTo>
                  <a:lnTo>
                    <a:pt x="2730" y="14541"/>
                  </a:lnTo>
                  <a:lnTo>
                    <a:pt x="3771" y="11836"/>
                  </a:lnTo>
                  <a:close/>
                </a:path>
                <a:path w="8890" h="20320">
                  <a:moveTo>
                    <a:pt x="8648" y="0"/>
                  </a:moveTo>
                  <a:lnTo>
                    <a:pt x="5346" y="5676"/>
                  </a:lnTo>
                  <a:lnTo>
                    <a:pt x="5715" y="5308"/>
                  </a:lnTo>
                  <a:lnTo>
                    <a:pt x="6134" y="4991"/>
                  </a:lnTo>
                  <a:lnTo>
                    <a:pt x="6629" y="4737"/>
                  </a:lnTo>
                  <a:lnTo>
                    <a:pt x="7289" y="3149"/>
                  </a:lnTo>
                  <a:lnTo>
                    <a:pt x="7962" y="1562"/>
                  </a:lnTo>
                  <a:lnTo>
                    <a:pt x="8648" y="0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4" name="object 356">
              <a:extLst>
                <a:ext uri="{FF2B5EF4-FFF2-40B4-BE49-F238E27FC236}">
                  <a16:creationId xmlns:a16="http://schemas.microsoft.com/office/drawing/2014/main" id="{1A63878A-EAF6-42FB-B117-F1FACC361C4C}"/>
                </a:ext>
              </a:extLst>
            </p:cNvPr>
            <p:cNvSpPr/>
            <p:nvPr/>
          </p:nvSpPr>
          <p:spPr>
            <a:xfrm>
              <a:off x="7876782" y="6240999"/>
              <a:ext cx="9525" cy="20955"/>
            </a:xfrm>
            <a:custGeom>
              <a:avLst/>
              <a:gdLst/>
              <a:ahLst/>
              <a:cxnLst/>
              <a:rect l="l" t="t" r="r" b="b"/>
              <a:pathLst>
                <a:path w="9525" h="20954">
                  <a:moveTo>
                    <a:pt x="3733" y="12712"/>
                  </a:moveTo>
                  <a:lnTo>
                    <a:pt x="3441" y="12598"/>
                  </a:lnTo>
                  <a:lnTo>
                    <a:pt x="3200" y="12484"/>
                  </a:lnTo>
                  <a:lnTo>
                    <a:pt x="3009" y="12319"/>
                  </a:lnTo>
                  <a:lnTo>
                    <a:pt x="1968" y="15024"/>
                  </a:lnTo>
                  <a:lnTo>
                    <a:pt x="965" y="17741"/>
                  </a:lnTo>
                  <a:lnTo>
                    <a:pt x="0" y="20497"/>
                  </a:lnTo>
                  <a:lnTo>
                    <a:pt x="241" y="20535"/>
                  </a:lnTo>
                  <a:lnTo>
                    <a:pt x="520" y="19215"/>
                  </a:lnTo>
                  <a:lnTo>
                    <a:pt x="939" y="18453"/>
                  </a:lnTo>
                  <a:lnTo>
                    <a:pt x="1676" y="18148"/>
                  </a:lnTo>
                  <a:lnTo>
                    <a:pt x="2349" y="16319"/>
                  </a:lnTo>
                  <a:lnTo>
                    <a:pt x="3733" y="12712"/>
                  </a:lnTo>
                  <a:close/>
                </a:path>
                <a:path w="9525" h="20954">
                  <a:moveTo>
                    <a:pt x="9017" y="0"/>
                  </a:moveTo>
                  <a:lnTo>
                    <a:pt x="5854" y="5207"/>
                  </a:lnTo>
                  <a:lnTo>
                    <a:pt x="6184" y="5041"/>
                  </a:lnTo>
                  <a:lnTo>
                    <a:pt x="6553" y="4902"/>
                  </a:lnTo>
                  <a:lnTo>
                    <a:pt x="6946" y="4775"/>
                  </a:lnTo>
                  <a:lnTo>
                    <a:pt x="7620" y="3175"/>
                  </a:lnTo>
                  <a:lnTo>
                    <a:pt x="9017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5" name="object 357">
              <a:extLst>
                <a:ext uri="{FF2B5EF4-FFF2-40B4-BE49-F238E27FC236}">
                  <a16:creationId xmlns:a16="http://schemas.microsoft.com/office/drawing/2014/main" id="{1F13B274-A15D-49B5-BE61-C30850971F85}"/>
                </a:ext>
              </a:extLst>
            </p:cNvPr>
            <p:cNvSpPr/>
            <p:nvPr/>
          </p:nvSpPr>
          <p:spPr>
            <a:xfrm>
              <a:off x="7878457" y="6240682"/>
              <a:ext cx="8890" cy="19050"/>
            </a:xfrm>
            <a:custGeom>
              <a:avLst/>
              <a:gdLst/>
              <a:ahLst/>
              <a:cxnLst/>
              <a:rect l="l" t="t" r="r" b="b"/>
              <a:pathLst>
                <a:path w="8890" h="19050">
                  <a:moveTo>
                    <a:pt x="2844" y="13246"/>
                  </a:moveTo>
                  <a:lnTo>
                    <a:pt x="2552" y="13182"/>
                  </a:lnTo>
                  <a:lnTo>
                    <a:pt x="2286" y="13106"/>
                  </a:lnTo>
                  <a:lnTo>
                    <a:pt x="2057" y="13030"/>
                  </a:lnTo>
                  <a:lnTo>
                    <a:pt x="1358" y="14833"/>
                  </a:lnTo>
                  <a:lnTo>
                    <a:pt x="673" y="16649"/>
                  </a:lnTo>
                  <a:lnTo>
                    <a:pt x="0" y="18465"/>
                  </a:lnTo>
                  <a:lnTo>
                    <a:pt x="254" y="18364"/>
                  </a:lnTo>
                  <a:lnTo>
                    <a:pt x="558" y="18313"/>
                  </a:lnTo>
                  <a:lnTo>
                    <a:pt x="901" y="18313"/>
                  </a:lnTo>
                  <a:lnTo>
                    <a:pt x="1536" y="16611"/>
                  </a:lnTo>
                  <a:lnTo>
                    <a:pt x="2184" y="14922"/>
                  </a:lnTo>
                  <a:lnTo>
                    <a:pt x="2844" y="13246"/>
                  </a:lnTo>
                  <a:close/>
                </a:path>
                <a:path w="8890" h="19050">
                  <a:moveTo>
                    <a:pt x="8432" y="0"/>
                  </a:moveTo>
                  <a:lnTo>
                    <a:pt x="8051" y="88"/>
                  </a:lnTo>
                  <a:lnTo>
                    <a:pt x="7340" y="317"/>
                  </a:lnTo>
                  <a:lnTo>
                    <a:pt x="6642" y="1905"/>
                  </a:lnTo>
                  <a:lnTo>
                    <a:pt x="5270" y="5105"/>
                  </a:lnTo>
                  <a:lnTo>
                    <a:pt x="5930" y="4927"/>
                  </a:lnTo>
                  <a:lnTo>
                    <a:pt x="6286" y="4876"/>
                  </a:lnTo>
                  <a:lnTo>
                    <a:pt x="6985" y="3238"/>
                  </a:lnTo>
                  <a:lnTo>
                    <a:pt x="7696" y="1612"/>
                  </a:lnTo>
                  <a:lnTo>
                    <a:pt x="8432" y="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6" name="object 358">
              <a:extLst>
                <a:ext uri="{FF2B5EF4-FFF2-40B4-BE49-F238E27FC236}">
                  <a16:creationId xmlns:a16="http://schemas.microsoft.com/office/drawing/2014/main" id="{F5C34FE3-F9D6-468F-AE87-F717F5D24CBB}"/>
                </a:ext>
              </a:extLst>
            </p:cNvPr>
            <p:cNvSpPr/>
            <p:nvPr/>
          </p:nvSpPr>
          <p:spPr>
            <a:xfrm>
              <a:off x="7879360" y="6240466"/>
              <a:ext cx="8890" cy="19050"/>
            </a:xfrm>
            <a:custGeom>
              <a:avLst/>
              <a:gdLst/>
              <a:ahLst/>
              <a:cxnLst/>
              <a:rect l="l" t="t" r="r" b="b"/>
              <a:pathLst>
                <a:path w="8890" h="19050">
                  <a:moveTo>
                    <a:pt x="2743" y="13639"/>
                  </a:moveTo>
                  <a:lnTo>
                    <a:pt x="2514" y="13589"/>
                  </a:lnTo>
                  <a:lnTo>
                    <a:pt x="2311" y="13550"/>
                  </a:lnTo>
                  <a:lnTo>
                    <a:pt x="1943" y="13462"/>
                  </a:lnTo>
                  <a:lnTo>
                    <a:pt x="1282" y="15138"/>
                  </a:lnTo>
                  <a:lnTo>
                    <a:pt x="635" y="16827"/>
                  </a:lnTo>
                  <a:lnTo>
                    <a:pt x="0" y="18529"/>
                  </a:lnTo>
                  <a:lnTo>
                    <a:pt x="254" y="18529"/>
                  </a:lnTo>
                  <a:lnTo>
                    <a:pt x="520" y="18542"/>
                  </a:lnTo>
                  <a:lnTo>
                    <a:pt x="825" y="18605"/>
                  </a:lnTo>
                  <a:lnTo>
                    <a:pt x="1447" y="16941"/>
                  </a:lnTo>
                  <a:lnTo>
                    <a:pt x="2743" y="13639"/>
                  </a:lnTo>
                  <a:close/>
                </a:path>
                <a:path w="8890" h="19050">
                  <a:moveTo>
                    <a:pt x="8559" y="0"/>
                  </a:moveTo>
                  <a:lnTo>
                    <a:pt x="5384" y="5080"/>
                  </a:lnTo>
                  <a:lnTo>
                    <a:pt x="5689" y="5029"/>
                  </a:lnTo>
                  <a:lnTo>
                    <a:pt x="6350" y="4978"/>
                  </a:lnTo>
                  <a:lnTo>
                    <a:pt x="7073" y="3314"/>
                  </a:lnTo>
                  <a:lnTo>
                    <a:pt x="8559" y="0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7" name="object 359">
              <a:extLst>
                <a:ext uri="{FF2B5EF4-FFF2-40B4-BE49-F238E27FC236}">
                  <a16:creationId xmlns:a16="http://schemas.microsoft.com/office/drawing/2014/main" id="{B26CA129-4AD1-4A63-BB05-13B30D3CB708}"/>
                </a:ext>
              </a:extLst>
            </p:cNvPr>
            <p:cNvSpPr/>
            <p:nvPr/>
          </p:nvSpPr>
          <p:spPr>
            <a:xfrm>
              <a:off x="7880184" y="6240377"/>
              <a:ext cx="8890" cy="19050"/>
            </a:xfrm>
            <a:custGeom>
              <a:avLst/>
              <a:gdLst/>
              <a:ahLst/>
              <a:cxnLst/>
              <a:rect l="l" t="t" r="r" b="b"/>
              <a:pathLst>
                <a:path w="8890" h="19050">
                  <a:moveTo>
                    <a:pt x="2730" y="13893"/>
                  </a:moveTo>
                  <a:lnTo>
                    <a:pt x="1917" y="13728"/>
                  </a:lnTo>
                  <a:lnTo>
                    <a:pt x="1257" y="15367"/>
                  </a:lnTo>
                  <a:lnTo>
                    <a:pt x="0" y="18681"/>
                  </a:lnTo>
                  <a:lnTo>
                    <a:pt x="787" y="18846"/>
                  </a:lnTo>
                  <a:lnTo>
                    <a:pt x="1422" y="17195"/>
                  </a:lnTo>
                  <a:lnTo>
                    <a:pt x="2070" y="15544"/>
                  </a:lnTo>
                  <a:lnTo>
                    <a:pt x="2730" y="13893"/>
                  </a:lnTo>
                  <a:close/>
                </a:path>
                <a:path w="8890" h="19050">
                  <a:moveTo>
                    <a:pt x="8737" y="0"/>
                  </a:moveTo>
                  <a:lnTo>
                    <a:pt x="5524" y="5080"/>
                  </a:lnTo>
                  <a:lnTo>
                    <a:pt x="5816" y="5054"/>
                  </a:lnTo>
                  <a:lnTo>
                    <a:pt x="6121" y="5041"/>
                  </a:lnTo>
                  <a:lnTo>
                    <a:pt x="6451" y="5054"/>
                  </a:lnTo>
                  <a:lnTo>
                    <a:pt x="7200" y="3365"/>
                  </a:lnTo>
                  <a:lnTo>
                    <a:pt x="7962" y="1676"/>
                  </a:lnTo>
                  <a:lnTo>
                    <a:pt x="8737" y="0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8" name="object 360">
              <a:extLst>
                <a:ext uri="{FF2B5EF4-FFF2-40B4-BE49-F238E27FC236}">
                  <a16:creationId xmlns:a16="http://schemas.microsoft.com/office/drawing/2014/main" id="{A01C6E36-A591-403A-BEE0-C6420A22DC12}"/>
                </a:ext>
              </a:extLst>
            </p:cNvPr>
            <p:cNvSpPr/>
            <p:nvPr/>
          </p:nvSpPr>
          <p:spPr>
            <a:xfrm>
              <a:off x="7880972" y="6240351"/>
              <a:ext cx="9525" cy="19050"/>
            </a:xfrm>
            <a:custGeom>
              <a:avLst/>
              <a:gdLst/>
              <a:ahLst/>
              <a:cxnLst/>
              <a:rect l="l" t="t" r="r" b="b"/>
              <a:pathLst>
                <a:path w="9525" h="19050">
                  <a:moveTo>
                    <a:pt x="2755" y="14109"/>
                  </a:moveTo>
                  <a:lnTo>
                    <a:pt x="1943" y="13931"/>
                  </a:lnTo>
                  <a:lnTo>
                    <a:pt x="1282" y="15570"/>
                  </a:lnTo>
                  <a:lnTo>
                    <a:pt x="635" y="17221"/>
                  </a:lnTo>
                  <a:lnTo>
                    <a:pt x="0" y="18884"/>
                  </a:lnTo>
                  <a:lnTo>
                    <a:pt x="800" y="19050"/>
                  </a:lnTo>
                  <a:lnTo>
                    <a:pt x="1435" y="17399"/>
                  </a:lnTo>
                  <a:lnTo>
                    <a:pt x="2755" y="14109"/>
                  </a:lnTo>
                  <a:close/>
                </a:path>
                <a:path w="9525" h="19050">
                  <a:moveTo>
                    <a:pt x="8915" y="0"/>
                  </a:moveTo>
                  <a:lnTo>
                    <a:pt x="8267" y="0"/>
                  </a:lnTo>
                  <a:lnTo>
                    <a:pt x="7950" y="25"/>
                  </a:lnTo>
                  <a:lnTo>
                    <a:pt x="7175" y="1689"/>
                  </a:lnTo>
                  <a:lnTo>
                    <a:pt x="6413" y="3378"/>
                  </a:lnTo>
                  <a:lnTo>
                    <a:pt x="5664" y="5080"/>
                  </a:lnTo>
                  <a:lnTo>
                    <a:pt x="5956" y="5080"/>
                  </a:lnTo>
                  <a:lnTo>
                    <a:pt x="6261" y="5092"/>
                  </a:lnTo>
                  <a:lnTo>
                    <a:pt x="6578" y="5118"/>
                  </a:lnTo>
                  <a:lnTo>
                    <a:pt x="7340" y="3403"/>
                  </a:lnTo>
                  <a:lnTo>
                    <a:pt x="8128" y="1689"/>
                  </a:lnTo>
                  <a:lnTo>
                    <a:pt x="8915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9" name="object 361">
              <a:extLst>
                <a:ext uri="{FF2B5EF4-FFF2-40B4-BE49-F238E27FC236}">
                  <a16:creationId xmlns:a16="http://schemas.microsoft.com/office/drawing/2014/main" id="{24A32FDA-AB19-4F6E-844E-94C29B25D936}"/>
                </a:ext>
              </a:extLst>
            </p:cNvPr>
            <p:cNvSpPr/>
            <p:nvPr/>
          </p:nvSpPr>
          <p:spPr>
            <a:xfrm>
              <a:off x="7881772" y="6240351"/>
              <a:ext cx="9525" cy="19685"/>
            </a:xfrm>
            <a:custGeom>
              <a:avLst/>
              <a:gdLst/>
              <a:ahLst/>
              <a:cxnLst/>
              <a:rect l="l" t="t" r="r" b="b"/>
              <a:pathLst>
                <a:path w="9525" h="19684">
                  <a:moveTo>
                    <a:pt x="2768" y="14274"/>
                  </a:moveTo>
                  <a:lnTo>
                    <a:pt x="1955" y="14097"/>
                  </a:lnTo>
                  <a:lnTo>
                    <a:pt x="635" y="17386"/>
                  </a:lnTo>
                  <a:lnTo>
                    <a:pt x="0" y="19037"/>
                  </a:lnTo>
                  <a:lnTo>
                    <a:pt x="800" y="19215"/>
                  </a:lnTo>
                  <a:lnTo>
                    <a:pt x="1447" y="17564"/>
                  </a:lnTo>
                  <a:lnTo>
                    <a:pt x="2768" y="14274"/>
                  </a:lnTo>
                  <a:close/>
                </a:path>
                <a:path w="9525" h="19684">
                  <a:moveTo>
                    <a:pt x="9067" y="50"/>
                  </a:moveTo>
                  <a:lnTo>
                    <a:pt x="8737" y="25"/>
                  </a:lnTo>
                  <a:lnTo>
                    <a:pt x="8115" y="0"/>
                  </a:lnTo>
                  <a:lnTo>
                    <a:pt x="7327" y="1689"/>
                  </a:lnTo>
                  <a:lnTo>
                    <a:pt x="5778" y="5118"/>
                  </a:lnTo>
                  <a:lnTo>
                    <a:pt x="6375" y="5168"/>
                  </a:lnTo>
                  <a:lnTo>
                    <a:pt x="6680" y="5207"/>
                  </a:lnTo>
                  <a:lnTo>
                    <a:pt x="7454" y="3479"/>
                  </a:lnTo>
                  <a:lnTo>
                    <a:pt x="8255" y="1752"/>
                  </a:lnTo>
                  <a:lnTo>
                    <a:pt x="9067" y="5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0" name="object 362">
              <a:extLst>
                <a:ext uri="{FF2B5EF4-FFF2-40B4-BE49-F238E27FC236}">
                  <a16:creationId xmlns:a16="http://schemas.microsoft.com/office/drawing/2014/main" id="{2034F34B-8CF4-4EB5-B564-2AEC22E640B5}"/>
                </a:ext>
              </a:extLst>
            </p:cNvPr>
            <p:cNvSpPr/>
            <p:nvPr/>
          </p:nvSpPr>
          <p:spPr>
            <a:xfrm>
              <a:off x="7882559" y="6240402"/>
              <a:ext cx="9525" cy="19685"/>
            </a:xfrm>
            <a:custGeom>
              <a:avLst/>
              <a:gdLst/>
              <a:ahLst/>
              <a:cxnLst/>
              <a:rect l="l" t="t" r="r" b="b"/>
              <a:pathLst>
                <a:path w="9525" h="19684">
                  <a:moveTo>
                    <a:pt x="2806" y="14401"/>
                  </a:moveTo>
                  <a:lnTo>
                    <a:pt x="1981" y="14224"/>
                  </a:lnTo>
                  <a:lnTo>
                    <a:pt x="1308" y="15862"/>
                  </a:lnTo>
                  <a:lnTo>
                    <a:pt x="647" y="17513"/>
                  </a:lnTo>
                  <a:lnTo>
                    <a:pt x="0" y="19164"/>
                  </a:lnTo>
                  <a:lnTo>
                    <a:pt x="800" y="19342"/>
                  </a:lnTo>
                  <a:lnTo>
                    <a:pt x="2120" y="16040"/>
                  </a:lnTo>
                  <a:lnTo>
                    <a:pt x="2806" y="14401"/>
                  </a:lnTo>
                  <a:close/>
                </a:path>
                <a:path w="9525" h="19684">
                  <a:moveTo>
                    <a:pt x="9182" y="114"/>
                  </a:moveTo>
                  <a:lnTo>
                    <a:pt x="8877" y="63"/>
                  </a:lnTo>
                  <a:lnTo>
                    <a:pt x="8572" y="25"/>
                  </a:lnTo>
                  <a:lnTo>
                    <a:pt x="8267" y="0"/>
                  </a:lnTo>
                  <a:lnTo>
                    <a:pt x="7454" y="1701"/>
                  </a:lnTo>
                  <a:lnTo>
                    <a:pt x="5880" y="5156"/>
                  </a:lnTo>
                  <a:lnTo>
                    <a:pt x="6464" y="5232"/>
                  </a:lnTo>
                  <a:lnTo>
                    <a:pt x="6769" y="5283"/>
                  </a:lnTo>
                  <a:lnTo>
                    <a:pt x="7556" y="3543"/>
                  </a:lnTo>
                  <a:lnTo>
                    <a:pt x="8369" y="1816"/>
                  </a:lnTo>
                  <a:lnTo>
                    <a:pt x="9182" y="114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1" name="object 363">
              <a:extLst>
                <a:ext uri="{FF2B5EF4-FFF2-40B4-BE49-F238E27FC236}">
                  <a16:creationId xmlns:a16="http://schemas.microsoft.com/office/drawing/2014/main" id="{E76947EF-7F79-4AFB-9DD6-5BECE33DCEA4}"/>
                </a:ext>
              </a:extLst>
            </p:cNvPr>
            <p:cNvSpPr/>
            <p:nvPr/>
          </p:nvSpPr>
          <p:spPr>
            <a:xfrm>
              <a:off x="7883373" y="6240517"/>
              <a:ext cx="9525" cy="19685"/>
            </a:xfrm>
            <a:custGeom>
              <a:avLst/>
              <a:gdLst/>
              <a:ahLst/>
              <a:cxnLst/>
              <a:rect l="l" t="t" r="r" b="b"/>
              <a:pathLst>
                <a:path w="9525" h="19684">
                  <a:moveTo>
                    <a:pt x="2819" y="14465"/>
                  </a:moveTo>
                  <a:lnTo>
                    <a:pt x="1993" y="14287"/>
                  </a:lnTo>
                  <a:lnTo>
                    <a:pt x="1308" y="15925"/>
                  </a:lnTo>
                  <a:lnTo>
                    <a:pt x="647" y="17576"/>
                  </a:lnTo>
                  <a:lnTo>
                    <a:pt x="0" y="19227"/>
                  </a:lnTo>
                  <a:lnTo>
                    <a:pt x="800" y="19392"/>
                  </a:lnTo>
                  <a:lnTo>
                    <a:pt x="1460" y="17741"/>
                  </a:lnTo>
                  <a:lnTo>
                    <a:pt x="2133" y="16103"/>
                  </a:lnTo>
                  <a:lnTo>
                    <a:pt x="2819" y="14465"/>
                  </a:lnTo>
                  <a:close/>
                </a:path>
                <a:path w="9525" h="19684">
                  <a:moveTo>
                    <a:pt x="9271" y="165"/>
                  </a:moveTo>
                  <a:lnTo>
                    <a:pt x="8382" y="0"/>
                  </a:lnTo>
                  <a:lnTo>
                    <a:pt x="7556" y="1714"/>
                  </a:lnTo>
                  <a:lnTo>
                    <a:pt x="6743" y="3429"/>
                  </a:lnTo>
                  <a:lnTo>
                    <a:pt x="5956" y="5168"/>
                  </a:lnTo>
                  <a:lnTo>
                    <a:pt x="6540" y="5270"/>
                  </a:lnTo>
                  <a:lnTo>
                    <a:pt x="6832" y="5334"/>
                  </a:lnTo>
                  <a:lnTo>
                    <a:pt x="7632" y="3594"/>
                  </a:lnTo>
                  <a:lnTo>
                    <a:pt x="8445" y="1879"/>
                  </a:lnTo>
                  <a:lnTo>
                    <a:pt x="9271" y="165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2" name="object 364">
              <a:extLst>
                <a:ext uri="{FF2B5EF4-FFF2-40B4-BE49-F238E27FC236}">
                  <a16:creationId xmlns:a16="http://schemas.microsoft.com/office/drawing/2014/main" id="{8294A66B-B085-49F5-AA84-7604C8F801E8}"/>
                </a:ext>
              </a:extLst>
            </p:cNvPr>
            <p:cNvSpPr/>
            <p:nvPr/>
          </p:nvSpPr>
          <p:spPr>
            <a:xfrm>
              <a:off x="7884173" y="6240669"/>
              <a:ext cx="9525" cy="19685"/>
            </a:xfrm>
            <a:custGeom>
              <a:avLst/>
              <a:gdLst/>
              <a:ahLst/>
              <a:cxnLst/>
              <a:rect l="l" t="t" r="r" b="b"/>
              <a:pathLst>
                <a:path w="9525" h="19684">
                  <a:moveTo>
                    <a:pt x="2844" y="14490"/>
                  </a:moveTo>
                  <a:lnTo>
                    <a:pt x="2019" y="14312"/>
                  </a:lnTo>
                  <a:lnTo>
                    <a:pt x="1333" y="15951"/>
                  </a:lnTo>
                  <a:lnTo>
                    <a:pt x="660" y="17589"/>
                  </a:lnTo>
                  <a:lnTo>
                    <a:pt x="0" y="19240"/>
                  </a:lnTo>
                  <a:lnTo>
                    <a:pt x="812" y="19418"/>
                  </a:lnTo>
                  <a:lnTo>
                    <a:pt x="1473" y="17767"/>
                  </a:lnTo>
                  <a:lnTo>
                    <a:pt x="2844" y="14490"/>
                  </a:lnTo>
                  <a:close/>
                </a:path>
                <a:path w="9525" h="19684">
                  <a:moveTo>
                    <a:pt x="9359" y="215"/>
                  </a:moveTo>
                  <a:lnTo>
                    <a:pt x="8496" y="12"/>
                  </a:lnTo>
                  <a:lnTo>
                    <a:pt x="7543" y="1930"/>
                  </a:lnTo>
                  <a:lnTo>
                    <a:pt x="6045" y="5168"/>
                  </a:lnTo>
                  <a:lnTo>
                    <a:pt x="6908" y="5359"/>
                  </a:lnTo>
                  <a:lnTo>
                    <a:pt x="8623" y="1714"/>
                  </a:lnTo>
                  <a:lnTo>
                    <a:pt x="9359" y="215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3" name="object 365">
              <a:extLst>
                <a:ext uri="{FF2B5EF4-FFF2-40B4-BE49-F238E27FC236}">
                  <a16:creationId xmlns:a16="http://schemas.microsoft.com/office/drawing/2014/main" id="{67E1E0AE-820C-44A9-A706-4F6B40DE91EC}"/>
                </a:ext>
              </a:extLst>
            </p:cNvPr>
            <p:cNvSpPr/>
            <p:nvPr/>
          </p:nvSpPr>
          <p:spPr>
            <a:xfrm>
              <a:off x="7884972" y="6240885"/>
              <a:ext cx="9525" cy="19685"/>
            </a:xfrm>
            <a:custGeom>
              <a:avLst/>
              <a:gdLst/>
              <a:ahLst/>
              <a:cxnLst/>
              <a:rect l="l" t="t" r="r" b="b"/>
              <a:pathLst>
                <a:path w="9525" h="19684">
                  <a:moveTo>
                    <a:pt x="2882" y="14452"/>
                  </a:moveTo>
                  <a:lnTo>
                    <a:pt x="2044" y="14274"/>
                  </a:lnTo>
                  <a:lnTo>
                    <a:pt x="1346" y="15913"/>
                  </a:lnTo>
                  <a:lnTo>
                    <a:pt x="0" y="19202"/>
                  </a:lnTo>
                  <a:lnTo>
                    <a:pt x="825" y="19380"/>
                  </a:lnTo>
                  <a:lnTo>
                    <a:pt x="1485" y="17729"/>
                  </a:lnTo>
                  <a:lnTo>
                    <a:pt x="2171" y="16090"/>
                  </a:lnTo>
                  <a:lnTo>
                    <a:pt x="2882" y="14452"/>
                  </a:lnTo>
                  <a:close/>
                </a:path>
                <a:path w="9525" h="19684">
                  <a:moveTo>
                    <a:pt x="9398" y="292"/>
                  </a:moveTo>
                  <a:lnTo>
                    <a:pt x="8839" y="88"/>
                  </a:lnTo>
                  <a:lnTo>
                    <a:pt x="8547" y="0"/>
                  </a:lnTo>
                  <a:lnTo>
                    <a:pt x="6908" y="3416"/>
                  </a:lnTo>
                  <a:lnTo>
                    <a:pt x="6096" y="5143"/>
                  </a:lnTo>
                  <a:lnTo>
                    <a:pt x="6400" y="5207"/>
                  </a:lnTo>
                  <a:lnTo>
                    <a:pt x="6680" y="5283"/>
                  </a:lnTo>
                  <a:lnTo>
                    <a:pt x="6959" y="5346"/>
                  </a:lnTo>
                  <a:lnTo>
                    <a:pt x="7759" y="3644"/>
                  </a:lnTo>
                  <a:lnTo>
                    <a:pt x="8572" y="1955"/>
                  </a:lnTo>
                  <a:lnTo>
                    <a:pt x="9398" y="292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4" name="object 366">
              <a:extLst>
                <a:ext uri="{FF2B5EF4-FFF2-40B4-BE49-F238E27FC236}">
                  <a16:creationId xmlns:a16="http://schemas.microsoft.com/office/drawing/2014/main" id="{06513874-83BC-4E7A-82D0-B94B71E1057D}"/>
                </a:ext>
              </a:extLst>
            </p:cNvPr>
            <p:cNvSpPr/>
            <p:nvPr/>
          </p:nvSpPr>
          <p:spPr>
            <a:xfrm>
              <a:off x="7885798" y="6241177"/>
              <a:ext cx="9525" cy="19685"/>
            </a:xfrm>
            <a:custGeom>
              <a:avLst/>
              <a:gdLst/>
              <a:ahLst/>
              <a:cxnLst/>
              <a:rect l="l" t="t" r="r" b="b"/>
              <a:pathLst>
                <a:path w="9525" h="19684">
                  <a:moveTo>
                    <a:pt x="2882" y="14338"/>
                  </a:moveTo>
                  <a:lnTo>
                    <a:pt x="2057" y="14160"/>
                  </a:lnTo>
                  <a:lnTo>
                    <a:pt x="1358" y="15798"/>
                  </a:lnTo>
                  <a:lnTo>
                    <a:pt x="673" y="17437"/>
                  </a:lnTo>
                  <a:lnTo>
                    <a:pt x="0" y="19088"/>
                  </a:lnTo>
                  <a:lnTo>
                    <a:pt x="812" y="19265"/>
                  </a:lnTo>
                  <a:lnTo>
                    <a:pt x="1485" y="17614"/>
                  </a:lnTo>
                  <a:lnTo>
                    <a:pt x="2882" y="14338"/>
                  </a:lnTo>
                  <a:close/>
                </a:path>
                <a:path w="9525" h="19684">
                  <a:moveTo>
                    <a:pt x="9398" y="330"/>
                  </a:moveTo>
                  <a:lnTo>
                    <a:pt x="8864" y="101"/>
                  </a:lnTo>
                  <a:lnTo>
                    <a:pt x="8572" y="0"/>
                  </a:lnTo>
                  <a:lnTo>
                    <a:pt x="6934" y="3352"/>
                  </a:lnTo>
                  <a:lnTo>
                    <a:pt x="6146" y="5054"/>
                  </a:lnTo>
                  <a:lnTo>
                    <a:pt x="6997" y="5283"/>
                  </a:lnTo>
                  <a:lnTo>
                    <a:pt x="7785" y="3619"/>
                  </a:lnTo>
                  <a:lnTo>
                    <a:pt x="8585" y="1968"/>
                  </a:lnTo>
                  <a:lnTo>
                    <a:pt x="9398" y="33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5" name="object 367">
              <a:extLst>
                <a:ext uri="{FF2B5EF4-FFF2-40B4-BE49-F238E27FC236}">
                  <a16:creationId xmlns:a16="http://schemas.microsoft.com/office/drawing/2014/main" id="{2EFC8550-E3AE-40E6-889A-96C2AFC05C92}"/>
                </a:ext>
              </a:extLst>
            </p:cNvPr>
            <p:cNvSpPr/>
            <p:nvPr/>
          </p:nvSpPr>
          <p:spPr>
            <a:xfrm>
              <a:off x="7886598" y="6241520"/>
              <a:ext cx="9525" cy="19685"/>
            </a:xfrm>
            <a:custGeom>
              <a:avLst/>
              <a:gdLst/>
              <a:ahLst/>
              <a:cxnLst/>
              <a:rect l="l" t="t" r="r" b="b"/>
              <a:pathLst>
                <a:path w="9525" h="19684">
                  <a:moveTo>
                    <a:pt x="2921" y="14173"/>
                  </a:moveTo>
                  <a:lnTo>
                    <a:pt x="2082" y="13995"/>
                  </a:lnTo>
                  <a:lnTo>
                    <a:pt x="1371" y="15633"/>
                  </a:lnTo>
                  <a:lnTo>
                    <a:pt x="0" y="18910"/>
                  </a:lnTo>
                  <a:lnTo>
                    <a:pt x="825" y="19088"/>
                  </a:lnTo>
                  <a:lnTo>
                    <a:pt x="1511" y="17449"/>
                  </a:lnTo>
                  <a:lnTo>
                    <a:pt x="2209" y="15811"/>
                  </a:lnTo>
                  <a:lnTo>
                    <a:pt x="2921" y="14173"/>
                  </a:lnTo>
                  <a:close/>
                </a:path>
                <a:path w="9525" h="19684">
                  <a:moveTo>
                    <a:pt x="9385" y="393"/>
                  </a:moveTo>
                  <a:lnTo>
                    <a:pt x="9131" y="254"/>
                  </a:lnTo>
                  <a:lnTo>
                    <a:pt x="8585" y="0"/>
                  </a:lnTo>
                  <a:lnTo>
                    <a:pt x="7772" y="1638"/>
                  </a:lnTo>
                  <a:lnTo>
                    <a:pt x="6972" y="3289"/>
                  </a:lnTo>
                  <a:lnTo>
                    <a:pt x="6184" y="4953"/>
                  </a:lnTo>
                  <a:lnTo>
                    <a:pt x="6477" y="5041"/>
                  </a:lnTo>
                  <a:lnTo>
                    <a:pt x="6769" y="5118"/>
                  </a:lnTo>
                  <a:lnTo>
                    <a:pt x="7035" y="5207"/>
                  </a:lnTo>
                  <a:lnTo>
                    <a:pt x="8585" y="1993"/>
                  </a:lnTo>
                  <a:lnTo>
                    <a:pt x="9385" y="393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6" name="object 368">
              <a:extLst>
                <a:ext uri="{FF2B5EF4-FFF2-40B4-BE49-F238E27FC236}">
                  <a16:creationId xmlns:a16="http://schemas.microsoft.com/office/drawing/2014/main" id="{E841EA05-3F16-4F4B-A136-09574EBDBD45}"/>
                </a:ext>
              </a:extLst>
            </p:cNvPr>
            <p:cNvSpPr/>
            <p:nvPr/>
          </p:nvSpPr>
          <p:spPr>
            <a:xfrm>
              <a:off x="7887423" y="6241901"/>
              <a:ext cx="9525" cy="19050"/>
            </a:xfrm>
            <a:custGeom>
              <a:avLst/>
              <a:gdLst/>
              <a:ahLst/>
              <a:cxnLst/>
              <a:rect l="l" t="t" r="r" b="b"/>
              <a:pathLst>
                <a:path w="9525" h="19050">
                  <a:moveTo>
                    <a:pt x="2946" y="13982"/>
                  </a:moveTo>
                  <a:lnTo>
                    <a:pt x="2095" y="13804"/>
                  </a:lnTo>
                  <a:lnTo>
                    <a:pt x="685" y="17068"/>
                  </a:lnTo>
                  <a:lnTo>
                    <a:pt x="0" y="18719"/>
                  </a:lnTo>
                  <a:lnTo>
                    <a:pt x="825" y="18897"/>
                  </a:lnTo>
                  <a:lnTo>
                    <a:pt x="1511" y="17246"/>
                  </a:lnTo>
                  <a:lnTo>
                    <a:pt x="2946" y="13982"/>
                  </a:lnTo>
                  <a:close/>
                </a:path>
                <a:path w="9525" h="19050">
                  <a:moveTo>
                    <a:pt x="9334" y="469"/>
                  </a:moveTo>
                  <a:lnTo>
                    <a:pt x="9093" y="304"/>
                  </a:lnTo>
                  <a:lnTo>
                    <a:pt x="8572" y="0"/>
                  </a:lnTo>
                  <a:lnTo>
                    <a:pt x="7772" y="1600"/>
                  </a:lnTo>
                  <a:lnTo>
                    <a:pt x="6985" y="3200"/>
                  </a:lnTo>
                  <a:lnTo>
                    <a:pt x="6210" y="4813"/>
                  </a:lnTo>
                  <a:lnTo>
                    <a:pt x="6781" y="5003"/>
                  </a:lnTo>
                  <a:lnTo>
                    <a:pt x="7048" y="5105"/>
                  </a:lnTo>
                  <a:lnTo>
                    <a:pt x="7797" y="3543"/>
                  </a:lnTo>
                  <a:lnTo>
                    <a:pt x="8559" y="2006"/>
                  </a:lnTo>
                  <a:lnTo>
                    <a:pt x="9334" y="469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7" name="object 369">
              <a:extLst>
                <a:ext uri="{FF2B5EF4-FFF2-40B4-BE49-F238E27FC236}">
                  <a16:creationId xmlns:a16="http://schemas.microsoft.com/office/drawing/2014/main" id="{2999A423-5B25-4BEF-AEB4-F58F9C264447}"/>
                </a:ext>
              </a:extLst>
            </p:cNvPr>
            <p:cNvSpPr/>
            <p:nvPr/>
          </p:nvSpPr>
          <p:spPr>
            <a:xfrm>
              <a:off x="7888249" y="6242371"/>
              <a:ext cx="9525" cy="19050"/>
            </a:xfrm>
            <a:custGeom>
              <a:avLst/>
              <a:gdLst/>
              <a:ahLst/>
              <a:cxnLst/>
              <a:rect l="l" t="t" r="r" b="b"/>
              <a:pathLst>
                <a:path w="9525" h="19050">
                  <a:moveTo>
                    <a:pt x="2971" y="13690"/>
                  </a:moveTo>
                  <a:lnTo>
                    <a:pt x="2120" y="13512"/>
                  </a:lnTo>
                  <a:lnTo>
                    <a:pt x="1397" y="15138"/>
                  </a:lnTo>
                  <a:lnTo>
                    <a:pt x="0" y="18415"/>
                  </a:lnTo>
                  <a:lnTo>
                    <a:pt x="825" y="18592"/>
                  </a:lnTo>
                  <a:lnTo>
                    <a:pt x="1524" y="16954"/>
                  </a:lnTo>
                  <a:lnTo>
                    <a:pt x="2235" y="15328"/>
                  </a:lnTo>
                  <a:lnTo>
                    <a:pt x="2971" y="13690"/>
                  </a:lnTo>
                  <a:close/>
                </a:path>
                <a:path w="9525" h="19050">
                  <a:moveTo>
                    <a:pt x="9245" y="533"/>
                  </a:moveTo>
                  <a:lnTo>
                    <a:pt x="9004" y="342"/>
                  </a:lnTo>
                  <a:lnTo>
                    <a:pt x="8763" y="165"/>
                  </a:lnTo>
                  <a:lnTo>
                    <a:pt x="8509" y="0"/>
                  </a:lnTo>
                  <a:lnTo>
                    <a:pt x="7734" y="1536"/>
                  </a:lnTo>
                  <a:lnTo>
                    <a:pt x="6972" y="3086"/>
                  </a:lnTo>
                  <a:lnTo>
                    <a:pt x="6223" y="4648"/>
                  </a:lnTo>
                  <a:lnTo>
                    <a:pt x="6781" y="4851"/>
                  </a:lnTo>
                  <a:lnTo>
                    <a:pt x="7035" y="4965"/>
                  </a:lnTo>
                  <a:lnTo>
                    <a:pt x="7759" y="3479"/>
                  </a:lnTo>
                  <a:lnTo>
                    <a:pt x="8496" y="2006"/>
                  </a:lnTo>
                  <a:lnTo>
                    <a:pt x="9245" y="533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8" name="object 370">
              <a:extLst>
                <a:ext uri="{FF2B5EF4-FFF2-40B4-BE49-F238E27FC236}">
                  <a16:creationId xmlns:a16="http://schemas.microsoft.com/office/drawing/2014/main" id="{CC76B15D-3D03-4F12-BE20-104335C138B0}"/>
                </a:ext>
              </a:extLst>
            </p:cNvPr>
            <p:cNvSpPr/>
            <p:nvPr/>
          </p:nvSpPr>
          <p:spPr>
            <a:xfrm>
              <a:off x="7889075" y="6242904"/>
              <a:ext cx="9525" cy="18415"/>
            </a:xfrm>
            <a:custGeom>
              <a:avLst/>
              <a:gdLst/>
              <a:ahLst/>
              <a:cxnLst/>
              <a:rect l="l" t="t" r="r" b="b"/>
              <a:pathLst>
                <a:path w="9525" h="18415">
                  <a:moveTo>
                    <a:pt x="2997" y="13347"/>
                  </a:moveTo>
                  <a:lnTo>
                    <a:pt x="2146" y="13157"/>
                  </a:lnTo>
                  <a:lnTo>
                    <a:pt x="698" y="16421"/>
                  </a:lnTo>
                  <a:lnTo>
                    <a:pt x="0" y="18059"/>
                  </a:lnTo>
                  <a:lnTo>
                    <a:pt x="838" y="18237"/>
                  </a:lnTo>
                  <a:lnTo>
                    <a:pt x="2260" y="14960"/>
                  </a:lnTo>
                  <a:lnTo>
                    <a:pt x="2997" y="13347"/>
                  </a:lnTo>
                  <a:close/>
                </a:path>
                <a:path w="9525" h="18415">
                  <a:moveTo>
                    <a:pt x="9131" y="584"/>
                  </a:moveTo>
                  <a:lnTo>
                    <a:pt x="8674" y="177"/>
                  </a:lnTo>
                  <a:lnTo>
                    <a:pt x="8432" y="0"/>
                  </a:lnTo>
                  <a:lnTo>
                    <a:pt x="7683" y="1460"/>
                  </a:lnTo>
                  <a:lnTo>
                    <a:pt x="6946" y="2946"/>
                  </a:lnTo>
                  <a:lnTo>
                    <a:pt x="6223" y="4432"/>
                  </a:lnTo>
                  <a:lnTo>
                    <a:pt x="6502" y="4546"/>
                  </a:lnTo>
                  <a:lnTo>
                    <a:pt x="7023" y="4800"/>
                  </a:lnTo>
                  <a:lnTo>
                    <a:pt x="8420" y="1981"/>
                  </a:lnTo>
                  <a:lnTo>
                    <a:pt x="9131" y="584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79" name="object 371">
              <a:extLst>
                <a:ext uri="{FF2B5EF4-FFF2-40B4-BE49-F238E27FC236}">
                  <a16:creationId xmlns:a16="http://schemas.microsoft.com/office/drawing/2014/main" id="{88588CD5-AAB8-4ADD-B4A2-9AD5C5A2BB97}"/>
                </a:ext>
              </a:extLst>
            </p:cNvPr>
            <p:cNvSpPr/>
            <p:nvPr/>
          </p:nvSpPr>
          <p:spPr>
            <a:xfrm>
              <a:off x="7889913" y="6243501"/>
              <a:ext cx="9525" cy="18415"/>
            </a:xfrm>
            <a:custGeom>
              <a:avLst/>
              <a:gdLst/>
              <a:ahLst/>
              <a:cxnLst/>
              <a:rect l="l" t="t" r="r" b="b"/>
              <a:pathLst>
                <a:path w="9525" h="18415">
                  <a:moveTo>
                    <a:pt x="3009" y="12928"/>
                  </a:moveTo>
                  <a:lnTo>
                    <a:pt x="2159" y="12750"/>
                  </a:lnTo>
                  <a:lnTo>
                    <a:pt x="1422" y="14376"/>
                  </a:lnTo>
                  <a:lnTo>
                    <a:pt x="698" y="16002"/>
                  </a:lnTo>
                  <a:lnTo>
                    <a:pt x="0" y="17653"/>
                  </a:lnTo>
                  <a:lnTo>
                    <a:pt x="825" y="17830"/>
                  </a:lnTo>
                  <a:lnTo>
                    <a:pt x="1536" y="16192"/>
                  </a:lnTo>
                  <a:lnTo>
                    <a:pt x="3009" y="12928"/>
                  </a:lnTo>
                  <a:close/>
                </a:path>
                <a:path w="9525" h="18415">
                  <a:moveTo>
                    <a:pt x="8953" y="660"/>
                  </a:moveTo>
                  <a:lnTo>
                    <a:pt x="8521" y="203"/>
                  </a:lnTo>
                  <a:lnTo>
                    <a:pt x="8293" y="0"/>
                  </a:lnTo>
                  <a:lnTo>
                    <a:pt x="6870" y="2794"/>
                  </a:lnTo>
                  <a:lnTo>
                    <a:pt x="6184" y="4203"/>
                  </a:lnTo>
                  <a:lnTo>
                    <a:pt x="6718" y="4483"/>
                  </a:lnTo>
                  <a:lnTo>
                    <a:pt x="6959" y="4622"/>
                  </a:lnTo>
                  <a:lnTo>
                    <a:pt x="7607" y="3302"/>
                  </a:lnTo>
                  <a:lnTo>
                    <a:pt x="8953" y="66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0" name="object 372">
              <a:extLst>
                <a:ext uri="{FF2B5EF4-FFF2-40B4-BE49-F238E27FC236}">
                  <a16:creationId xmlns:a16="http://schemas.microsoft.com/office/drawing/2014/main" id="{59AF2C69-E0D9-4CBC-8781-62F22E830E47}"/>
                </a:ext>
              </a:extLst>
            </p:cNvPr>
            <p:cNvSpPr/>
            <p:nvPr/>
          </p:nvSpPr>
          <p:spPr>
            <a:xfrm>
              <a:off x="7890739" y="6244161"/>
              <a:ext cx="8890" cy="17780"/>
            </a:xfrm>
            <a:custGeom>
              <a:avLst/>
              <a:gdLst/>
              <a:ahLst/>
              <a:cxnLst/>
              <a:rect l="l" t="t" r="r" b="b"/>
              <a:pathLst>
                <a:path w="8890" h="17779">
                  <a:moveTo>
                    <a:pt x="3048" y="12446"/>
                  </a:moveTo>
                  <a:lnTo>
                    <a:pt x="2184" y="12268"/>
                  </a:lnTo>
                  <a:lnTo>
                    <a:pt x="711" y="15519"/>
                  </a:lnTo>
                  <a:lnTo>
                    <a:pt x="0" y="17157"/>
                  </a:lnTo>
                  <a:lnTo>
                    <a:pt x="838" y="17335"/>
                  </a:lnTo>
                  <a:lnTo>
                    <a:pt x="2298" y="14071"/>
                  </a:lnTo>
                  <a:lnTo>
                    <a:pt x="3048" y="12446"/>
                  </a:lnTo>
                  <a:close/>
                </a:path>
                <a:path w="8890" h="17779">
                  <a:moveTo>
                    <a:pt x="8750" y="749"/>
                  </a:moveTo>
                  <a:lnTo>
                    <a:pt x="8559" y="495"/>
                  </a:lnTo>
                  <a:lnTo>
                    <a:pt x="8128" y="0"/>
                  </a:lnTo>
                  <a:lnTo>
                    <a:pt x="7454" y="1308"/>
                  </a:lnTo>
                  <a:lnTo>
                    <a:pt x="6134" y="3962"/>
                  </a:lnTo>
                  <a:lnTo>
                    <a:pt x="6400" y="4114"/>
                  </a:lnTo>
                  <a:lnTo>
                    <a:pt x="6654" y="4279"/>
                  </a:lnTo>
                  <a:lnTo>
                    <a:pt x="6883" y="4445"/>
                  </a:lnTo>
                  <a:lnTo>
                    <a:pt x="8750" y="749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1" name="object 373">
              <a:extLst>
                <a:ext uri="{FF2B5EF4-FFF2-40B4-BE49-F238E27FC236}">
                  <a16:creationId xmlns:a16="http://schemas.microsoft.com/office/drawing/2014/main" id="{0E540EEC-1089-4194-8912-E42A3A193DD5}"/>
                </a:ext>
              </a:extLst>
            </p:cNvPr>
            <p:cNvSpPr/>
            <p:nvPr/>
          </p:nvSpPr>
          <p:spPr>
            <a:xfrm>
              <a:off x="7891577" y="6244923"/>
              <a:ext cx="8890" cy="17145"/>
            </a:xfrm>
            <a:custGeom>
              <a:avLst/>
              <a:gdLst/>
              <a:ahLst/>
              <a:cxnLst/>
              <a:rect l="l" t="t" r="r" b="b"/>
              <a:pathLst>
                <a:path w="8890" h="17145">
                  <a:moveTo>
                    <a:pt x="3073" y="11887"/>
                  </a:moveTo>
                  <a:lnTo>
                    <a:pt x="2209" y="11696"/>
                  </a:lnTo>
                  <a:lnTo>
                    <a:pt x="1460" y="13322"/>
                  </a:lnTo>
                  <a:lnTo>
                    <a:pt x="723" y="14947"/>
                  </a:lnTo>
                  <a:lnTo>
                    <a:pt x="0" y="16586"/>
                  </a:lnTo>
                  <a:lnTo>
                    <a:pt x="850" y="16764"/>
                  </a:lnTo>
                  <a:lnTo>
                    <a:pt x="2311" y="13500"/>
                  </a:lnTo>
                  <a:lnTo>
                    <a:pt x="3073" y="11887"/>
                  </a:lnTo>
                  <a:close/>
                </a:path>
                <a:path w="8890" h="17145">
                  <a:moveTo>
                    <a:pt x="8483" y="825"/>
                  </a:moveTo>
                  <a:lnTo>
                    <a:pt x="8305" y="546"/>
                  </a:lnTo>
                  <a:lnTo>
                    <a:pt x="8115" y="266"/>
                  </a:lnTo>
                  <a:lnTo>
                    <a:pt x="7912" y="0"/>
                  </a:lnTo>
                  <a:lnTo>
                    <a:pt x="7277" y="1219"/>
                  </a:lnTo>
                  <a:lnTo>
                    <a:pt x="6032" y="3695"/>
                  </a:lnTo>
                  <a:lnTo>
                    <a:pt x="6299" y="3873"/>
                  </a:lnTo>
                  <a:lnTo>
                    <a:pt x="6743" y="4254"/>
                  </a:lnTo>
                  <a:lnTo>
                    <a:pt x="7315" y="3111"/>
                  </a:lnTo>
                  <a:lnTo>
                    <a:pt x="8483" y="825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2" name="object 374">
              <a:extLst>
                <a:ext uri="{FF2B5EF4-FFF2-40B4-BE49-F238E27FC236}">
                  <a16:creationId xmlns:a16="http://schemas.microsoft.com/office/drawing/2014/main" id="{5CCA9023-E2FD-4D4F-B469-AC068D28A916}"/>
                </a:ext>
              </a:extLst>
            </p:cNvPr>
            <p:cNvSpPr/>
            <p:nvPr/>
          </p:nvSpPr>
          <p:spPr>
            <a:xfrm>
              <a:off x="7892415" y="6245762"/>
              <a:ext cx="8255" cy="16510"/>
            </a:xfrm>
            <a:custGeom>
              <a:avLst/>
              <a:gdLst/>
              <a:ahLst/>
              <a:cxnLst/>
              <a:rect l="l" t="t" r="r" b="b"/>
              <a:pathLst>
                <a:path w="8254" h="16509">
                  <a:moveTo>
                    <a:pt x="3086" y="11226"/>
                  </a:moveTo>
                  <a:lnTo>
                    <a:pt x="2222" y="11049"/>
                  </a:lnTo>
                  <a:lnTo>
                    <a:pt x="1460" y="12661"/>
                  </a:lnTo>
                  <a:lnTo>
                    <a:pt x="0" y="15925"/>
                  </a:lnTo>
                  <a:lnTo>
                    <a:pt x="850" y="16116"/>
                  </a:lnTo>
                  <a:lnTo>
                    <a:pt x="1574" y="14490"/>
                  </a:lnTo>
                  <a:lnTo>
                    <a:pt x="2324" y="12852"/>
                  </a:lnTo>
                  <a:lnTo>
                    <a:pt x="3086" y="11226"/>
                  </a:lnTo>
                  <a:close/>
                </a:path>
                <a:path w="8254" h="16509">
                  <a:moveTo>
                    <a:pt x="8191" y="927"/>
                  </a:moveTo>
                  <a:lnTo>
                    <a:pt x="8026" y="609"/>
                  </a:lnTo>
                  <a:lnTo>
                    <a:pt x="7848" y="292"/>
                  </a:lnTo>
                  <a:lnTo>
                    <a:pt x="7658" y="0"/>
                  </a:lnTo>
                  <a:lnTo>
                    <a:pt x="6489" y="2273"/>
                  </a:lnTo>
                  <a:lnTo>
                    <a:pt x="5918" y="3416"/>
                  </a:lnTo>
                  <a:lnTo>
                    <a:pt x="6159" y="3644"/>
                  </a:lnTo>
                  <a:lnTo>
                    <a:pt x="6375" y="3873"/>
                  </a:lnTo>
                  <a:lnTo>
                    <a:pt x="6565" y="4102"/>
                  </a:lnTo>
                  <a:lnTo>
                    <a:pt x="7099" y="3035"/>
                  </a:lnTo>
                  <a:lnTo>
                    <a:pt x="8191" y="927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3" name="object 375">
              <a:extLst>
                <a:ext uri="{FF2B5EF4-FFF2-40B4-BE49-F238E27FC236}">
                  <a16:creationId xmlns:a16="http://schemas.microsoft.com/office/drawing/2014/main" id="{8388B429-9003-46B7-835D-94CCB63623EC}"/>
                </a:ext>
              </a:extLst>
            </p:cNvPr>
            <p:cNvSpPr/>
            <p:nvPr/>
          </p:nvSpPr>
          <p:spPr>
            <a:xfrm>
              <a:off x="7893266" y="6246676"/>
              <a:ext cx="8255" cy="15875"/>
            </a:xfrm>
            <a:custGeom>
              <a:avLst/>
              <a:gdLst/>
              <a:ahLst/>
              <a:cxnLst/>
              <a:rect l="l" t="t" r="r" b="b"/>
              <a:pathLst>
                <a:path w="8254" h="15875">
                  <a:moveTo>
                    <a:pt x="3111" y="10502"/>
                  </a:moveTo>
                  <a:lnTo>
                    <a:pt x="2235" y="10312"/>
                  </a:lnTo>
                  <a:lnTo>
                    <a:pt x="1473" y="11938"/>
                  </a:lnTo>
                  <a:lnTo>
                    <a:pt x="723" y="13563"/>
                  </a:lnTo>
                  <a:lnTo>
                    <a:pt x="0" y="15189"/>
                  </a:lnTo>
                  <a:lnTo>
                    <a:pt x="838" y="15379"/>
                  </a:lnTo>
                  <a:lnTo>
                    <a:pt x="1574" y="13741"/>
                  </a:lnTo>
                  <a:lnTo>
                    <a:pt x="2336" y="12115"/>
                  </a:lnTo>
                  <a:lnTo>
                    <a:pt x="3111" y="10502"/>
                  </a:lnTo>
                  <a:close/>
                </a:path>
                <a:path w="8254" h="15875">
                  <a:moveTo>
                    <a:pt x="7785" y="1066"/>
                  </a:moveTo>
                  <a:lnTo>
                    <a:pt x="7505" y="355"/>
                  </a:lnTo>
                  <a:lnTo>
                    <a:pt x="7327" y="0"/>
                  </a:lnTo>
                  <a:lnTo>
                    <a:pt x="6781" y="1054"/>
                  </a:lnTo>
                  <a:lnTo>
                    <a:pt x="5715" y="3175"/>
                  </a:lnTo>
                  <a:lnTo>
                    <a:pt x="5930" y="3441"/>
                  </a:lnTo>
                  <a:lnTo>
                    <a:pt x="6121" y="3733"/>
                  </a:lnTo>
                  <a:lnTo>
                    <a:pt x="6286" y="4013"/>
                  </a:lnTo>
                  <a:lnTo>
                    <a:pt x="6781" y="3022"/>
                  </a:lnTo>
                  <a:lnTo>
                    <a:pt x="7785" y="1066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4" name="object 376">
              <a:extLst>
                <a:ext uri="{FF2B5EF4-FFF2-40B4-BE49-F238E27FC236}">
                  <a16:creationId xmlns:a16="http://schemas.microsoft.com/office/drawing/2014/main" id="{2D06F948-6A78-4E95-8E0F-39933CE01FDD}"/>
                </a:ext>
              </a:extLst>
            </p:cNvPr>
            <p:cNvSpPr/>
            <p:nvPr/>
          </p:nvSpPr>
          <p:spPr>
            <a:xfrm>
              <a:off x="7894104" y="6247743"/>
              <a:ext cx="7620" cy="14604"/>
            </a:xfrm>
            <a:custGeom>
              <a:avLst/>
              <a:gdLst/>
              <a:ahLst/>
              <a:cxnLst/>
              <a:rect l="l" t="t" r="r" b="b"/>
              <a:pathLst>
                <a:path w="7620" h="14604">
                  <a:moveTo>
                    <a:pt x="3149" y="9613"/>
                  </a:moveTo>
                  <a:lnTo>
                    <a:pt x="2273" y="9436"/>
                  </a:lnTo>
                  <a:lnTo>
                    <a:pt x="1498" y="11049"/>
                  </a:lnTo>
                  <a:lnTo>
                    <a:pt x="0" y="14312"/>
                  </a:lnTo>
                  <a:lnTo>
                    <a:pt x="863" y="14490"/>
                  </a:lnTo>
                  <a:lnTo>
                    <a:pt x="2374" y="11226"/>
                  </a:lnTo>
                  <a:lnTo>
                    <a:pt x="3149" y="9613"/>
                  </a:lnTo>
                  <a:close/>
                </a:path>
                <a:path w="7620" h="14604">
                  <a:moveTo>
                    <a:pt x="7327" y="1231"/>
                  </a:moveTo>
                  <a:lnTo>
                    <a:pt x="7226" y="825"/>
                  </a:lnTo>
                  <a:lnTo>
                    <a:pt x="7099" y="406"/>
                  </a:lnTo>
                  <a:lnTo>
                    <a:pt x="6946" y="0"/>
                  </a:lnTo>
                  <a:lnTo>
                    <a:pt x="5943" y="1955"/>
                  </a:lnTo>
                  <a:lnTo>
                    <a:pt x="5448" y="2946"/>
                  </a:lnTo>
                  <a:lnTo>
                    <a:pt x="5638" y="3302"/>
                  </a:lnTo>
                  <a:lnTo>
                    <a:pt x="5791" y="3657"/>
                  </a:lnTo>
                  <a:lnTo>
                    <a:pt x="5892" y="4038"/>
                  </a:lnTo>
                  <a:lnTo>
                    <a:pt x="6362" y="3098"/>
                  </a:lnTo>
                  <a:lnTo>
                    <a:pt x="7327" y="1231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5" name="object 377">
              <a:extLst>
                <a:ext uri="{FF2B5EF4-FFF2-40B4-BE49-F238E27FC236}">
                  <a16:creationId xmlns:a16="http://schemas.microsoft.com/office/drawing/2014/main" id="{76FF2191-B18D-432B-9B85-59AED793FE77}"/>
                </a:ext>
              </a:extLst>
            </p:cNvPr>
            <p:cNvSpPr/>
            <p:nvPr/>
          </p:nvSpPr>
          <p:spPr>
            <a:xfrm>
              <a:off x="7894967" y="6248987"/>
              <a:ext cx="6985" cy="13970"/>
            </a:xfrm>
            <a:custGeom>
              <a:avLst/>
              <a:gdLst/>
              <a:ahLst/>
              <a:cxnLst/>
              <a:rect l="l" t="t" r="r" b="b"/>
              <a:pathLst>
                <a:path w="6984" h="13970">
                  <a:moveTo>
                    <a:pt x="3200" y="8483"/>
                  </a:moveTo>
                  <a:lnTo>
                    <a:pt x="2933" y="8483"/>
                  </a:lnTo>
                  <a:lnTo>
                    <a:pt x="2286" y="8369"/>
                  </a:lnTo>
                  <a:lnTo>
                    <a:pt x="1511" y="9994"/>
                  </a:lnTo>
                  <a:lnTo>
                    <a:pt x="749" y="11620"/>
                  </a:lnTo>
                  <a:lnTo>
                    <a:pt x="0" y="13246"/>
                  </a:lnTo>
                  <a:lnTo>
                    <a:pt x="723" y="13398"/>
                  </a:lnTo>
                  <a:lnTo>
                    <a:pt x="850" y="13436"/>
                  </a:lnTo>
                  <a:lnTo>
                    <a:pt x="1625" y="11785"/>
                  </a:lnTo>
                  <a:lnTo>
                    <a:pt x="3200" y="8483"/>
                  </a:lnTo>
                  <a:close/>
                </a:path>
                <a:path w="6984" h="13970">
                  <a:moveTo>
                    <a:pt x="6705" y="1485"/>
                  </a:moveTo>
                  <a:lnTo>
                    <a:pt x="6654" y="990"/>
                  </a:lnTo>
                  <a:lnTo>
                    <a:pt x="6578" y="495"/>
                  </a:lnTo>
                  <a:lnTo>
                    <a:pt x="6527" y="241"/>
                  </a:lnTo>
                  <a:lnTo>
                    <a:pt x="6464" y="0"/>
                  </a:lnTo>
                  <a:lnTo>
                    <a:pt x="5499" y="1854"/>
                  </a:lnTo>
                  <a:lnTo>
                    <a:pt x="5029" y="2794"/>
                  </a:lnTo>
                  <a:lnTo>
                    <a:pt x="5168" y="3302"/>
                  </a:lnTo>
                  <a:lnTo>
                    <a:pt x="5232" y="3822"/>
                  </a:lnTo>
                  <a:lnTo>
                    <a:pt x="5232" y="4368"/>
                  </a:lnTo>
                  <a:lnTo>
                    <a:pt x="5715" y="3403"/>
                  </a:lnTo>
                  <a:lnTo>
                    <a:pt x="6705" y="1485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6" name="object 378">
              <a:extLst>
                <a:ext uri="{FF2B5EF4-FFF2-40B4-BE49-F238E27FC236}">
                  <a16:creationId xmlns:a16="http://schemas.microsoft.com/office/drawing/2014/main" id="{8DE140B0-6C5B-442A-BE23-6986ED3AA030}"/>
                </a:ext>
              </a:extLst>
            </p:cNvPr>
            <p:cNvSpPr/>
            <p:nvPr/>
          </p:nvSpPr>
          <p:spPr>
            <a:xfrm>
              <a:off x="7895818" y="6250473"/>
              <a:ext cx="6350" cy="12700"/>
            </a:xfrm>
            <a:custGeom>
              <a:avLst/>
              <a:gdLst/>
              <a:ahLst/>
              <a:cxnLst/>
              <a:rect l="l" t="t" r="r" b="b"/>
              <a:pathLst>
                <a:path w="6350" h="12700">
                  <a:moveTo>
                    <a:pt x="3302" y="7010"/>
                  </a:moveTo>
                  <a:lnTo>
                    <a:pt x="2349" y="6997"/>
                  </a:lnTo>
                  <a:lnTo>
                    <a:pt x="762" y="10299"/>
                  </a:lnTo>
                  <a:lnTo>
                    <a:pt x="0" y="11963"/>
                  </a:lnTo>
                  <a:lnTo>
                    <a:pt x="584" y="12115"/>
                  </a:lnTo>
                  <a:lnTo>
                    <a:pt x="812" y="12217"/>
                  </a:lnTo>
                  <a:lnTo>
                    <a:pt x="1993" y="9690"/>
                  </a:lnTo>
                  <a:lnTo>
                    <a:pt x="3302" y="7010"/>
                  </a:lnTo>
                  <a:close/>
                </a:path>
                <a:path w="6350" h="12700">
                  <a:moveTo>
                    <a:pt x="3937" y="5765"/>
                  </a:moveTo>
                  <a:lnTo>
                    <a:pt x="3314" y="6997"/>
                  </a:lnTo>
                  <a:lnTo>
                    <a:pt x="3771" y="6477"/>
                  </a:lnTo>
                  <a:lnTo>
                    <a:pt x="3937" y="5765"/>
                  </a:lnTo>
                  <a:close/>
                </a:path>
                <a:path w="6350" h="12700">
                  <a:moveTo>
                    <a:pt x="5905" y="647"/>
                  </a:moveTo>
                  <a:lnTo>
                    <a:pt x="5842" y="0"/>
                  </a:lnTo>
                  <a:lnTo>
                    <a:pt x="5359" y="965"/>
                  </a:lnTo>
                  <a:lnTo>
                    <a:pt x="4864" y="1917"/>
                  </a:lnTo>
                  <a:lnTo>
                    <a:pt x="4381" y="2882"/>
                  </a:lnTo>
                  <a:lnTo>
                    <a:pt x="4381" y="3454"/>
                  </a:lnTo>
                  <a:lnTo>
                    <a:pt x="4305" y="4025"/>
                  </a:lnTo>
                  <a:lnTo>
                    <a:pt x="4178" y="4610"/>
                  </a:lnTo>
                  <a:lnTo>
                    <a:pt x="3937" y="5765"/>
                  </a:lnTo>
                  <a:lnTo>
                    <a:pt x="4470" y="4686"/>
                  </a:lnTo>
                  <a:lnTo>
                    <a:pt x="5384" y="2857"/>
                  </a:lnTo>
                  <a:lnTo>
                    <a:pt x="5854" y="1955"/>
                  </a:lnTo>
                  <a:lnTo>
                    <a:pt x="5905" y="1295"/>
                  </a:lnTo>
                  <a:lnTo>
                    <a:pt x="5905" y="647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7" name="object 379">
              <a:extLst>
                <a:ext uri="{FF2B5EF4-FFF2-40B4-BE49-F238E27FC236}">
                  <a16:creationId xmlns:a16="http://schemas.microsoft.com/office/drawing/2014/main" id="{57691CB5-7FEC-45E5-B1AC-E134CEADF340}"/>
                </a:ext>
              </a:extLst>
            </p:cNvPr>
            <p:cNvSpPr/>
            <p:nvPr/>
          </p:nvSpPr>
          <p:spPr>
            <a:xfrm>
              <a:off x="7896644" y="6252416"/>
              <a:ext cx="5080" cy="10795"/>
            </a:xfrm>
            <a:custGeom>
              <a:avLst/>
              <a:gdLst/>
              <a:ahLst/>
              <a:cxnLst/>
              <a:rect l="l" t="t" r="r" b="b"/>
              <a:pathLst>
                <a:path w="5079" h="10795">
                  <a:moveTo>
                    <a:pt x="4533" y="2959"/>
                  </a:moveTo>
                  <a:lnTo>
                    <a:pt x="3644" y="2743"/>
                  </a:lnTo>
                  <a:lnTo>
                    <a:pt x="2387" y="5245"/>
                  </a:lnTo>
                  <a:lnTo>
                    <a:pt x="1168" y="7747"/>
                  </a:lnTo>
                  <a:lnTo>
                    <a:pt x="0" y="10274"/>
                  </a:lnTo>
                  <a:lnTo>
                    <a:pt x="292" y="10401"/>
                  </a:lnTo>
                  <a:lnTo>
                    <a:pt x="533" y="10541"/>
                  </a:lnTo>
                  <a:lnTo>
                    <a:pt x="736" y="10718"/>
                  </a:lnTo>
                  <a:lnTo>
                    <a:pt x="1968" y="8115"/>
                  </a:lnTo>
                  <a:lnTo>
                    <a:pt x="3225" y="5524"/>
                  </a:lnTo>
                  <a:lnTo>
                    <a:pt x="4533" y="2959"/>
                  </a:lnTo>
                  <a:close/>
                </a:path>
                <a:path w="5079" h="10795">
                  <a:moveTo>
                    <a:pt x="5029" y="0"/>
                  </a:moveTo>
                  <a:lnTo>
                    <a:pt x="4102" y="1816"/>
                  </a:lnTo>
                  <a:lnTo>
                    <a:pt x="3644" y="2730"/>
                  </a:lnTo>
                  <a:lnTo>
                    <a:pt x="4533" y="2946"/>
                  </a:lnTo>
                  <a:lnTo>
                    <a:pt x="4597" y="2819"/>
                  </a:lnTo>
                  <a:lnTo>
                    <a:pt x="4800" y="1854"/>
                  </a:lnTo>
                  <a:lnTo>
                    <a:pt x="4965" y="914"/>
                  </a:lnTo>
                  <a:lnTo>
                    <a:pt x="5029" y="0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8" name="object 380">
              <a:extLst>
                <a:ext uri="{FF2B5EF4-FFF2-40B4-BE49-F238E27FC236}">
                  <a16:creationId xmlns:a16="http://schemas.microsoft.com/office/drawing/2014/main" id="{0EB47F5C-B317-49E9-B750-2EEF4D495801}"/>
                </a:ext>
              </a:extLst>
            </p:cNvPr>
            <p:cNvSpPr/>
            <p:nvPr/>
          </p:nvSpPr>
          <p:spPr>
            <a:xfrm>
              <a:off x="7897393" y="6255274"/>
              <a:ext cx="4445" cy="8890"/>
            </a:xfrm>
            <a:custGeom>
              <a:avLst/>
              <a:gdLst/>
              <a:ahLst/>
              <a:cxnLst/>
              <a:rect l="l" t="t" r="r" b="b"/>
              <a:pathLst>
                <a:path w="4445" h="8890">
                  <a:moveTo>
                    <a:pt x="3835" y="0"/>
                  </a:moveTo>
                  <a:lnTo>
                    <a:pt x="2489" y="2667"/>
                  </a:lnTo>
                  <a:lnTo>
                    <a:pt x="1219" y="5257"/>
                  </a:lnTo>
                  <a:lnTo>
                    <a:pt x="0" y="7861"/>
                  </a:lnTo>
                  <a:lnTo>
                    <a:pt x="266" y="8102"/>
                  </a:lnTo>
                  <a:lnTo>
                    <a:pt x="444" y="8382"/>
                  </a:lnTo>
                  <a:lnTo>
                    <a:pt x="533" y="8737"/>
                  </a:lnTo>
                  <a:lnTo>
                    <a:pt x="1371" y="6959"/>
                  </a:lnTo>
                  <a:lnTo>
                    <a:pt x="3111" y="3416"/>
                  </a:lnTo>
                  <a:lnTo>
                    <a:pt x="3822" y="101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89" name="object 381">
              <a:extLst>
                <a:ext uri="{FF2B5EF4-FFF2-40B4-BE49-F238E27FC236}">
                  <a16:creationId xmlns:a16="http://schemas.microsoft.com/office/drawing/2014/main" id="{7A983483-07F4-482D-87BE-D9C72FD2A9E8}"/>
                </a:ext>
              </a:extLst>
            </p:cNvPr>
            <p:cNvSpPr/>
            <p:nvPr/>
          </p:nvSpPr>
          <p:spPr>
            <a:xfrm>
              <a:off x="7897845" y="6258674"/>
              <a:ext cx="3175" cy="7620"/>
            </a:xfrm>
            <a:custGeom>
              <a:avLst/>
              <a:gdLst/>
              <a:ahLst/>
              <a:cxnLst/>
              <a:rect l="l" t="t" r="r" b="b"/>
              <a:pathLst>
                <a:path w="3175" h="7620">
                  <a:moveTo>
                    <a:pt x="2667" y="0"/>
                  </a:moveTo>
                  <a:lnTo>
                    <a:pt x="927" y="3556"/>
                  </a:lnTo>
                  <a:lnTo>
                    <a:pt x="88" y="5321"/>
                  </a:lnTo>
                  <a:lnTo>
                    <a:pt x="228" y="5842"/>
                  </a:lnTo>
                  <a:lnTo>
                    <a:pt x="190" y="6502"/>
                  </a:lnTo>
                  <a:lnTo>
                    <a:pt x="0" y="7353"/>
                  </a:lnTo>
                  <a:lnTo>
                    <a:pt x="1282" y="4826"/>
                  </a:lnTo>
                  <a:lnTo>
                    <a:pt x="1905" y="3556"/>
                  </a:lnTo>
                  <a:lnTo>
                    <a:pt x="2667" y="0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0" name="object 382">
              <a:extLst>
                <a:ext uri="{FF2B5EF4-FFF2-40B4-BE49-F238E27FC236}">
                  <a16:creationId xmlns:a16="http://schemas.microsoft.com/office/drawing/2014/main" id="{7BD2EDD9-D1D8-4741-9CF1-C8F016D7E78C}"/>
                </a:ext>
              </a:extLst>
            </p:cNvPr>
            <p:cNvSpPr/>
            <p:nvPr/>
          </p:nvSpPr>
          <p:spPr>
            <a:xfrm>
              <a:off x="7897923" y="6262227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1828" y="0"/>
                  </a:moveTo>
                  <a:lnTo>
                    <a:pt x="1206" y="1270"/>
                  </a:lnTo>
                  <a:lnTo>
                    <a:pt x="596" y="2540"/>
                  </a:lnTo>
                  <a:lnTo>
                    <a:pt x="0" y="3810"/>
                  </a:lnTo>
                  <a:lnTo>
                    <a:pt x="863" y="4000"/>
                  </a:lnTo>
                  <a:lnTo>
                    <a:pt x="1041" y="3632"/>
                  </a:lnTo>
                  <a:lnTo>
                    <a:pt x="1828" y="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1" name="object 383">
              <a:extLst>
                <a:ext uri="{FF2B5EF4-FFF2-40B4-BE49-F238E27FC236}">
                  <a16:creationId xmlns:a16="http://schemas.microsoft.com/office/drawing/2014/main" id="{D6B07869-0FE8-4C5A-A7E8-8015F6BE9784}"/>
                </a:ext>
              </a:extLst>
            </p:cNvPr>
            <p:cNvSpPr/>
            <p:nvPr/>
          </p:nvSpPr>
          <p:spPr>
            <a:xfrm>
              <a:off x="7898787" y="6265853"/>
              <a:ext cx="635" cy="635"/>
            </a:xfrm>
            <a:custGeom>
              <a:avLst/>
              <a:gdLst/>
              <a:ahLst/>
              <a:cxnLst/>
              <a:rect l="l" t="t" r="r" b="b"/>
              <a:pathLst>
                <a:path w="634" h="634">
                  <a:moveTo>
                    <a:pt x="177" y="0"/>
                  </a:moveTo>
                  <a:lnTo>
                    <a:pt x="63" y="253"/>
                  </a:lnTo>
                  <a:lnTo>
                    <a:pt x="88" y="393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2" name="object 384">
              <a:extLst>
                <a:ext uri="{FF2B5EF4-FFF2-40B4-BE49-F238E27FC236}">
                  <a16:creationId xmlns:a16="http://schemas.microsoft.com/office/drawing/2014/main" id="{87C70B20-DC84-47D2-B01D-68A5D870DCFF}"/>
                </a:ext>
              </a:extLst>
            </p:cNvPr>
            <p:cNvSpPr/>
            <p:nvPr/>
          </p:nvSpPr>
          <p:spPr>
            <a:xfrm>
              <a:off x="7887000" y="6218294"/>
              <a:ext cx="1905" cy="3810"/>
            </a:xfrm>
            <a:custGeom>
              <a:avLst/>
              <a:gdLst/>
              <a:ahLst/>
              <a:cxnLst/>
              <a:rect l="l" t="t" r="r" b="b"/>
              <a:pathLst>
                <a:path w="1904" h="3809">
                  <a:moveTo>
                    <a:pt x="1333" y="0"/>
                  </a:moveTo>
                  <a:lnTo>
                    <a:pt x="0" y="3581"/>
                  </a:lnTo>
                  <a:lnTo>
                    <a:pt x="584" y="2387"/>
                  </a:lnTo>
                  <a:lnTo>
                    <a:pt x="1778" y="12"/>
                  </a:lnTo>
                  <a:lnTo>
                    <a:pt x="1333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3" name="object 385">
              <a:extLst>
                <a:ext uri="{FF2B5EF4-FFF2-40B4-BE49-F238E27FC236}">
                  <a16:creationId xmlns:a16="http://schemas.microsoft.com/office/drawing/2014/main" id="{D7341ED5-1FAD-4422-B999-349713CF0AA5}"/>
                </a:ext>
              </a:extLst>
            </p:cNvPr>
            <p:cNvSpPr/>
            <p:nvPr/>
          </p:nvSpPr>
          <p:spPr>
            <a:xfrm>
              <a:off x="7881582" y="6218317"/>
              <a:ext cx="9525" cy="18415"/>
            </a:xfrm>
            <a:custGeom>
              <a:avLst/>
              <a:gdLst/>
              <a:ahLst/>
              <a:cxnLst/>
              <a:rect l="l" t="t" r="r" b="b"/>
              <a:pathLst>
                <a:path w="9525" h="18415">
                  <a:moveTo>
                    <a:pt x="9194" y="63"/>
                  </a:moveTo>
                  <a:lnTo>
                    <a:pt x="8178" y="38"/>
                  </a:lnTo>
                  <a:lnTo>
                    <a:pt x="7188" y="0"/>
                  </a:lnTo>
                  <a:lnTo>
                    <a:pt x="5994" y="2362"/>
                  </a:lnTo>
                  <a:lnTo>
                    <a:pt x="5410" y="3568"/>
                  </a:lnTo>
                  <a:lnTo>
                    <a:pt x="1549" y="13919"/>
                  </a:lnTo>
                  <a:lnTo>
                    <a:pt x="0" y="18046"/>
                  </a:lnTo>
                  <a:lnTo>
                    <a:pt x="571" y="18262"/>
                  </a:lnTo>
                  <a:lnTo>
                    <a:pt x="1943" y="15100"/>
                  </a:lnTo>
                  <a:lnTo>
                    <a:pt x="3340" y="11988"/>
                  </a:lnTo>
                  <a:lnTo>
                    <a:pt x="4787" y="8940"/>
                  </a:lnTo>
                  <a:lnTo>
                    <a:pt x="5080" y="8001"/>
                  </a:lnTo>
                  <a:lnTo>
                    <a:pt x="5384" y="7188"/>
                  </a:lnTo>
                  <a:lnTo>
                    <a:pt x="5803" y="6451"/>
                  </a:lnTo>
                  <a:lnTo>
                    <a:pt x="6311" y="5778"/>
                  </a:lnTo>
                  <a:lnTo>
                    <a:pt x="8216" y="1930"/>
                  </a:lnTo>
                  <a:lnTo>
                    <a:pt x="9194" y="63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4" name="object 386">
              <a:extLst>
                <a:ext uri="{FF2B5EF4-FFF2-40B4-BE49-F238E27FC236}">
                  <a16:creationId xmlns:a16="http://schemas.microsoft.com/office/drawing/2014/main" id="{954FAFA7-6F49-4360-B854-4FFB7F44EEF3}"/>
                </a:ext>
              </a:extLst>
            </p:cNvPr>
            <p:cNvSpPr/>
            <p:nvPr/>
          </p:nvSpPr>
          <p:spPr>
            <a:xfrm>
              <a:off x="7882153" y="6218393"/>
              <a:ext cx="10795" cy="18415"/>
            </a:xfrm>
            <a:custGeom>
              <a:avLst/>
              <a:gdLst/>
              <a:ahLst/>
              <a:cxnLst/>
              <a:rect l="l" t="t" r="r" b="b"/>
              <a:pathLst>
                <a:path w="10795" h="18415">
                  <a:moveTo>
                    <a:pt x="5092" y="11125"/>
                  </a:moveTo>
                  <a:lnTo>
                    <a:pt x="4800" y="10960"/>
                  </a:lnTo>
                  <a:lnTo>
                    <a:pt x="4559" y="10782"/>
                  </a:lnTo>
                  <a:lnTo>
                    <a:pt x="4394" y="10553"/>
                  </a:lnTo>
                  <a:lnTo>
                    <a:pt x="4102" y="10160"/>
                  </a:lnTo>
                  <a:lnTo>
                    <a:pt x="4038" y="9652"/>
                  </a:lnTo>
                  <a:lnTo>
                    <a:pt x="4216" y="8864"/>
                  </a:lnTo>
                  <a:lnTo>
                    <a:pt x="3492" y="10414"/>
                  </a:lnTo>
                  <a:lnTo>
                    <a:pt x="3492" y="12471"/>
                  </a:lnTo>
                  <a:lnTo>
                    <a:pt x="2933" y="13703"/>
                  </a:lnTo>
                  <a:lnTo>
                    <a:pt x="3492" y="12471"/>
                  </a:lnTo>
                  <a:lnTo>
                    <a:pt x="3492" y="10414"/>
                  </a:lnTo>
                  <a:lnTo>
                    <a:pt x="2781" y="11912"/>
                  </a:lnTo>
                  <a:lnTo>
                    <a:pt x="1371" y="15011"/>
                  </a:lnTo>
                  <a:lnTo>
                    <a:pt x="0" y="18186"/>
                  </a:lnTo>
                  <a:lnTo>
                    <a:pt x="419" y="18338"/>
                  </a:lnTo>
                  <a:lnTo>
                    <a:pt x="787" y="17335"/>
                  </a:lnTo>
                  <a:lnTo>
                    <a:pt x="1193" y="16700"/>
                  </a:lnTo>
                  <a:lnTo>
                    <a:pt x="1727" y="16370"/>
                  </a:lnTo>
                  <a:lnTo>
                    <a:pt x="2032" y="16192"/>
                  </a:lnTo>
                  <a:lnTo>
                    <a:pt x="2374" y="16116"/>
                  </a:lnTo>
                  <a:lnTo>
                    <a:pt x="2781" y="16129"/>
                  </a:lnTo>
                  <a:lnTo>
                    <a:pt x="3543" y="14439"/>
                  </a:lnTo>
                  <a:lnTo>
                    <a:pt x="4318" y="12763"/>
                  </a:lnTo>
                  <a:lnTo>
                    <a:pt x="5092" y="11125"/>
                  </a:lnTo>
                  <a:close/>
                </a:path>
                <a:path w="10795" h="18415">
                  <a:moveTo>
                    <a:pt x="10655" y="50"/>
                  </a:moveTo>
                  <a:lnTo>
                    <a:pt x="9639" y="25"/>
                  </a:lnTo>
                  <a:lnTo>
                    <a:pt x="8394" y="2425"/>
                  </a:lnTo>
                  <a:lnTo>
                    <a:pt x="9004" y="1219"/>
                  </a:lnTo>
                  <a:lnTo>
                    <a:pt x="9639" y="25"/>
                  </a:lnTo>
                  <a:lnTo>
                    <a:pt x="8623" y="0"/>
                  </a:lnTo>
                  <a:lnTo>
                    <a:pt x="7645" y="1866"/>
                  </a:lnTo>
                  <a:lnTo>
                    <a:pt x="6692" y="3771"/>
                  </a:lnTo>
                  <a:lnTo>
                    <a:pt x="5740" y="5715"/>
                  </a:lnTo>
                  <a:lnTo>
                    <a:pt x="6311" y="4940"/>
                  </a:lnTo>
                  <a:lnTo>
                    <a:pt x="7010" y="4254"/>
                  </a:lnTo>
                  <a:lnTo>
                    <a:pt x="7772" y="3644"/>
                  </a:lnTo>
                  <a:lnTo>
                    <a:pt x="8267" y="3251"/>
                  </a:lnTo>
                  <a:lnTo>
                    <a:pt x="8788" y="2908"/>
                  </a:lnTo>
                  <a:lnTo>
                    <a:pt x="9334" y="2590"/>
                  </a:lnTo>
                  <a:lnTo>
                    <a:pt x="10655" y="5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5" name="object 387">
              <a:extLst>
                <a:ext uri="{FF2B5EF4-FFF2-40B4-BE49-F238E27FC236}">
                  <a16:creationId xmlns:a16="http://schemas.microsoft.com/office/drawing/2014/main" id="{5CB8BACE-D091-451D-A24D-F20EEC8E3B41}"/>
                </a:ext>
              </a:extLst>
            </p:cNvPr>
            <p:cNvSpPr/>
            <p:nvPr/>
          </p:nvSpPr>
          <p:spPr>
            <a:xfrm>
              <a:off x="7884934" y="6218444"/>
              <a:ext cx="8890" cy="16510"/>
            </a:xfrm>
            <a:custGeom>
              <a:avLst/>
              <a:gdLst/>
              <a:ahLst/>
              <a:cxnLst/>
              <a:rect l="l" t="t" r="r" b="b"/>
              <a:pathLst>
                <a:path w="8890" h="16509">
                  <a:moveTo>
                    <a:pt x="3124" y="11417"/>
                  </a:moveTo>
                  <a:lnTo>
                    <a:pt x="2819" y="11303"/>
                  </a:lnTo>
                  <a:lnTo>
                    <a:pt x="2324" y="11061"/>
                  </a:lnTo>
                  <a:lnTo>
                    <a:pt x="1536" y="12712"/>
                  </a:lnTo>
                  <a:lnTo>
                    <a:pt x="762" y="14389"/>
                  </a:lnTo>
                  <a:lnTo>
                    <a:pt x="0" y="16065"/>
                  </a:lnTo>
                  <a:lnTo>
                    <a:pt x="266" y="16078"/>
                  </a:lnTo>
                  <a:lnTo>
                    <a:pt x="558" y="16129"/>
                  </a:lnTo>
                  <a:lnTo>
                    <a:pt x="889" y="16217"/>
                  </a:lnTo>
                  <a:lnTo>
                    <a:pt x="1625" y="14605"/>
                  </a:lnTo>
                  <a:lnTo>
                    <a:pt x="3124" y="11417"/>
                  </a:lnTo>
                  <a:close/>
                </a:path>
                <a:path w="8890" h="16509">
                  <a:moveTo>
                    <a:pt x="8890" y="38"/>
                  </a:moveTo>
                  <a:lnTo>
                    <a:pt x="7874" y="0"/>
                  </a:lnTo>
                  <a:lnTo>
                    <a:pt x="7429" y="838"/>
                  </a:lnTo>
                  <a:lnTo>
                    <a:pt x="6540" y="2540"/>
                  </a:lnTo>
                  <a:lnTo>
                    <a:pt x="6997" y="2273"/>
                  </a:lnTo>
                  <a:lnTo>
                    <a:pt x="7467" y="2032"/>
                  </a:lnTo>
                  <a:lnTo>
                    <a:pt x="7950" y="1816"/>
                  </a:lnTo>
                  <a:lnTo>
                    <a:pt x="8267" y="1219"/>
                  </a:lnTo>
                  <a:lnTo>
                    <a:pt x="8572" y="635"/>
                  </a:lnTo>
                  <a:lnTo>
                    <a:pt x="8890" y="38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6" name="object 388">
              <a:extLst>
                <a:ext uri="{FF2B5EF4-FFF2-40B4-BE49-F238E27FC236}">
                  <a16:creationId xmlns:a16="http://schemas.microsoft.com/office/drawing/2014/main" id="{1053C1CA-B8FB-4C00-ABAA-CE928CFBA3E3}"/>
                </a:ext>
              </a:extLst>
            </p:cNvPr>
            <p:cNvSpPr/>
            <p:nvPr/>
          </p:nvSpPr>
          <p:spPr>
            <a:xfrm>
              <a:off x="7885824" y="6218482"/>
              <a:ext cx="8890" cy="16510"/>
            </a:xfrm>
            <a:custGeom>
              <a:avLst/>
              <a:gdLst/>
              <a:ahLst/>
              <a:cxnLst/>
              <a:rect l="l" t="t" r="r" b="b"/>
              <a:pathLst>
                <a:path w="8890" h="16509">
                  <a:moveTo>
                    <a:pt x="3073" y="11709"/>
                  </a:moveTo>
                  <a:lnTo>
                    <a:pt x="2235" y="11391"/>
                  </a:lnTo>
                  <a:lnTo>
                    <a:pt x="736" y="14579"/>
                  </a:lnTo>
                  <a:lnTo>
                    <a:pt x="0" y="16192"/>
                  </a:lnTo>
                  <a:lnTo>
                    <a:pt x="190" y="16243"/>
                  </a:lnTo>
                  <a:lnTo>
                    <a:pt x="596" y="16383"/>
                  </a:lnTo>
                  <a:lnTo>
                    <a:pt x="825" y="16471"/>
                  </a:lnTo>
                  <a:lnTo>
                    <a:pt x="1562" y="14871"/>
                  </a:lnTo>
                  <a:lnTo>
                    <a:pt x="2311" y="13284"/>
                  </a:lnTo>
                  <a:lnTo>
                    <a:pt x="3073" y="11709"/>
                  </a:lnTo>
                  <a:close/>
                </a:path>
                <a:path w="8890" h="16509">
                  <a:moveTo>
                    <a:pt x="8826" y="431"/>
                  </a:moveTo>
                  <a:lnTo>
                    <a:pt x="8813" y="25"/>
                  </a:lnTo>
                  <a:lnTo>
                    <a:pt x="8013" y="0"/>
                  </a:lnTo>
                  <a:lnTo>
                    <a:pt x="7696" y="584"/>
                  </a:lnTo>
                  <a:lnTo>
                    <a:pt x="7061" y="1778"/>
                  </a:lnTo>
                  <a:lnTo>
                    <a:pt x="7505" y="1587"/>
                  </a:lnTo>
                  <a:lnTo>
                    <a:pt x="7937" y="1409"/>
                  </a:lnTo>
                  <a:lnTo>
                    <a:pt x="8382" y="1257"/>
                  </a:lnTo>
                  <a:lnTo>
                    <a:pt x="8686" y="698"/>
                  </a:lnTo>
                  <a:lnTo>
                    <a:pt x="8826" y="431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7" name="object 389">
              <a:extLst>
                <a:ext uri="{FF2B5EF4-FFF2-40B4-BE49-F238E27FC236}">
                  <a16:creationId xmlns:a16="http://schemas.microsoft.com/office/drawing/2014/main" id="{05514D85-64B1-4B14-8180-29EFC9D83F5D}"/>
                </a:ext>
              </a:extLst>
            </p:cNvPr>
            <p:cNvSpPr/>
            <p:nvPr/>
          </p:nvSpPr>
          <p:spPr>
            <a:xfrm>
              <a:off x="7886649" y="6218914"/>
              <a:ext cx="8255" cy="16510"/>
            </a:xfrm>
            <a:custGeom>
              <a:avLst/>
              <a:gdLst/>
              <a:ahLst/>
              <a:cxnLst/>
              <a:rect l="l" t="t" r="r" b="b"/>
              <a:pathLst>
                <a:path w="8254" h="16509">
                  <a:moveTo>
                    <a:pt x="3073" y="11582"/>
                  </a:moveTo>
                  <a:lnTo>
                    <a:pt x="2235" y="11264"/>
                  </a:lnTo>
                  <a:lnTo>
                    <a:pt x="1473" y="12839"/>
                  </a:lnTo>
                  <a:lnTo>
                    <a:pt x="0" y="16027"/>
                  </a:lnTo>
                  <a:lnTo>
                    <a:pt x="812" y="16332"/>
                  </a:lnTo>
                  <a:lnTo>
                    <a:pt x="1549" y="14732"/>
                  </a:lnTo>
                  <a:lnTo>
                    <a:pt x="2298" y="13144"/>
                  </a:lnTo>
                  <a:lnTo>
                    <a:pt x="3073" y="11582"/>
                  </a:lnTo>
                  <a:close/>
                </a:path>
                <a:path w="8254" h="16509">
                  <a:moveTo>
                    <a:pt x="8026" y="673"/>
                  </a:moveTo>
                  <a:lnTo>
                    <a:pt x="8001" y="0"/>
                  </a:lnTo>
                  <a:lnTo>
                    <a:pt x="7848" y="279"/>
                  </a:lnTo>
                  <a:lnTo>
                    <a:pt x="7708" y="546"/>
                  </a:lnTo>
                  <a:lnTo>
                    <a:pt x="7556" y="825"/>
                  </a:lnTo>
                  <a:lnTo>
                    <a:pt x="7708" y="774"/>
                  </a:lnTo>
                  <a:lnTo>
                    <a:pt x="7874" y="723"/>
                  </a:lnTo>
                  <a:lnTo>
                    <a:pt x="8026" y="673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8" name="object 390">
              <a:extLst>
                <a:ext uri="{FF2B5EF4-FFF2-40B4-BE49-F238E27FC236}">
                  <a16:creationId xmlns:a16="http://schemas.microsoft.com/office/drawing/2014/main" id="{4FC8096B-B4F5-4C00-85AD-6AC9305F68CC}"/>
                </a:ext>
              </a:extLst>
            </p:cNvPr>
            <p:cNvSpPr/>
            <p:nvPr/>
          </p:nvSpPr>
          <p:spPr>
            <a:xfrm>
              <a:off x="7887475" y="6223905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3086" y="6908"/>
                  </a:moveTo>
                  <a:lnTo>
                    <a:pt x="2247" y="6604"/>
                  </a:lnTo>
                  <a:lnTo>
                    <a:pt x="1485" y="8166"/>
                  </a:lnTo>
                  <a:lnTo>
                    <a:pt x="736" y="9753"/>
                  </a:lnTo>
                  <a:lnTo>
                    <a:pt x="0" y="11353"/>
                  </a:lnTo>
                  <a:lnTo>
                    <a:pt x="812" y="11658"/>
                  </a:lnTo>
                  <a:lnTo>
                    <a:pt x="1562" y="10058"/>
                  </a:lnTo>
                  <a:lnTo>
                    <a:pt x="3086" y="6908"/>
                  </a:lnTo>
                  <a:close/>
                </a:path>
                <a:path w="6984" h="12065">
                  <a:moveTo>
                    <a:pt x="6540" y="101"/>
                  </a:moveTo>
                  <a:lnTo>
                    <a:pt x="6273" y="0"/>
                  </a:lnTo>
                  <a:lnTo>
                    <a:pt x="5842" y="1168"/>
                  </a:lnTo>
                  <a:lnTo>
                    <a:pt x="6134" y="863"/>
                  </a:lnTo>
                  <a:lnTo>
                    <a:pt x="6540" y="101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99" name="object 391">
              <a:extLst>
                <a:ext uri="{FF2B5EF4-FFF2-40B4-BE49-F238E27FC236}">
                  <a16:creationId xmlns:a16="http://schemas.microsoft.com/office/drawing/2014/main" id="{11F141BE-B4CB-4475-A3EB-1CE0F35CD195}"/>
                </a:ext>
              </a:extLst>
            </p:cNvPr>
            <p:cNvSpPr/>
            <p:nvPr/>
          </p:nvSpPr>
          <p:spPr>
            <a:xfrm>
              <a:off x="7888287" y="6224007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3111" y="7112"/>
                  </a:moveTo>
                  <a:lnTo>
                    <a:pt x="2273" y="6807"/>
                  </a:lnTo>
                  <a:lnTo>
                    <a:pt x="1498" y="8369"/>
                  </a:lnTo>
                  <a:lnTo>
                    <a:pt x="736" y="9956"/>
                  </a:lnTo>
                  <a:lnTo>
                    <a:pt x="0" y="11557"/>
                  </a:lnTo>
                  <a:lnTo>
                    <a:pt x="812" y="11861"/>
                  </a:lnTo>
                  <a:lnTo>
                    <a:pt x="1562" y="10261"/>
                  </a:lnTo>
                  <a:lnTo>
                    <a:pt x="3111" y="7112"/>
                  </a:lnTo>
                  <a:close/>
                </a:path>
                <a:path w="6984" h="12065">
                  <a:moveTo>
                    <a:pt x="6591" y="317"/>
                  </a:moveTo>
                  <a:lnTo>
                    <a:pt x="5727" y="0"/>
                  </a:lnTo>
                  <a:lnTo>
                    <a:pt x="5321" y="762"/>
                  </a:lnTo>
                  <a:lnTo>
                    <a:pt x="5130" y="1155"/>
                  </a:lnTo>
                  <a:lnTo>
                    <a:pt x="5384" y="1371"/>
                  </a:lnTo>
                  <a:lnTo>
                    <a:pt x="5613" y="1574"/>
                  </a:lnTo>
                  <a:lnTo>
                    <a:pt x="5816" y="1778"/>
                  </a:lnTo>
                  <a:lnTo>
                    <a:pt x="6083" y="1295"/>
                  </a:lnTo>
                  <a:lnTo>
                    <a:pt x="6337" y="812"/>
                  </a:lnTo>
                  <a:lnTo>
                    <a:pt x="6591" y="317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0" name="object 392">
              <a:extLst>
                <a:ext uri="{FF2B5EF4-FFF2-40B4-BE49-F238E27FC236}">
                  <a16:creationId xmlns:a16="http://schemas.microsoft.com/office/drawing/2014/main" id="{4F2E48A6-E166-4295-A619-CC8C5B5FADA9}"/>
                </a:ext>
              </a:extLst>
            </p:cNvPr>
            <p:cNvSpPr/>
            <p:nvPr/>
          </p:nvSpPr>
          <p:spPr>
            <a:xfrm>
              <a:off x="7889100" y="6224324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3136" y="7112"/>
                  </a:moveTo>
                  <a:lnTo>
                    <a:pt x="2298" y="6794"/>
                  </a:lnTo>
                  <a:lnTo>
                    <a:pt x="749" y="9944"/>
                  </a:lnTo>
                  <a:lnTo>
                    <a:pt x="0" y="11544"/>
                  </a:lnTo>
                  <a:lnTo>
                    <a:pt x="825" y="11849"/>
                  </a:lnTo>
                  <a:lnTo>
                    <a:pt x="2349" y="8674"/>
                  </a:lnTo>
                  <a:lnTo>
                    <a:pt x="3136" y="7112"/>
                  </a:lnTo>
                  <a:close/>
                </a:path>
                <a:path w="6984" h="12065">
                  <a:moveTo>
                    <a:pt x="6654" y="317"/>
                  </a:moveTo>
                  <a:lnTo>
                    <a:pt x="5778" y="0"/>
                  </a:lnTo>
                  <a:lnTo>
                    <a:pt x="5524" y="482"/>
                  </a:lnTo>
                  <a:lnTo>
                    <a:pt x="5270" y="977"/>
                  </a:lnTo>
                  <a:lnTo>
                    <a:pt x="5016" y="1460"/>
                  </a:lnTo>
                  <a:lnTo>
                    <a:pt x="5270" y="1714"/>
                  </a:lnTo>
                  <a:lnTo>
                    <a:pt x="5486" y="1943"/>
                  </a:lnTo>
                  <a:lnTo>
                    <a:pt x="5664" y="2184"/>
                  </a:lnTo>
                  <a:lnTo>
                    <a:pt x="5994" y="1562"/>
                  </a:lnTo>
                  <a:lnTo>
                    <a:pt x="6311" y="939"/>
                  </a:lnTo>
                  <a:lnTo>
                    <a:pt x="6654" y="317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1" name="object 393">
              <a:extLst>
                <a:ext uri="{FF2B5EF4-FFF2-40B4-BE49-F238E27FC236}">
                  <a16:creationId xmlns:a16="http://schemas.microsoft.com/office/drawing/2014/main" id="{37604C80-98F8-4A2E-8CD3-A8C74877AE01}"/>
                </a:ext>
              </a:extLst>
            </p:cNvPr>
            <p:cNvSpPr/>
            <p:nvPr/>
          </p:nvSpPr>
          <p:spPr>
            <a:xfrm>
              <a:off x="7889938" y="6224654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3149" y="7086"/>
                  </a:moveTo>
                  <a:lnTo>
                    <a:pt x="2311" y="6781"/>
                  </a:lnTo>
                  <a:lnTo>
                    <a:pt x="1524" y="8343"/>
                  </a:lnTo>
                  <a:lnTo>
                    <a:pt x="0" y="11506"/>
                  </a:lnTo>
                  <a:lnTo>
                    <a:pt x="825" y="11823"/>
                  </a:lnTo>
                  <a:lnTo>
                    <a:pt x="1587" y="10236"/>
                  </a:lnTo>
                  <a:lnTo>
                    <a:pt x="2362" y="8648"/>
                  </a:lnTo>
                  <a:lnTo>
                    <a:pt x="3149" y="7086"/>
                  </a:lnTo>
                  <a:close/>
                </a:path>
                <a:path w="6984" h="12065">
                  <a:moveTo>
                    <a:pt x="6692" y="330"/>
                  </a:moveTo>
                  <a:lnTo>
                    <a:pt x="5816" y="0"/>
                  </a:lnTo>
                  <a:lnTo>
                    <a:pt x="4826" y="1866"/>
                  </a:lnTo>
                  <a:lnTo>
                    <a:pt x="5067" y="2171"/>
                  </a:lnTo>
                  <a:lnTo>
                    <a:pt x="5245" y="2476"/>
                  </a:lnTo>
                  <a:lnTo>
                    <a:pt x="5372" y="2794"/>
                  </a:lnTo>
                  <a:lnTo>
                    <a:pt x="5803" y="1968"/>
                  </a:lnTo>
                  <a:lnTo>
                    <a:pt x="6248" y="1143"/>
                  </a:lnTo>
                  <a:lnTo>
                    <a:pt x="6692" y="330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2" name="object 394">
              <a:extLst>
                <a:ext uri="{FF2B5EF4-FFF2-40B4-BE49-F238E27FC236}">
                  <a16:creationId xmlns:a16="http://schemas.microsoft.com/office/drawing/2014/main" id="{9D23E883-AC16-442D-9F7E-2D73AA36DA46}"/>
                </a:ext>
              </a:extLst>
            </p:cNvPr>
            <p:cNvSpPr/>
            <p:nvPr/>
          </p:nvSpPr>
          <p:spPr>
            <a:xfrm>
              <a:off x="7890751" y="6224984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3187" y="7086"/>
                  </a:moveTo>
                  <a:lnTo>
                    <a:pt x="2336" y="6769"/>
                  </a:lnTo>
                  <a:lnTo>
                    <a:pt x="1549" y="8331"/>
                  </a:lnTo>
                  <a:lnTo>
                    <a:pt x="774" y="9906"/>
                  </a:lnTo>
                  <a:lnTo>
                    <a:pt x="0" y="11506"/>
                  </a:lnTo>
                  <a:lnTo>
                    <a:pt x="838" y="11811"/>
                  </a:lnTo>
                  <a:lnTo>
                    <a:pt x="1600" y="10223"/>
                  </a:lnTo>
                  <a:lnTo>
                    <a:pt x="2387" y="8648"/>
                  </a:lnTo>
                  <a:lnTo>
                    <a:pt x="3187" y="7086"/>
                  </a:lnTo>
                  <a:close/>
                </a:path>
                <a:path w="6984" h="12065">
                  <a:moveTo>
                    <a:pt x="6731" y="317"/>
                  </a:moveTo>
                  <a:lnTo>
                    <a:pt x="5867" y="0"/>
                  </a:lnTo>
                  <a:lnTo>
                    <a:pt x="4978" y="1638"/>
                  </a:lnTo>
                  <a:lnTo>
                    <a:pt x="4546" y="2463"/>
                  </a:lnTo>
                  <a:lnTo>
                    <a:pt x="4737" y="2946"/>
                  </a:lnTo>
                  <a:lnTo>
                    <a:pt x="4826" y="3429"/>
                  </a:lnTo>
                  <a:lnTo>
                    <a:pt x="4800" y="3949"/>
                  </a:lnTo>
                  <a:lnTo>
                    <a:pt x="5435" y="2730"/>
                  </a:lnTo>
                  <a:lnTo>
                    <a:pt x="6731" y="317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3" name="object 395">
              <a:extLst>
                <a:ext uri="{FF2B5EF4-FFF2-40B4-BE49-F238E27FC236}">
                  <a16:creationId xmlns:a16="http://schemas.microsoft.com/office/drawing/2014/main" id="{63BC10E2-CA14-45CB-A559-58E50DF82191}"/>
                </a:ext>
              </a:extLst>
            </p:cNvPr>
            <p:cNvSpPr/>
            <p:nvPr/>
          </p:nvSpPr>
          <p:spPr>
            <a:xfrm>
              <a:off x="7891591" y="6225298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5905" y="0"/>
                  </a:moveTo>
                  <a:lnTo>
                    <a:pt x="4597" y="2412"/>
                  </a:lnTo>
                  <a:lnTo>
                    <a:pt x="3962" y="3632"/>
                  </a:lnTo>
                  <a:lnTo>
                    <a:pt x="3937" y="4432"/>
                  </a:lnTo>
                  <a:lnTo>
                    <a:pt x="3683" y="5333"/>
                  </a:lnTo>
                  <a:lnTo>
                    <a:pt x="3048" y="7023"/>
                  </a:lnTo>
                  <a:lnTo>
                    <a:pt x="2349" y="6769"/>
                  </a:lnTo>
                  <a:lnTo>
                    <a:pt x="774" y="9893"/>
                  </a:lnTo>
                  <a:lnTo>
                    <a:pt x="0" y="11493"/>
                  </a:lnTo>
                  <a:lnTo>
                    <a:pt x="838" y="11798"/>
                  </a:lnTo>
                  <a:lnTo>
                    <a:pt x="2743" y="7886"/>
                  </a:lnTo>
                  <a:lnTo>
                    <a:pt x="4737" y="4063"/>
                  </a:lnTo>
                  <a:lnTo>
                    <a:pt x="6769" y="330"/>
                  </a:lnTo>
                  <a:lnTo>
                    <a:pt x="5905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4" name="object 396">
              <a:extLst>
                <a:ext uri="{FF2B5EF4-FFF2-40B4-BE49-F238E27FC236}">
                  <a16:creationId xmlns:a16="http://schemas.microsoft.com/office/drawing/2014/main" id="{1565B3D3-170E-427D-B77B-957E6CF9AFCA}"/>
                </a:ext>
              </a:extLst>
            </p:cNvPr>
            <p:cNvSpPr/>
            <p:nvPr/>
          </p:nvSpPr>
          <p:spPr>
            <a:xfrm>
              <a:off x="7892425" y="6225625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5943" y="0"/>
                  </a:moveTo>
                  <a:lnTo>
                    <a:pt x="3898" y="3733"/>
                  </a:lnTo>
                  <a:lnTo>
                    <a:pt x="1917" y="7556"/>
                  </a:lnTo>
                  <a:lnTo>
                    <a:pt x="0" y="11468"/>
                  </a:lnTo>
                  <a:lnTo>
                    <a:pt x="838" y="11785"/>
                  </a:lnTo>
                  <a:lnTo>
                    <a:pt x="2768" y="7873"/>
                  </a:lnTo>
                  <a:lnTo>
                    <a:pt x="4762" y="4051"/>
                  </a:lnTo>
                  <a:lnTo>
                    <a:pt x="6819" y="330"/>
                  </a:lnTo>
                  <a:lnTo>
                    <a:pt x="5943" y="0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5" name="object 397">
              <a:extLst>
                <a:ext uri="{FF2B5EF4-FFF2-40B4-BE49-F238E27FC236}">
                  <a16:creationId xmlns:a16="http://schemas.microsoft.com/office/drawing/2014/main" id="{964CD0EC-5388-45B0-9D5C-7D00FB14F009}"/>
                </a:ext>
              </a:extLst>
            </p:cNvPr>
            <p:cNvSpPr/>
            <p:nvPr/>
          </p:nvSpPr>
          <p:spPr>
            <a:xfrm>
              <a:off x="7893267" y="6225959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5981" y="0"/>
                  </a:moveTo>
                  <a:lnTo>
                    <a:pt x="3924" y="3721"/>
                  </a:lnTo>
                  <a:lnTo>
                    <a:pt x="1917" y="7543"/>
                  </a:lnTo>
                  <a:lnTo>
                    <a:pt x="0" y="11455"/>
                  </a:lnTo>
                  <a:lnTo>
                    <a:pt x="838" y="11760"/>
                  </a:lnTo>
                  <a:lnTo>
                    <a:pt x="3225" y="7061"/>
                  </a:lnTo>
                  <a:lnTo>
                    <a:pt x="2781" y="6896"/>
                  </a:lnTo>
                  <a:lnTo>
                    <a:pt x="3670" y="4508"/>
                  </a:lnTo>
                  <a:lnTo>
                    <a:pt x="4368" y="3365"/>
                  </a:lnTo>
                  <a:lnTo>
                    <a:pt x="5511" y="2768"/>
                  </a:lnTo>
                  <a:lnTo>
                    <a:pt x="6858" y="317"/>
                  </a:lnTo>
                  <a:lnTo>
                    <a:pt x="5981" y="0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6" name="object 398">
              <a:extLst>
                <a:ext uri="{FF2B5EF4-FFF2-40B4-BE49-F238E27FC236}">
                  <a16:creationId xmlns:a16="http://schemas.microsoft.com/office/drawing/2014/main" id="{D70DADFF-F4A2-4822-8753-A759252791C5}"/>
                </a:ext>
              </a:extLst>
            </p:cNvPr>
            <p:cNvSpPr/>
            <p:nvPr/>
          </p:nvSpPr>
          <p:spPr>
            <a:xfrm>
              <a:off x="7894104" y="6226293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3251" y="7048"/>
                  </a:moveTo>
                  <a:lnTo>
                    <a:pt x="2387" y="6731"/>
                  </a:lnTo>
                  <a:lnTo>
                    <a:pt x="787" y="9855"/>
                  </a:lnTo>
                  <a:lnTo>
                    <a:pt x="0" y="11430"/>
                  </a:lnTo>
                  <a:lnTo>
                    <a:pt x="838" y="11747"/>
                  </a:lnTo>
                  <a:lnTo>
                    <a:pt x="1625" y="10172"/>
                  </a:lnTo>
                  <a:lnTo>
                    <a:pt x="3251" y="7048"/>
                  </a:lnTo>
                  <a:close/>
                </a:path>
                <a:path w="6984" h="12065">
                  <a:moveTo>
                    <a:pt x="6896" y="317"/>
                  </a:moveTo>
                  <a:lnTo>
                    <a:pt x="6019" y="0"/>
                  </a:lnTo>
                  <a:lnTo>
                    <a:pt x="5562" y="812"/>
                  </a:lnTo>
                  <a:lnTo>
                    <a:pt x="4673" y="2438"/>
                  </a:lnTo>
                  <a:lnTo>
                    <a:pt x="5041" y="2247"/>
                  </a:lnTo>
                  <a:lnTo>
                    <a:pt x="5461" y="2120"/>
                  </a:lnTo>
                  <a:lnTo>
                    <a:pt x="5943" y="2044"/>
                  </a:lnTo>
                  <a:lnTo>
                    <a:pt x="6261" y="1460"/>
                  </a:lnTo>
                  <a:lnTo>
                    <a:pt x="6896" y="317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7" name="object 399">
              <a:extLst>
                <a:ext uri="{FF2B5EF4-FFF2-40B4-BE49-F238E27FC236}">
                  <a16:creationId xmlns:a16="http://schemas.microsoft.com/office/drawing/2014/main" id="{2DAC7DA8-1604-4653-A49B-08CE13601157}"/>
                </a:ext>
              </a:extLst>
            </p:cNvPr>
            <p:cNvSpPr/>
            <p:nvPr/>
          </p:nvSpPr>
          <p:spPr>
            <a:xfrm>
              <a:off x="7894942" y="6226610"/>
              <a:ext cx="6985" cy="12065"/>
            </a:xfrm>
            <a:custGeom>
              <a:avLst/>
              <a:gdLst/>
              <a:ahLst/>
              <a:cxnLst/>
              <a:rect l="l" t="t" r="r" b="b"/>
              <a:pathLst>
                <a:path w="6984" h="12065">
                  <a:moveTo>
                    <a:pt x="3263" y="7061"/>
                  </a:moveTo>
                  <a:lnTo>
                    <a:pt x="2400" y="6731"/>
                  </a:lnTo>
                  <a:lnTo>
                    <a:pt x="1587" y="8280"/>
                  </a:lnTo>
                  <a:lnTo>
                    <a:pt x="787" y="9842"/>
                  </a:lnTo>
                  <a:lnTo>
                    <a:pt x="0" y="11430"/>
                  </a:lnTo>
                  <a:lnTo>
                    <a:pt x="838" y="11747"/>
                  </a:lnTo>
                  <a:lnTo>
                    <a:pt x="1638" y="10172"/>
                  </a:lnTo>
                  <a:lnTo>
                    <a:pt x="3263" y="7061"/>
                  </a:lnTo>
                  <a:close/>
                </a:path>
                <a:path w="6984" h="12065">
                  <a:moveTo>
                    <a:pt x="6934" y="330"/>
                  </a:moveTo>
                  <a:lnTo>
                    <a:pt x="6057" y="0"/>
                  </a:lnTo>
                  <a:lnTo>
                    <a:pt x="5740" y="571"/>
                  </a:lnTo>
                  <a:lnTo>
                    <a:pt x="5410" y="1143"/>
                  </a:lnTo>
                  <a:lnTo>
                    <a:pt x="5092" y="1727"/>
                  </a:lnTo>
                  <a:lnTo>
                    <a:pt x="5435" y="1663"/>
                  </a:lnTo>
                  <a:lnTo>
                    <a:pt x="5803" y="1638"/>
                  </a:lnTo>
                  <a:lnTo>
                    <a:pt x="6197" y="1651"/>
                  </a:lnTo>
                  <a:lnTo>
                    <a:pt x="6451" y="1206"/>
                  </a:lnTo>
                  <a:lnTo>
                    <a:pt x="6692" y="774"/>
                  </a:lnTo>
                  <a:lnTo>
                    <a:pt x="6934" y="33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8" name="object 400">
              <a:extLst>
                <a:ext uri="{FF2B5EF4-FFF2-40B4-BE49-F238E27FC236}">
                  <a16:creationId xmlns:a16="http://schemas.microsoft.com/office/drawing/2014/main" id="{CFE2289C-EB23-482F-8F13-6C18B2BB484E}"/>
                </a:ext>
              </a:extLst>
            </p:cNvPr>
            <p:cNvSpPr/>
            <p:nvPr/>
          </p:nvSpPr>
          <p:spPr>
            <a:xfrm>
              <a:off x="7895780" y="6222165"/>
              <a:ext cx="10160" cy="16510"/>
            </a:xfrm>
            <a:custGeom>
              <a:avLst/>
              <a:gdLst/>
              <a:ahLst/>
              <a:cxnLst/>
              <a:rect l="l" t="t" r="r" b="b"/>
              <a:pathLst>
                <a:path w="10159" h="16509">
                  <a:moveTo>
                    <a:pt x="3289" y="11823"/>
                  </a:moveTo>
                  <a:lnTo>
                    <a:pt x="2438" y="11506"/>
                  </a:lnTo>
                  <a:lnTo>
                    <a:pt x="1612" y="13055"/>
                  </a:lnTo>
                  <a:lnTo>
                    <a:pt x="800" y="14617"/>
                  </a:lnTo>
                  <a:lnTo>
                    <a:pt x="0" y="16192"/>
                  </a:lnTo>
                  <a:lnTo>
                    <a:pt x="850" y="16510"/>
                  </a:lnTo>
                  <a:lnTo>
                    <a:pt x="2463" y="13373"/>
                  </a:lnTo>
                  <a:lnTo>
                    <a:pt x="3289" y="11823"/>
                  </a:lnTo>
                  <a:close/>
                </a:path>
                <a:path w="10159" h="16509">
                  <a:moveTo>
                    <a:pt x="6616" y="4978"/>
                  </a:moveTo>
                  <a:lnTo>
                    <a:pt x="6096" y="4787"/>
                  </a:lnTo>
                  <a:lnTo>
                    <a:pt x="5854" y="5219"/>
                  </a:lnTo>
                  <a:lnTo>
                    <a:pt x="5613" y="5664"/>
                  </a:lnTo>
                  <a:lnTo>
                    <a:pt x="5359" y="6108"/>
                  </a:lnTo>
                  <a:lnTo>
                    <a:pt x="5626" y="6108"/>
                  </a:lnTo>
                  <a:lnTo>
                    <a:pt x="5892" y="6121"/>
                  </a:lnTo>
                  <a:lnTo>
                    <a:pt x="6184" y="6146"/>
                  </a:lnTo>
                  <a:lnTo>
                    <a:pt x="6616" y="4978"/>
                  </a:lnTo>
                  <a:close/>
                </a:path>
                <a:path w="10159" h="16509">
                  <a:moveTo>
                    <a:pt x="9893" y="139"/>
                  </a:moveTo>
                  <a:lnTo>
                    <a:pt x="9740" y="0"/>
                  </a:lnTo>
                  <a:lnTo>
                    <a:pt x="9029" y="647"/>
                  </a:lnTo>
                  <a:lnTo>
                    <a:pt x="9118" y="812"/>
                  </a:lnTo>
                  <a:lnTo>
                    <a:pt x="9194" y="977"/>
                  </a:lnTo>
                  <a:lnTo>
                    <a:pt x="9283" y="1155"/>
                  </a:lnTo>
                  <a:lnTo>
                    <a:pt x="9690" y="469"/>
                  </a:lnTo>
                  <a:lnTo>
                    <a:pt x="9893" y="139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9" name="object 401">
              <a:extLst>
                <a:ext uri="{FF2B5EF4-FFF2-40B4-BE49-F238E27FC236}">
                  <a16:creationId xmlns:a16="http://schemas.microsoft.com/office/drawing/2014/main" id="{23E072E8-3F5A-4B8E-9312-6A0FD4F41089}"/>
                </a:ext>
              </a:extLst>
            </p:cNvPr>
            <p:cNvSpPr/>
            <p:nvPr/>
          </p:nvSpPr>
          <p:spPr>
            <a:xfrm>
              <a:off x="7896631" y="6222305"/>
              <a:ext cx="10160" cy="17145"/>
            </a:xfrm>
            <a:custGeom>
              <a:avLst/>
              <a:gdLst/>
              <a:ahLst/>
              <a:cxnLst/>
              <a:rect l="l" t="t" r="r" b="b"/>
              <a:pathLst>
                <a:path w="10159" h="17145">
                  <a:moveTo>
                    <a:pt x="3314" y="12014"/>
                  </a:moveTo>
                  <a:lnTo>
                    <a:pt x="2451" y="11684"/>
                  </a:lnTo>
                  <a:lnTo>
                    <a:pt x="1625" y="13233"/>
                  </a:lnTo>
                  <a:lnTo>
                    <a:pt x="0" y="16370"/>
                  </a:lnTo>
                  <a:lnTo>
                    <a:pt x="850" y="16687"/>
                  </a:lnTo>
                  <a:lnTo>
                    <a:pt x="1663" y="15113"/>
                  </a:lnTo>
                  <a:lnTo>
                    <a:pt x="2489" y="13550"/>
                  </a:lnTo>
                  <a:lnTo>
                    <a:pt x="3314" y="12014"/>
                  </a:lnTo>
                  <a:close/>
                </a:path>
                <a:path w="10159" h="17145">
                  <a:moveTo>
                    <a:pt x="9766" y="647"/>
                  </a:moveTo>
                  <a:lnTo>
                    <a:pt x="9042" y="0"/>
                  </a:lnTo>
                  <a:lnTo>
                    <a:pt x="8839" y="342"/>
                  </a:lnTo>
                  <a:lnTo>
                    <a:pt x="8636" y="673"/>
                  </a:lnTo>
                  <a:lnTo>
                    <a:pt x="8432" y="1016"/>
                  </a:lnTo>
                  <a:lnTo>
                    <a:pt x="8610" y="1358"/>
                  </a:lnTo>
                  <a:lnTo>
                    <a:pt x="8775" y="1701"/>
                  </a:lnTo>
                  <a:lnTo>
                    <a:pt x="8928" y="2057"/>
                  </a:lnTo>
                  <a:lnTo>
                    <a:pt x="9766" y="647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0" name="object 402">
              <a:extLst>
                <a:ext uri="{FF2B5EF4-FFF2-40B4-BE49-F238E27FC236}">
                  <a16:creationId xmlns:a16="http://schemas.microsoft.com/office/drawing/2014/main" id="{A1228D7C-3A78-4ED9-8B2E-0BBA658FD821}"/>
                </a:ext>
              </a:extLst>
            </p:cNvPr>
            <p:cNvSpPr/>
            <p:nvPr/>
          </p:nvSpPr>
          <p:spPr>
            <a:xfrm>
              <a:off x="7897482" y="6222952"/>
              <a:ext cx="10160" cy="16510"/>
            </a:xfrm>
            <a:custGeom>
              <a:avLst/>
              <a:gdLst/>
              <a:ahLst/>
              <a:cxnLst/>
              <a:rect l="l" t="t" r="r" b="b"/>
              <a:pathLst>
                <a:path w="10159" h="16509">
                  <a:moveTo>
                    <a:pt x="3327" y="11684"/>
                  </a:moveTo>
                  <a:lnTo>
                    <a:pt x="2463" y="11366"/>
                  </a:lnTo>
                  <a:lnTo>
                    <a:pt x="1625" y="12903"/>
                  </a:lnTo>
                  <a:lnTo>
                    <a:pt x="0" y="16040"/>
                  </a:lnTo>
                  <a:lnTo>
                    <a:pt x="850" y="16357"/>
                  </a:lnTo>
                  <a:lnTo>
                    <a:pt x="1663" y="14782"/>
                  </a:lnTo>
                  <a:lnTo>
                    <a:pt x="2489" y="13233"/>
                  </a:lnTo>
                  <a:lnTo>
                    <a:pt x="3327" y="11684"/>
                  </a:lnTo>
                  <a:close/>
                </a:path>
                <a:path w="10159" h="16509">
                  <a:moveTo>
                    <a:pt x="9626" y="660"/>
                  </a:moveTo>
                  <a:lnTo>
                    <a:pt x="8915" y="0"/>
                  </a:lnTo>
                  <a:lnTo>
                    <a:pt x="8636" y="469"/>
                  </a:lnTo>
                  <a:lnTo>
                    <a:pt x="8356" y="927"/>
                  </a:lnTo>
                  <a:lnTo>
                    <a:pt x="8077" y="1409"/>
                  </a:lnTo>
                  <a:lnTo>
                    <a:pt x="8242" y="1765"/>
                  </a:lnTo>
                  <a:lnTo>
                    <a:pt x="8521" y="2527"/>
                  </a:lnTo>
                  <a:lnTo>
                    <a:pt x="9626" y="66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1" name="object 403">
              <a:extLst>
                <a:ext uri="{FF2B5EF4-FFF2-40B4-BE49-F238E27FC236}">
                  <a16:creationId xmlns:a16="http://schemas.microsoft.com/office/drawing/2014/main" id="{7E48E256-BD9D-4647-91C0-2F712EBF0F01}"/>
                </a:ext>
              </a:extLst>
            </p:cNvPr>
            <p:cNvSpPr/>
            <p:nvPr/>
          </p:nvSpPr>
          <p:spPr>
            <a:xfrm>
              <a:off x="7898333" y="6223613"/>
              <a:ext cx="9525" cy="16510"/>
            </a:xfrm>
            <a:custGeom>
              <a:avLst/>
              <a:gdLst/>
              <a:ahLst/>
              <a:cxnLst/>
              <a:rect l="l" t="t" r="r" b="b"/>
              <a:pathLst>
                <a:path w="9525" h="16509">
                  <a:moveTo>
                    <a:pt x="3340" y="11353"/>
                  </a:moveTo>
                  <a:lnTo>
                    <a:pt x="2476" y="11023"/>
                  </a:lnTo>
                  <a:lnTo>
                    <a:pt x="1638" y="12573"/>
                  </a:lnTo>
                  <a:lnTo>
                    <a:pt x="812" y="14122"/>
                  </a:lnTo>
                  <a:lnTo>
                    <a:pt x="0" y="15697"/>
                  </a:lnTo>
                  <a:lnTo>
                    <a:pt x="850" y="16014"/>
                  </a:lnTo>
                  <a:lnTo>
                    <a:pt x="1663" y="14452"/>
                  </a:lnTo>
                  <a:lnTo>
                    <a:pt x="2501" y="12890"/>
                  </a:lnTo>
                  <a:lnTo>
                    <a:pt x="3340" y="11353"/>
                  </a:lnTo>
                  <a:close/>
                </a:path>
                <a:path w="9525" h="16509">
                  <a:moveTo>
                    <a:pt x="9499" y="660"/>
                  </a:moveTo>
                  <a:lnTo>
                    <a:pt x="8775" y="0"/>
                  </a:lnTo>
                  <a:lnTo>
                    <a:pt x="8039" y="1244"/>
                  </a:lnTo>
                  <a:lnTo>
                    <a:pt x="7658" y="1866"/>
                  </a:lnTo>
                  <a:lnTo>
                    <a:pt x="7797" y="2273"/>
                  </a:lnTo>
                  <a:lnTo>
                    <a:pt x="7924" y="2679"/>
                  </a:lnTo>
                  <a:lnTo>
                    <a:pt x="8039" y="3098"/>
                  </a:lnTo>
                  <a:lnTo>
                    <a:pt x="8521" y="2273"/>
                  </a:lnTo>
                  <a:lnTo>
                    <a:pt x="9004" y="1460"/>
                  </a:lnTo>
                  <a:lnTo>
                    <a:pt x="9499" y="66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2" name="object 404">
              <a:extLst>
                <a:ext uri="{FF2B5EF4-FFF2-40B4-BE49-F238E27FC236}">
                  <a16:creationId xmlns:a16="http://schemas.microsoft.com/office/drawing/2014/main" id="{8D8FEC1B-7A5B-4C54-B88E-A1217196A8CE}"/>
                </a:ext>
              </a:extLst>
            </p:cNvPr>
            <p:cNvSpPr/>
            <p:nvPr/>
          </p:nvSpPr>
          <p:spPr>
            <a:xfrm>
              <a:off x="7899184" y="6224261"/>
              <a:ext cx="9525" cy="15875"/>
            </a:xfrm>
            <a:custGeom>
              <a:avLst/>
              <a:gdLst/>
              <a:ahLst/>
              <a:cxnLst/>
              <a:rect l="l" t="t" r="r" b="b"/>
              <a:pathLst>
                <a:path w="9525" h="15875">
                  <a:moveTo>
                    <a:pt x="3365" y="11023"/>
                  </a:moveTo>
                  <a:lnTo>
                    <a:pt x="3187" y="10947"/>
                  </a:lnTo>
                  <a:lnTo>
                    <a:pt x="2501" y="10706"/>
                  </a:lnTo>
                  <a:lnTo>
                    <a:pt x="1651" y="12242"/>
                  </a:lnTo>
                  <a:lnTo>
                    <a:pt x="825" y="13792"/>
                  </a:lnTo>
                  <a:lnTo>
                    <a:pt x="0" y="15367"/>
                  </a:lnTo>
                  <a:lnTo>
                    <a:pt x="863" y="15684"/>
                  </a:lnTo>
                  <a:lnTo>
                    <a:pt x="1689" y="14122"/>
                  </a:lnTo>
                  <a:lnTo>
                    <a:pt x="2527" y="12560"/>
                  </a:lnTo>
                  <a:lnTo>
                    <a:pt x="3365" y="11023"/>
                  </a:lnTo>
                  <a:close/>
                </a:path>
                <a:path w="9525" h="15875">
                  <a:moveTo>
                    <a:pt x="9359" y="660"/>
                  </a:moveTo>
                  <a:lnTo>
                    <a:pt x="8636" y="0"/>
                  </a:lnTo>
                  <a:lnTo>
                    <a:pt x="8153" y="812"/>
                  </a:lnTo>
                  <a:lnTo>
                    <a:pt x="7658" y="1625"/>
                  </a:lnTo>
                  <a:lnTo>
                    <a:pt x="7175" y="2451"/>
                  </a:lnTo>
                  <a:lnTo>
                    <a:pt x="7289" y="2895"/>
                  </a:lnTo>
                  <a:lnTo>
                    <a:pt x="7391" y="3365"/>
                  </a:lnTo>
                  <a:lnTo>
                    <a:pt x="7454" y="3822"/>
                  </a:lnTo>
                  <a:lnTo>
                    <a:pt x="8724" y="1701"/>
                  </a:lnTo>
                  <a:lnTo>
                    <a:pt x="9359" y="66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3" name="object 405">
              <a:extLst>
                <a:ext uri="{FF2B5EF4-FFF2-40B4-BE49-F238E27FC236}">
                  <a16:creationId xmlns:a16="http://schemas.microsoft.com/office/drawing/2014/main" id="{F2255245-4F02-4426-B115-47A5A135F617}"/>
                </a:ext>
              </a:extLst>
            </p:cNvPr>
            <p:cNvSpPr/>
            <p:nvPr/>
          </p:nvSpPr>
          <p:spPr>
            <a:xfrm>
              <a:off x="7900048" y="6224921"/>
              <a:ext cx="9525" cy="15875"/>
            </a:xfrm>
            <a:custGeom>
              <a:avLst/>
              <a:gdLst/>
              <a:ahLst/>
              <a:cxnLst/>
              <a:rect l="l" t="t" r="r" b="b"/>
              <a:pathLst>
                <a:path w="9525" h="15875">
                  <a:moveTo>
                    <a:pt x="3403" y="10642"/>
                  </a:moveTo>
                  <a:lnTo>
                    <a:pt x="3124" y="10579"/>
                  </a:lnTo>
                  <a:lnTo>
                    <a:pt x="2501" y="10363"/>
                  </a:lnTo>
                  <a:lnTo>
                    <a:pt x="1651" y="11899"/>
                  </a:lnTo>
                  <a:lnTo>
                    <a:pt x="0" y="15024"/>
                  </a:lnTo>
                  <a:lnTo>
                    <a:pt x="812" y="15328"/>
                  </a:lnTo>
                  <a:lnTo>
                    <a:pt x="1689" y="13766"/>
                  </a:lnTo>
                  <a:lnTo>
                    <a:pt x="2540" y="12204"/>
                  </a:lnTo>
                  <a:lnTo>
                    <a:pt x="3403" y="10642"/>
                  </a:lnTo>
                  <a:close/>
                </a:path>
                <a:path w="9525" h="15875">
                  <a:moveTo>
                    <a:pt x="9220" y="660"/>
                  </a:moveTo>
                  <a:lnTo>
                    <a:pt x="8496" y="0"/>
                  </a:lnTo>
                  <a:lnTo>
                    <a:pt x="7226" y="2108"/>
                  </a:lnTo>
                  <a:lnTo>
                    <a:pt x="6604" y="3175"/>
                  </a:lnTo>
                  <a:lnTo>
                    <a:pt x="6680" y="3708"/>
                  </a:lnTo>
                  <a:lnTo>
                    <a:pt x="6743" y="4241"/>
                  </a:lnTo>
                  <a:lnTo>
                    <a:pt x="6756" y="4775"/>
                  </a:lnTo>
                  <a:lnTo>
                    <a:pt x="8382" y="2019"/>
                  </a:lnTo>
                  <a:lnTo>
                    <a:pt x="9220" y="66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4" name="object 406">
              <a:extLst>
                <a:ext uri="{FF2B5EF4-FFF2-40B4-BE49-F238E27FC236}">
                  <a16:creationId xmlns:a16="http://schemas.microsoft.com/office/drawing/2014/main" id="{7284CD47-4E40-45C8-B7C1-7D20E49C4701}"/>
                </a:ext>
              </a:extLst>
            </p:cNvPr>
            <p:cNvSpPr/>
            <p:nvPr/>
          </p:nvSpPr>
          <p:spPr>
            <a:xfrm>
              <a:off x="7900885" y="6225581"/>
              <a:ext cx="9525" cy="15240"/>
            </a:xfrm>
            <a:custGeom>
              <a:avLst/>
              <a:gdLst/>
              <a:ahLst/>
              <a:cxnLst/>
              <a:rect l="l" t="t" r="r" b="b"/>
              <a:pathLst>
                <a:path w="9525" h="15240">
                  <a:moveTo>
                    <a:pt x="3568" y="10083"/>
                  </a:moveTo>
                  <a:lnTo>
                    <a:pt x="3263" y="10109"/>
                  </a:lnTo>
                  <a:lnTo>
                    <a:pt x="2921" y="10071"/>
                  </a:lnTo>
                  <a:lnTo>
                    <a:pt x="2565" y="9982"/>
                  </a:lnTo>
                  <a:lnTo>
                    <a:pt x="1701" y="11544"/>
                  </a:lnTo>
                  <a:lnTo>
                    <a:pt x="0" y="14681"/>
                  </a:lnTo>
                  <a:lnTo>
                    <a:pt x="330" y="14795"/>
                  </a:lnTo>
                  <a:lnTo>
                    <a:pt x="838" y="15062"/>
                  </a:lnTo>
                  <a:lnTo>
                    <a:pt x="1739" y="13385"/>
                  </a:lnTo>
                  <a:lnTo>
                    <a:pt x="2641" y="11734"/>
                  </a:lnTo>
                  <a:lnTo>
                    <a:pt x="3568" y="10083"/>
                  </a:lnTo>
                  <a:close/>
                </a:path>
                <a:path w="9525" h="15240">
                  <a:moveTo>
                    <a:pt x="9105" y="660"/>
                  </a:moveTo>
                  <a:lnTo>
                    <a:pt x="8382" y="0"/>
                  </a:lnTo>
                  <a:lnTo>
                    <a:pt x="7543" y="1358"/>
                  </a:lnTo>
                  <a:lnTo>
                    <a:pt x="5918" y="4114"/>
                  </a:lnTo>
                  <a:lnTo>
                    <a:pt x="5943" y="4800"/>
                  </a:lnTo>
                  <a:lnTo>
                    <a:pt x="5905" y="5486"/>
                  </a:lnTo>
                  <a:lnTo>
                    <a:pt x="5803" y="6172"/>
                  </a:lnTo>
                  <a:lnTo>
                    <a:pt x="7988" y="2476"/>
                  </a:lnTo>
                  <a:lnTo>
                    <a:pt x="9105" y="66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5" name="object 407">
              <a:extLst>
                <a:ext uri="{FF2B5EF4-FFF2-40B4-BE49-F238E27FC236}">
                  <a16:creationId xmlns:a16="http://schemas.microsoft.com/office/drawing/2014/main" id="{4B782B9F-ADF8-433D-898D-857B0095F0DD}"/>
                </a:ext>
              </a:extLst>
            </p:cNvPr>
            <p:cNvSpPr/>
            <p:nvPr/>
          </p:nvSpPr>
          <p:spPr>
            <a:xfrm>
              <a:off x="7901731" y="6226233"/>
              <a:ext cx="8890" cy="15240"/>
            </a:xfrm>
            <a:custGeom>
              <a:avLst/>
              <a:gdLst/>
              <a:ahLst/>
              <a:cxnLst/>
              <a:rect l="l" t="t" r="r" b="b"/>
              <a:pathLst>
                <a:path w="8890" h="15240">
                  <a:moveTo>
                    <a:pt x="8254" y="0"/>
                  </a:moveTo>
                  <a:lnTo>
                    <a:pt x="6045" y="3657"/>
                  </a:lnTo>
                  <a:lnTo>
                    <a:pt x="4965" y="5511"/>
                  </a:lnTo>
                  <a:lnTo>
                    <a:pt x="4864" y="6273"/>
                  </a:lnTo>
                  <a:lnTo>
                    <a:pt x="4673" y="7023"/>
                  </a:lnTo>
                  <a:lnTo>
                    <a:pt x="3975" y="8890"/>
                  </a:lnTo>
                  <a:lnTo>
                    <a:pt x="3416" y="9347"/>
                  </a:lnTo>
                  <a:lnTo>
                    <a:pt x="2730" y="9423"/>
                  </a:lnTo>
                  <a:lnTo>
                    <a:pt x="901" y="12725"/>
                  </a:lnTo>
                  <a:lnTo>
                    <a:pt x="0" y="14401"/>
                  </a:lnTo>
                  <a:lnTo>
                    <a:pt x="304" y="14579"/>
                  </a:lnTo>
                  <a:lnTo>
                    <a:pt x="546" y="14757"/>
                  </a:lnTo>
                  <a:lnTo>
                    <a:pt x="736" y="14973"/>
                  </a:lnTo>
                  <a:lnTo>
                    <a:pt x="2882" y="10985"/>
                  </a:lnTo>
                  <a:lnTo>
                    <a:pt x="5118" y="7061"/>
                  </a:lnTo>
                  <a:lnTo>
                    <a:pt x="7429" y="3213"/>
                  </a:lnTo>
                  <a:lnTo>
                    <a:pt x="8534" y="254"/>
                  </a:lnTo>
                  <a:lnTo>
                    <a:pt x="8254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6" name="object 408">
              <a:extLst>
                <a:ext uri="{FF2B5EF4-FFF2-40B4-BE49-F238E27FC236}">
                  <a16:creationId xmlns:a16="http://schemas.microsoft.com/office/drawing/2014/main" id="{D3737355-D9E6-45E5-8AFA-7C54E4C710EB}"/>
                </a:ext>
              </a:extLst>
            </p:cNvPr>
            <p:cNvSpPr/>
            <p:nvPr/>
          </p:nvSpPr>
          <p:spPr>
            <a:xfrm>
              <a:off x="7902471" y="6229445"/>
              <a:ext cx="6985" cy="13335"/>
            </a:xfrm>
            <a:custGeom>
              <a:avLst/>
              <a:gdLst/>
              <a:ahLst/>
              <a:cxnLst/>
              <a:rect l="l" t="t" r="r" b="b"/>
              <a:pathLst>
                <a:path w="6984" h="13334">
                  <a:moveTo>
                    <a:pt x="6680" y="0"/>
                  </a:moveTo>
                  <a:lnTo>
                    <a:pt x="4381" y="3848"/>
                  </a:lnTo>
                  <a:lnTo>
                    <a:pt x="2146" y="7772"/>
                  </a:lnTo>
                  <a:lnTo>
                    <a:pt x="0" y="11760"/>
                  </a:lnTo>
                  <a:lnTo>
                    <a:pt x="279" y="12064"/>
                  </a:lnTo>
                  <a:lnTo>
                    <a:pt x="419" y="12420"/>
                  </a:lnTo>
                  <a:lnTo>
                    <a:pt x="444" y="12852"/>
                  </a:lnTo>
                  <a:lnTo>
                    <a:pt x="1854" y="10236"/>
                  </a:lnTo>
                  <a:lnTo>
                    <a:pt x="3314" y="7632"/>
                  </a:lnTo>
                  <a:lnTo>
                    <a:pt x="4800" y="5067"/>
                  </a:lnTo>
                  <a:lnTo>
                    <a:pt x="6680" y="0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7" name="object 409">
              <a:extLst>
                <a:ext uri="{FF2B5EF4-FFF2-40B4-BE49-F238E27FC236}">
                  <a16:creationId xmlns:a16="http://schemas.microsoft.com/office/drawing/2014/main" id="{EBD9084B-E7DB-4B85-9A98-094E77236C0E}"/>
                </a:ext>
              </a:extLst>
            </p:cNvPr>
            <p:cNvSpPr/>
            <p:nvPr/>
          </p:nvSpPr>
          <p:spPr>
            <a:xfrm>
              <a:off x="7902534" y="6234513"/>
              <a:ext cx="5080" cy="10160"/>
            </a:xfrm>
            <a:custGeom>
              <a:avLst/>
              <a:gdLst/>
              <a:ahLst/>
              <a:cxnLst/>
              <a:rect l="l" t="t" r="r" b="b"/>
              <a:pathLst>
                <a:path w="5079" h="10159">
                  <a:moveTo>
                    <a:pt x="4737" y="0"/>
                  </a:moveTo>
                  <a:lnTo>
                    <a:pt x="3251" y="2565"/>
                  </a:lnTo>
                  <a:lnTo>
                    <a:pt x="1790" y="5156"/>
                  </a:lnTo>
                  <a:lnTo>
                    <a:pt x="381" y="7785"/>
                  </a:lnTo>
                  <a:lnTo>
                    <a:pt x="419" y="8293"/>
                  </a:lnTo>
                  <a:lnTo>
                    <a:pt x="279" y="8902"/>
                  </a:lnTo>
                  <a:lnTo>
                    <a:pt x="0" y="9664"/>
                  </a:lnTo>
                  <a:lnTo>
                    <a:pt x="342" y="9791"/>
                  </a:lnTo>
                  <a:lnTo>
                    <a:pt x="1879" y="6921"/>
                  </a:lnTo>
                  <a:lnTo>
                    <a:pt x="2679" y="5511"/>
                  </a:lnTo>
                  <a:lnTo>
                    <a:pt x="4737" y="0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8" name="object 410">
              <a:extLst>
                <a:ext uri="{FF2B5EF4-FFF2-40B4-BE49-F238E27FC236}">
                  <a16:creationId xmlns:a16="http://schemas.microsoft.com/office/drawing/2014/main" id="{14509ECC-829E-491C-84C6-4F5A5D42B5A8}"/>
                </a:ext>
              </a:extLst>
            </p:cNvPr>
            <p:cNvSpPr/>
            <p:nvPr/>
          </p:nvSpPr>
          <p:spPr>
            <a:xfrm>
              <a:off x="7902877" y="6240023"/>
              <a:ext cx="2540" cy="5080"/>
            </a:xfrm>
            <a:custGeom>
              <a:avLst/>
              <a:gdLst/>
              <a:ahLst/>
              <a:cxnLst/>
              <a:rect l="l" t="t" r="r" b="b"/>
              <a:pathLst>
                <a:path w="2540" h="5079">
                  <a:moveTo>
                    <a:pt x="2336" y="0"/>
                  </a:moveTo>
                  <a:lnTo>
                    <a:pt x="1536" y="1422"/>
                  </a:lnTo>
                  <a:lnTo>
                    <a:pt x="762" y="2844"/>
                  </a:lnTo>
                  <a:lnTo>
                    <a:pt x="0" y="4279"/>
                  </a:lnTo>
                  <a:lnTo>
                    <a:pt x="647" y="4521"/>
                  </a:lnTo>
                  <a:lnTo>
                    <a:pt x="2336" y="0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19" name="object 411">
              <a:extLst>
                <a:ext uri="{FF2B5EF4-FFF2-40B4-BE49-F238E27FC236}">
                  <a16:creationId xmlns:a16="http://schemas.microsoft.com/office/drawing/2014/main" id="{370296DE-65A0-4A27-B133-1054841B58BF}"/>
                </a:ext>
              </a:extLst>
            </p:cNvPr>
            <p:cNvSpPr/>
            <p:nvPr/>
          </p:nvSpPr>
          <p:spPr>
            <a:xfrm>
              <a:off x="7891030" y="6197161"/>
              <a:ext cx="10160" cy="15875"/>
            </a:xfrm>
            <a:custGeom>
              <a:avLst/>
              <a:gdLst/>
              <a:ahLst/>
              <a:cxnLst/>
              <a:rect l="l" t="t" r="r" b="b"/>
              <a:pathLst>
                <a:path w="10159" h="15875">
                  <a:moveTo>
                    <a:pt x="9766" y="0"/>
                  </a:moveTo>
                  <a:lnTo>
                    <a:pt x="8394" y="977"/>
                  </a:lnTo>
                  <a:lnTo>
                    <a:pt x="6997" y="2578"/>
                  </a:lnTo>
                  <a:lnTo>
                    <a:pt x="5664" y="4940"/>
                  </a:lnTo>
                  <a:lnTo>
                    <a:pt x="0" y="14960"/>
                  </a:lnTo>
                  <a:lnTo>
                    <a:pt x="749" y="15379"/>
                  </a:lnTo>
                  <a:lnTo>
                    <a:pt x="3670" y="9944"/>
                  </a:lnTo>
                  <a:lnTo>
                    <a:pt x="6692" y="4800"/>
                  </a:lnTo>
                  <a:lnTo>
                    <a:pt x="9766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0" name="object 412">
              <a:extLst>
                <a:ext uri="{FF2B5EF4-FFF2-40B4-BE49-F238E27FC236}">
                  <a16:creationId xmlns:a16="http://schemas.microsoft.com/office/drawing/2014/main" id="{434F9651-48B3-4BDE-89C8-3AD01FAE7701}"/>
                </a:ext>
              </a:extLst>
            </p:cNvPr>
            <p:cNvSpPr/>
            <p:nvPr/>
          </p:nvSpPr>
          <p:spPr>
            <a:xfrm>
              <a:off x="7891780" y="6195889"/>
              <a:ext cx="12700" cy="17145"/>
            </a:xfrm>
            <a:custGeom>
              <a:avLst/>
              <a:gdLst/>
              <a:ahLst/>
              <a:cxnLst/>
              <a:rect l="l" t="t" r="r" b="b"/>
              <a:pathLst>
                <a:path w="12700" h="17145">
                  <a:moveTo>
                    <a:pt x="12179" y="0"/>
                  </a:moveTo>
                  <a:lnTo>
                    <a:pt x="11734" y="38"/>
                  </a:lnTo>
                  <a:lnTo>
                    <a:pt x="11264" y="139"/>
                  </a:lnTo>
                  <a:lnTo>
                    <a:pt x="10795" y="317"/>
                  </a:lnTo>
                  <a:lnTo>
                    <a:pt x="10210" y="533"/>
                  </a:lnTo>
                  <a:lnTo>
                    <a:pt x="0" y="16662"/>
                  </a:lnTo>
                  <a:lnTo>
                    <a:pt x="165" y="16764"/>
                  </a:lnTo>
                  <a:lnTo>
                    <a:pt x="762" y="15709"/>
                  </a:lnTo>
                  <a:lnTo>
                    <a:pt x="1320" y="15125"/>
                  </a:lnTo>
                  <a:lnTo>
                    <a:pt x="1993" y="14947"/>
                  </a:lnTo>
                  <a:lnTo>
                    <a:pt x="2311" y="14859"/>
                  </a:lnTo>
                  <a:lnTo>
                    <a:pt x="2654" y="14871"/>
                  </a:lnTo>
                  <a:lnTo>
                    <a:pt x="3048" y="14973"/>
                  </a:lnTo>
                  <a:lnTo>
                    <a:pt x="3949" y="13373"/>
                  </a:lnTo>
                  <a:lnTo>
                    <a:pt x="4851" y="11798"/>
                  </a:lnTo>
                  <a:lnTo>
                    <a:pt x="5765" y="10248"/>
                  </a:lnTo>
                  <a:lnTo>
                    <a:pt x="5448" y="9994"/>
                  </a:lnTo>
                  <a:lnTo>
                    <a:pt x="5245" y="9728"/>
                  </a:lnTo>
                  <a:lnTo>
                    <a:pt x="5156" y="9423"/>
                  </a:lnTo>
                  <a:lnTo>
                    <a:pt x="7721" y="5143"/>
                  </a:lnTo>
                  <a:lnTo>
                    <a:pt x="8166" y="4876"/>
                  </a:lnTo>
                  <a:lnTo>
                    <a:pt x="8648" y="4737"/>
                  </a:lnTo>
                  <a:lnTo>
                    <a:pt x="9156" y="4673"/>
                  </a:lnTo>
                  <a:lnTo>
                    <a:pt x="10160" y="3086"/>
                  </a:lnTo>
                  <a:lnTo>
                    <a:pt x="11163" y="1524"/>
                  </a:lnTo>
                  <a:lnTo>
                    <a:pt x="12179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1" name="object 413">
              <a:extLst>
                <a:ext uri="{FF2B5EF4-FFF2-40B4-BE49-F238E27FC236}">
                  <a16:creationId xmlns:a16="http://schemas.microsoft.com/office/drawing/2014/main" id="{E4BE6EE1-1FE4-41F3-8AA5-B036A3C135B3}"/>
                </a:ext>
              </a:extLst>
            </p:cNvPr>
            <p:cNvSpPr/>
            <p:nvPr/>
          </p:nvSpPr>
          <p:spPr>
            <a:xfrm>
              <a:off x="7894815" y="6195851"/>
              <a:ext cx="11430" cy="15875"/>
            </a:xfrm>
            <a:custGeom>
              <a:avLst/>
              <a:gdLst/>
              <a:ahLst/>
              <a:cxnLst/>
              <a:rect l="l" t="t" r="r" b="b"/>
              <a:pathLst>
                <a:path w="11429" h="15875">
                  <a:moveTo>
                    <a:pt x="4356" y="11303"/>
                  </a:moveTo>
                  <a:lnTo>
                    <a:pt x="4152" y="11188"/>
                  </a:lnTo>
                  <a:lnTo>
                    <a:pt x="3517" y="10833"/>
                  </a:lnTo>
                  <a:lnTo>
                    <a:pt x="2641" y="12306"/>
                  </a:lnTo>
                  <a:lnTo>
                    <a:pt x="3517" y="10820"/>
                  </a:lnTo>
                  <a:lnTo>
                    <a:pt x="2946" y="10452"/>
                  </a:lnTo>
                  <a:lnTo>
                    <a:pt x="2730" y="10287"/>
                  </a:lnTo>
                  <a:lnTo>
                    <a:pt x="1816" y="11836"/>
                  </a:lnTo>
                  <a:lnTo>
                    <a:pt x="0" y="15011"/>
                  </a:lnTo>
                  <a:lnTo>
                    <a:pt x="279" y="15087"/>
                  </a:lnTo>
                  <a:lnTo>
                    <a:pt x="571" y="15201"/>
                  </a:lnTo>
                  <a:lnTo>
                    <a:pt x="889" y="15367"/>
                  </a:lnTo>
                  <a:lnTo>
                    <a:pt x="1104" y="15494"/>
                  </a:lnTo>
                  <a:lnTo>
                    <a:pt x="1714" y="15836"/>
                  </a:lnTo>
                  <a:lnTo>
                    <a:pt x="2578" y="14300"/>
                  </a:lnTo>
                  <a:lnTo>
                    <a:pt x="3454" y="12788"/>
                  </a:lnTo>
                  <a:lnTo>
                    <a:pt x="4356" y="11303"/>
                  </a:lnTo>
                  <a:close/>
                </a:path>
                <a:path w="11429" h="15875">
                  <a:moveTo>
                    <a:pt x="11328" y="330"/>
                  </a:moveTo>
                  <a:lnTo>
                    <a:pt x="11010" y="215"/>
                  </a:lnTo>
                  <a:lnTo>
                    <a:pt x="10668" y="127"/>
                  </a:lnTo>
                  <a:lnTo>
                    <a:pt x="10312" y="76"/>
                  </a:lnTo>
                  <a:lnTo>
                    <a:pt x="9931" y="12"/>
                  </a:lnTo>
                  <a:lnTo>
                    <a:pt x="6121" y="4711"/>
                  </a:lnTo>
                  <a:lnTo>
                    <a:pt x="6489" y="4673"/>
                  </a:lnTo>
                  <a:lnTo>
                    <a:pt x="6858" y="4686"/>
                  </a:lnTo>
                  <a:lnTo>
                    <a:pt x="7251" y="4749"/>
                  </a:lnTo>
                  <a:lnTo>
                    <a:pt x="7569" y="4800"/>
                  </a:lnTo>
                  <a:lnTo>
                    <a:pt x="7899" y="4889"/>
                  </a:lnTo>
                  <a:lnTo>
                    <a:pt x="8242" y="5016"/>
                  </a:lnTo>
                  <a:lnTo>
                    <a:pt x="9258" y="3416"/>
                  </a:lnTo>
                  <a:lnTo>
                    <a:pt x="10299" y="1854"/>
                  </a:lnTo>
                  <a:lnTo>
                    <a:pt x="11328" y="33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2" name="object 414">
              <a:extLst>
                <a:ext uri="{FF2B5EF4-FFF2-40B4-BE49-F238E27FC236}">
                  <a16:creationId xmlns:a16="http://schemas.microsoft.com/office/drawing/2014/main" id="{8AED5647-5FC1-4483-9E8D-9E229B95655B}"/>
                </a:ext>
              </a:extLst>
            </p:cNvPr>
            <p:cNvSpPr/>
            <p:nvPr/>
          </p:nvSpPr>
          <p:spPr>
            <a:xfrm>
              <a:off x="7896530" y="6196181"/>
              <a:ext cx="10795" cy="16510"/>
            </a:xfrm>
            <a:custGeom>
              <a:avLst/>
              <a:gdLst/>
              <a:ahLst/>
              <a:cxnLst/>
              <a:rect l="l" t="t" r="r" b="b"/>
              <a:pathLst>
                <a:path w="10795" h="16509">
                  <a:moveTo>
                    <a:pt x="3479" y="11430"/>
                  </a:moveTo>
                  <a:lnTo>
                    <a:pt x="2641" y="10960"/>
                  </a:lnTo>
                  <a:lnTo>
                    <a:pt x="1752" y="12446"/>
                  </a:lnTo>
                  <a:lnTo>
                    <a:pt x="876" y="13957"/>
                  </a:lnTo>
                  <a:lnTo>
                    <a:pt x="0" y="15494"/>
                  </a:lnTo>
                  <a:lnTo>
                    <a:pt x="825" y="15951"/>
                  </a:lnTo>
                  <a:lnTo>
                    <a:pt x="2578" y="12915"/>
                  </a:lnTo>
                  <a:lnTo>
                    <a:pt x="3479" y="11430"/>
                  </a:lnTo>
                  <a:close/>
                </a:path>
                <a:path w="10795" h="16509">
                  <a:moveTo>
                    <a:pt x="10515" y="444"/>
                  </a:moveTo>
                  <a:lnTo>
                    <a:pt x="10134" y="228"/>
                  </a:lnTo>
                  <a:lnTo>
                    <a:pt x="9880" y="101"/>
                  </a:lnTo>
                  <a:lnTo>
                    <a:pt x="9613" y="0"/>
                  </a:lnTo>
                  <a:lnTo>
                    <a:pt x="8585" y="1524"/>
                  </a:lnTo>
                  <a:lnTo>
                    <a:pt x="7543" y="3098"/>
                  </a:lnTo>
                  <a:lnTo>
                    <a:pt x="6527" y="4686"/>
                  </a:lnTo>
                  <a:lnTo>
                    <a:pt x="6819" y="4800"/>
                  </a:lnTo>
                  <a:lnTo>
                    <a:pt x="7124" y="4940"/>
                  </a:lnTo>
                  <a:lnTo>
                    <a:pt x="7429" y="5092"/>
                  </a:lnTo>
                  <a:lnTo>
                    <a:pt x="8458" y="3505"/>
                  </a:lnTo>
                  <a:lnTo>
                    <a:pt x="9486" y="1955"/>
                  </a:lnTo>
                  <a:lnTo>
                    <a:pt x="10515" y="444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3" name="object 415">
              <a:extLst>
                <a:ext uri="{FF2B5EF4-FFF2-40B4-BE49-F238E27FC236}">
                  <a16:creationId xmlns:a16="http://schemas.microsoft.com/office/drawing/2014/main" id="{3C157A1D-2345-40F6-B966-9841FDC6891D}"/>
                </a:ext>
              </a:extLst>
            </p:cNvPr>
            <p:cNvSpPr/>
            <p:nvPr/>
          </p:nvSpPr>
          <p:spPr>
            <a:xfrm>
              <a:off x="7897355" y="6196613"/>
              <a:ext cx="10795" cy="16510"/>
            </a:xfrm>
            <a:custGeom>
              <a:avLst/>
              <a:gdLst/>
              <a:ahLst/>
              <a:cxnLst/>
              <a:rect l="l" t="t" r="r" b="b"/>
              <a:pathLst>
                <a:path w="10795" h="16509">
                  <a:moveTo>
                    <a:pt x="3492" y="11468"/>
                  </a:moveTo>
                  <a:lnTo>
                    <a:pt x="2654" y="10998"/>
                  </a:lnTo>
                  <a:lnTo>
                    <a:pt x="1752" y="12484"/>
                  </a:lnTo>
                  <a:lnTo>
                    <a:pt x="0" y="15519"/>
                  </a:lnTo>
                  <a:lnTo>
                    <a:pt x="825" y="15989"/>
                  </a:lnTo>
                  <a:lnTo>
                    <a:pt x="1701" y="14452"/>
                  </a:lnTo>
                  <a:lnTo>
                    <a:pt x="2590" y="12954"/>
                  </a:lnTo>
                  <a:lnTo>
                    <a:pt x="3492" y="11468"/>
                  </a:lnTo>
                  <a:close/>
                </a:path>
                <a:path w="10795" h="16509">
                  <a:moveTo>
                    <a:pt x="10515" y="558"/>
                  </a:moveTo>
                  <a:lnTo>
                    <a:pt x="10274" y="368"/>
                  </a:lnTo>
                  <a:lnTo>
                    <a:pt x="9690" y="0"/>
                  </a:lnTo>
                  <a:lnTo>
                    <a:pt x="8661" y="1511"/>
                  </a:lnTo>
                  <a:lnTo>
                    <a:pt x="7632" y="3073"/>
                  </a:lnTo>
                  <a:lnTo>
                    <a:pt x="6604" y="4660"/>
                  </a:lnTo>
                  <a:lnTo>
                    <a:pt x="6883" y="4800"/>
                  </a:lnTo>
                  <a:lnTo>
                    <a:pt x="7277" y="5029"/>
                  </a:lnTo>
                  <a:lnTo>
                    <a:pt x="7454" y="5143"/>
                  </a:lnTo>
                  <a:lnTo>
                    <a:pt x="8470" y="3581"/>
                  </a:lnTo>
                  <a:lnTo>
                    <a:pt x="9486" y="2057"/>
                  </a:lnTo>
                  <a:lnTo>
                    <a:pt x="10515" y="558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4" name="object 416">
              <a:extLst>
                <a:ext uri="{FF2B5EF4-FFF2-40B4-BE49-F238E27FC236}">
                  <a16:creationId xmlns:a16="http://schemas.microsoft.com/office/drawing/2014/main" id="{6545E9DE-84B1-44B2-A9CA-164F7F6AA076}"/>
                </a:ext>
              </a:extLst>
            </p:cNvPr>
            <p:cNvSpPr/>
            <p:nvPr/>
          </p:nvSpPr>
          <p:spPr>
            <a:xfrm>
              <a:off x="7898181" y="6197184"/>
              <a:ext cx="10795" cy="16510"/>
            </a:xfrm>
            <a:custGeom>
              <a:avLst/>
              <a:gdLst/>
              <a:ahLst/>
              <a:cxnLst/>
              <a:rect l="l" t="t" r="r" b="b"/>
              <a:pathLst>
                <a:path w="10795" h="16509">
                  <a:moveTo>
                    <a:pt x="3505" y="11379"/>
                  </a:moveTo>
                  <a:lnTo>
                    <a:pt x="2667" y="10909"/>
                  </a:lnTo>
                  <a:lnTo>
                    <a:pt x="1765" y="12395"/>
                  </a:lnTo>
                  <a:lnTo>
                    <a:pt x="876" y="13893"/>
                  </a:lnTo>
                  <a:lnTo>
                    <a:pt x="0" y="15417"/>
                  </a:lnTo>
                  <a:lnTo>
                    <a:pt x="812" y="15887"/>
                  </a:lnTo>
                  <a:lnTo>
                    <a:pt x="1701" y="14363"/>
                  </a:lnTo>
                  <a:lnTo>
                    <a:pt x="2603" y="12852"/>
                  </a:lnTo>
                  <a:lnTo>
                    <a:pt x="3505" y="11379"/>
                  </a:lnTo>
                  <a:close/>
                </a:path>
                <a:path w="10795" h="16509">
                  <a:moveTo>
                    <a:pt x="10439" y="673"/>
                  </a:moveTo>
                  <a:lnTo>
                    <a:pt x="10223" y="431"/>
                  </a:lnTo>
                  <a:lnTo>
                    <a:pt x="9982" y="203"/>
                  </a:lnTo>
                  <a:lnTo>
                    <a:pt x="9702" y="0"/>
                  </a:lnTo>
                  <a:lnTo>
                    <a:pt x="8661" y="1485"/>
                  </a:lnTo>
                  <a:lnTo>
                    <a:pt x="7645" y="3022"/>
                  </a:lnTo>
                  <a:lnTo>
                    <a:pt x="6629" y="4584"/>
                  </a:lnTo>
                  <a:lnTo>
                    <a:pt x="6921" y="4775"/>
                  </a:lnTo>
                  <a:lnTo>
                    <a:pt x="7175" y="4965"/>
                  </a:lnTo>
                  <a:lnTo>
                    <a:pt x="7416" y="5168"/>
                  </a:lnTo>
                  <a:lnTo>
                    <a:pt x="8420" y="3632"/>
                  </a:lnTo>
                  <a:lnTo>
                    <a:pt x="9423" y="2133"/>
                  </a:lnTo>
                  <a:lnTo>
                    <a:pt x="10439" y="673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5" name="object 417">
              <a:extLst>
                <a:ext uri="{FF2B5EF4-FFF2-40B4-BE49-F238E27FC236}">
                  <a16:creationId xmlns:a16="http://schemas.microsoft.com/office/drawing/2014/main" id="{B505A46F-7D8B-4224-88A4-EE632868FA7B}"/>
                </a:ext>
              </a:extLst>
            </p:cNvPr>
            <p:cNvSpPr/>
            <p:nvPr/>
          </p:nvSpPr>
          <p:spPr>
            <a:xfrm>
              <a:off x="7898993" y="6197845"/>
              <a:ext cx="10795" cy="15875"/>
            </a:xfrm>
            <a:custGeom>
              <a:avLst/>
              <a:gdLst/>
              <a:ahLst/>
              <a:cxnLst/>
              <a:rect l="l" t="t" r="r" b="b"/>
              <a:pathLst>
                <a:path w="10795" h="15875">
                  <a:moveTo>
                    <a:pt x="3517" y="11188"/>
                  </a:moveTo>
                  <a:lnTo>
                    <a:pt x="2679" y="10718"/>
                  </a:lnTo>
                  <a:lnTo>
                    <a:pt x="1778" y="12192"/>
                  </a:lnTo>
                  <a:lnTo>
                    <a:pt x="0" y="15227"/>
                  </a:lnTo>
                  <a:lnTo>
                    <a:pt x="825" y="15697"/>
                  </a:lnTo>
                  <a:lnTo>
                    <a:pt x="2603" y="12661"/>
                  </a:lnTo>
                  <a:lnTo>
                    <a:pt x="3517" y="11188"/>
                  </a:lnTo>
                  <a:close/>
                </a:path>
                <a:path w="10795" h="15875">
                  <a:moveTo>
                    <a:pt x="10274" y="838"/>
                  </a:moveTo>
                  <a:lnTo>
                    <a:pt x="10096" y="546"/>
                  </a:lnTo>
                  <a:lnTo>
                    <a:pt x="9880" y="266"/>
                  </a:lnTo>
                  <a:lnTo>
                    <a:pt x="9626" y="0"/>
                  </a:lnTo>
                  <a:lnTo>
                    <a:pt x="7607" y="2971"/>
                  </a:lnTo>
                  <a:lnTo>
                    <a:pt x="6604" y="4508"/>
                  </a:lnTo>
                  <a:lnTo>
                    <a:pt x="6883" y="4737"/>
                  </a:lnTo>
                  <a:lnTo>
                    <a:pt x="7112" y="4978"/>
                  </a:lnTo>
                  <a:lnTo>
                    <a:pt x="7315" y="5219"/>
                  </a:lnTo>
                  <a:lnTo>
                    <a:pt x="8293" y="3733"/>
                  </a:lnTo>
                  <a:lnTo>
                    <a:pt x="9283" y="2260"/>
                  </a:lnTo>
                  <a:lnTo>
                    <a:pt x="10274" y="838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6" name="object 418">
              <a:extLst>
                <a:ext uri="{FF2B5EF4-FFF2-40B4-BE49-F238E27FC236}">
                  <a16:creationId xmlns:a16="http://schemas.microsoft.com/office/drawing/2014/main" id="{D6E53C93-00E0-4E40-A6DD-02DD2A8CD71E}"/>
                </a:ext>
              </a:extLst>
            </p:cNvPr>
            <p:cNvSpPr/>
            <p:nvPr/>
          </p:nvSpPr>
          <p:spPr>
            <a:xfrm>
              <a:off x="7899832" y="6198670"/>
              <a:ext cx="10160" cy="15875"/>
            </a:xfrm>
            <a:custGeom>
              <a:avLst/>
              <a:gdLst/>
              <a:ahLst/>
              <a:cxnLst/>
              <a:rect l="l" t="t" r="r" b="b"/>
              <a:pathLst>
                <a:path w="10159" h="15875">
                  <a:moveTo>
                    <a:pt x="3530" y="10833"/>
                  </a:moveTo>
                  <a:lnTo>
                    <a:pt x="2692" y="10363"/>
                  </a:lnTo>
                  <a:lnTo>
                    <a:pt x="1778" y="11836"/>
                  </a:lnTo>
                  <a:lnTo>
                    <a:pt x="0" y="14859"/>
                  </a:lnTo>
                  <a:lnTo>
                    <a:pt x="825" y="15328"/>
                  </a:lnTo>
                  <a:lnTo>
                    <a:pt x="1714" y="13817"/>
                  </a:lnTo>
                  <a:lnTo>
                    <a:pt x="2616" y="12319"/>
                  </a:lnTo>
                  <a:lnTo>
                    <a:pt x="3530" y="10833"/>
                  </a:lnTo>
                  <a:close/>
                </a:path>
                <a:path w="10159" h="15875">
                  <a:moveTo>
                    <a:pt x="9918" y="1054"/>
                  </a:moveTo>
                  <a:lnTo>
                    <a:pt x="9791" y="685"/>
                  </a:lnTo>
                  <a:lnTo>
                    <a:pt x="9626" y="330"/>
                  </a:lnTo>
                  <a:lnTo>
                    <a:pt x="9423" y="0"/>
                  </a:lnTo>
                  <a:lnTo>
                    <a:pt x="8432" y="1435"/>
                  </a:lnTo>
                  <a:lnTo>
                    <a:pt x="7454" y="2895"/>
                  </a:lnTo>
                  <a:lnTo>
                    <a:pt x="6477" y="4394"/>
                  </a:lnTo>
                  <a:lnTo>
                    <a:pt x="6718" y="4686"/>
                  </a:lnTo>
                  <a:lnTo>
                    <a:pt x="6908" y="5003"/>
                  </a:lnTo>
                  <a:lnTo>
                    <a:pt x="7035" y="5321"/>
                  </a:lnTo>
                  <a:lnTo>
                    <a:pt x="8940" y="2438"/>
                  </a:lnTo>
                  <a:lnTo>
                    <a:pt x="9918" y="1054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7" name="object 419">
              <a:extLst>
                <a:ext uri="{FF2B5EF4-FFF2-40B4-BE49-F238E27FC236}">
                  <a16:creationId xmlns:a16="http://schemas.microsoft.com/office/drawing/2014/main" id="{28ED602B-6997-418A-8EC9-F9B60CA3B8D2}"/>
                </a:ext>
              </a:extLst>
            </p:cNvPr>
            <p:cNvSpPr/>
            <p:nvPr/>
          </p:nvSpPr>
          <p:spPr>
            <a:xfrm>
              <a:off x="7900644" y="6199724"/>
              <a:ext cx="9525" cy="15240"/>
            </a:xfrm>
            <a:custGeom>
              <a:avLst/>
              <a:gdLst/>
              <a:ahLst/>
              <a:cxnLst/>
              <a:rect l="l" t="t" r="r" b="b"/>
              <a:pathLst>
                <a:path w="9525" h="15240">
                  <a:moveTo>
                    <a:pt x="3543" y="10248"/>
                  </a:moveTo>
                  <a:lnTo>
                    <a:pt x="2705" y="9779"/>
                  </a:lnTo>
                  <a:lnTo>
                    <a:pt x="1790" y="11252"/>
                  </a:lnTo>
                  <a:lnTo>
                    <a:pt x="889" y="12750"/>
                  </a:lnTo>
                  <a:lnTo>
                    <a:pt x="0" y="14274"/>
                  </a:lnTo>
                  <a:lnTo>
                    <a:pt x="825" y="14732"/>
                  </a:lnTo>
                  <a:lnTo>
                    <a:pt x="2628" y="11722"/>
                  </a:lnTo>
                  <a:lnTo>
                    <a:pt x="3543" y="10248"/>
                  </a:lnTo>
                  <a:close/>
                </a:path>
                <a:path w="9525" h="15240">
                  <a:moveTo>
                    <a:pt x="9359" y="1371"/>
                  </a:moveTo>
                  <a:lnTo>
                    <a:pt x="9334" y="901"/>
                  </a:lnTo>
                  <a:lnTo>
                    <a:pt x="9245" y="431"/>
                  </a:lnTo>
                  <a:lnTo>
                    <a:pt x="9105" y="0"/>
                  </a:lnTo>
                  <a:lnTo>
                    <a:pt x="8128" y="1384"/>
                  </a:lnTo>
                  <a:lnTo>
                    <a:pt x="6223" y="4267"/>
                  </a:lnTo>
                  <a:lnTo>
                    <a:pt x="6400" y="4699"/>
                  </a:lnTo>
                  <a:lnTo>
                    <a:pt x="6489" y="5168"/>
                  </a:lnTo>
                  <a:lnTo>
                    <a:pt x="6489" y="5651"/>
                  </a:lnTo>
                  <a:lnTo>
                    <a:pt x="8394" y="2768"/>
                  </a:lnTo>
                  <a:lnTo>
                    <a:pt x="9359" y="1371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8" name="object 420">
              <a:extLst>
                <a:ext uri="{FF2B5EF4-FFF2-40B4-BE49-F238E27FC236}">
                  <a16:creationId xmlns:a16="http://schemas.microsoft.com/office/drawing/2014/main" id="{03F71DF9-0475-4F07-ACF7-4D6FEFB79ADE}"/>
                </a:ext>
              </a:extLst>
            </p:cNvPr>
            <p:cNvSpPr/>
            <p:nvPr/>
          </p:nvSpPr>
          <p:spPr>
            <a:xfrm>
              <a:off x="7901470" y="6201096"/>
              <a:ext cx="8890" cy="13970"/>
            </a:xfrm>
            <a:custGeom>
              <a:avLst/>
              <a:gdLst/>
              <a:ahLst/>
              <a:cxnLst/>
              <a:rect l="l" t="t" r="r" b="b"/>
              <a:pathLst>
                <a:path w="8890" h="13970">
                  <a:moveTo>
                    <a:pt x="3556" y="9359"/>
                  </a:moveTo>
                  <a:lnTo>
                    <a:pt x="2717" y="8890"/>
                  </a:lnTo>
                  <a:lnTo>
                    <a:pt x="1803" y="10363"/>
                  </a:lnTo>
                  <a:lnTo>
                    <a:pt x="0" y="13373"/>
                  </a:lnTo>
                  <a:lnTo>
                    <a:pt x="825" y="13855"/>
                  </a:lnTo>
                  <a:lnTo>
                    <a:pt x="2641" y="10845"/>
                  </a:lnTo>
                  <a:lnTo>
                    <a:pt x="3556" y="9359"/>
                  </a:lnTo>
                  <a:close/>
                </a:path>
                <a:path w="8890" h="13970">
                  <a:moveTo>
                    <a:pt x="8572" y="647"/>
                  </a:moveTo>
                  <a:lnTo>
                    <a:pt x="8534" y="0"/>
                  </a:lnTo>
                  <a:lnTo>
                    <a:pt x="7569" y="1397"/>
                  </a:lnTo>
                  <a:lnTo>
                    <a:pt x="5664" y="4279"/>
                  </a:lnTo>
                  <a:lnTo>
                    <a:pt x="5651" y="5295"/>
                  </a:lnTo>
                  <a:lnTo>
                    <a:pt x="5270" y="6426"/>
                  </a:lnTo>
                  <a:lnTo>
                    <a:pt x="4533" y="7734"/>
                  </a:lnTo>
                  <a:lnTo>
                    <a:pt x="4013" y="8661"/>
                  </a:lnTo>
                  <a:lnTo>
                    <a:pt x="5448" y="6375"/>
                  </a:lnTo>
                  <a:lnTo>
                    <a:pt x="6908" y="4140"/>
                  </a:lnTo>
                  <a:lnTo>
                    <a:pt x="8382" y="1968"/>
                  </a:lnTo>
                  <a:lnTo>
                    <a:pt x="8521" y="1295"/>
                  </a:lnTo>
                  <a:lnTo>
                    <a:pt x="8572" y="647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29" name="object 421">
              <a:extLst>
                <a:ext uri="{FF2B5EF4-FFF2-40B4-BE49-F238E27FC236}">
                  <a16:creationId xmlns:a16="http://schemas.microsoft.com/office/drawing/2014/main" id="{A1D4C264-C816-4772-BCEB-3C060FBD36DC}"/>
                </a:ext>
              </a:extLst>
            </p:cNvPr>
            <p:cNvSpPr/>
            <p:nvPr/>
          </p:nvSpPr>
          <p:spPr>
            <a:xfrm>
              <a:off x="7902308" y="6203077"/>
              <a:ext cx="7620" cy="12700"/>
            </a:xfrm>
            <a:custGeom>
              <a:avLst/>
              <a:gdLst/>
              <a:ahLst/>
              <a:cxnLst/>
              <a:rect l="l" t="t" r="r" b="b"/>
              <a:pathLst>
                <a:path w="7620" h="12700">
                  <a:moveTo>
                    <a:pt x="7556" y="0"/>
                  </a:moveTo>
                  <a:lnTo>
                    <a:pt x="6070" y="2171"/>
                  </a:lnTo>
                  <a:lnTo>
                    <a:pt x="4610" y="4406"/>
                  </a:lnTo>
                  <a:lnTo>
                    <a:pt x="3175" y="6692"/>
                  </a:lnTo>
                  <a:lnTo>
                    <a:pt x="2768" y="7404"/>
                  </a:lnTo>
                  <a:lnTo>
                    <a:pt x="1816" y="8851"/>
                  </a:lnTo>
                  <a:lnTo>
                    <a:pt x="901" y="10350"/>
                  </a:lnTo>
                  <a:lnTo>
                    <a:pt x="0" y="11861"/>
                  </a:lnTo>
                  <a:lnTo>
                    <a:pt x="825" y="12331"/>
                  </a:lnTo>
                  <a:lnTo>
                    <a:pt x="1739" y="10820"/>
                  </a:lnTo>
                  <a:lnTo>
                    <a:pt x="2654" y="9334"/>
                  </a:lnTo>
                  <a:lnTo>
                    <a:pt x="3581" y="7861"/>
                  </a:lnTo>
                  <a:lnTo>
                    <a:pt x="4419" y="6527"/>
                  </a:lnTo>
                  <a:lnTo>
                    <a:pt x="6121" y="3898"/>
                  </a:lnTo>
                  <a:lnTo>
                    <a:pt x="6743" y="2641"/>
                  </a:lnTo>
                  <a:lnTo>
                    <a:pt x="7289" y="1308"/>
                  </a:lnTo>
                  <a:lnTo>
                    <a:pt x="7556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0" name="object 422">
              <a:extLst>
                <a:ext uri="{FF2B5EF4-FFF2-40B4-BE49-F238E27FC236}">
                  <a16:creationId xmlns:a16="http://schemas.microsoft.com/office/drawing/2014/main" id="{1E331A38-BB48-4D54-900B-21E8D453B9AA}"/>
                </a:ext>
              </a:extLst>
            </p:cNvPr>
            <p:cNvSpPr/>
            <p:nvPr/>
          </p:nvSpPr>
          <p:spPr>
            <a:xfrm>
              <a:off x="7903133" y="6206976"/>
              <a:ext cx="5715" cy="9525"/>
            </a:xfrm>
            <a:custGeom>
              <a:avLst/>
              <a:gdLst/>
              <a:ahLst/>
              <a:cxnLst/>
              <a:rect l="l" t="t" r="r" b="b"/>
              <a:pathLst>
                <a:path w="5715" h="9525">
                  <a:moveTo>
                    <a:pt x="3594" y="4432"/>
                  </a:moveTo>
                  <a:lnTo>
                    <a:pt x="2743" y="3962"/>
                  </a:lnTo>
                  <a:lnTo>
                    <a:pt x="1816" y="5435"/>
                  </a:lnTo>
                  <a:lnTo>
                    <a:pt x="901" y="6921"/>
                  </a:lnTo>
                  <a:lnTo>
                    <a:pt x="0" y="8432"/>
                  </a:lnTo>
                  <a:lnTo>
                    <a:pt x="838" y="8902"/>
                  </a:lnTo>
                  <a:lnTo>
                    <a:pt x="1739" y="7391"/>
                  </a:lnTo>
                  <a:lnTo>
                    <a:pt x="3594" y="4432"/>
                  </a:lnTo>
                  <a:close/>
                </a:path>
                <a:path w="5715" h="9525">
                  <a:moveTo>
                    <a:pt x="5295" y="0"/>
                  </a:moveTo>
                  <a:lnTo>
                    <a:pt x="4445" y="1295"/>
                  </a:lnTo>
                  <a:lnTo>
                    <a:pt x="3594" y="2616"/>
                  </a:lnTo>
                  <a:lnTo>
                    <a:pt x="2755" y="3962"/>
                  </a:lnTo>
                  <a:lnTo>
                    <a:pt x="3022" y="4114"/>
                  </a:lnTo>
                  <a:lnTo>
                    <a:pt x="4381" y="1727"/>
                  </a:lnTo>
                  <a:lnTo>
                    <a:pt x="5003" y="596"/>
                  </a:lnTo>
                  <a:lnTo>
                    <a:pt x="5295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1" name="object 423">
              <a:extLst>
                <a:ext uri="{FF2B5EF4-FFF2-40B4-BE49-F238E27FC236}">
                  <a16:creationId xmlns:a16="http://schemas.microsoft.com/office/drawing/2014/main" id="{5917CF5C-732D-456F-800E-BB4287ADF83D}"/>
                </a:ext>
              </a:extLst>
            </p:cNvPr>
            <p:cNvSpPr/>
            <p:nvPr/>
          </p:nvSpPr>
          <p:spPr>
            <a:xfrm>
              <a:off x="7903967" y="6211399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768" y="0"/>
                  </a:moveTo>
                  <a:lnTo>
                    <a:pt x="914" y="2959"/>
                  </a:lnTo>
                  <a:lnTo>
                    <a:pt x="0" y="4470"/>
                  </a:lnTo>
                  <a:lnTo>
                    <a:pt x="838" y="4940"/>
                  </a:lnTo>
                  <a:lnTo>
                    <a:pt x="1752" y="3429"/>
                  </a:lnTo>
                  <a:lnTo>
                    <a:pt x="3606" y="482"/>
                  </a:lnTo>
                  <a:lnTo>
                    <a:pt x="2768" y="0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2" name="object 424">
              <a:extLst>
                <a:ext uri="{FF2B5EF4-FFF2-40B4-BE49-F238E27FC236}">
                  <a16:creationId xmlns:a16="http://schemas.microsoft.com/office/drawing/2014/main" id="{0915A3B7-668F-4CE0-AF4D-C1D28499FF6B}"/>
                </a:ext>
              </a:extLst>
            </p:cNvPr>
            <p:cNvSpPr/>
            <p:nvPr/>
          </p:nvSpPr>
          <p:spPr>
            <a:xfrm>
              <a:off x="7904806" y="6211886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768" y="0"/>
                  </a:moveTo>
                  <a:lnTo>
                    <a:pt x="1841" y="1460"/>
                  </a:lnTo>
                  <a:lnTo>
                    <a:pt x="914" y="2946"/>
                  </a:lnTo>
                  <a:lnTo>
                    <a:pt x="0" y="4457"/>
                  </a:lnTo>
                  <a:lnTo>
                    <a:pt x="838" y="4927"/>
                  </a:lnTo>
                  <a:lnTo>
                    <a:pt x="1752" y="3428"/>
                  </a:lnTo>
                  <a:lnTo>
                    <a:pt x="2679" y="1943"/>
                  </a:lnTo>
                  <a:lnTo>
                    <a:pt x="3619" y="482"/>
                  </a:lnTo>
                  <a:lnTo>
                    <a:pt x="2768" y="0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3" name="object 425">
              <a:extLst>
                <a:ext uri="{FF2B5EF4-FFF2-40B4-BE49-F238E27FC236}">
                  <a16:creationId xmlns:a16="http://schemas.microsoft.com/office/drawing/2014/main" id="{D3325110-8115-4753-AFD3-A56EFC81F4B5}"/>
                </a:ext>
              </a:extLst>
            </p:cNvPr>
            <p:cNvSpPr/>
            <p:nvPr/>
          </p:nvSpPr>
          <p:spPr>
            <a:xfrm>
              <a:off x="7905643" y="6212358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781" y="0"/>
                  </a:moveTo>
                  <a:lnTo>
                    <a:pt x="1854" y="1473"/>
                  </a:lnTo>
                  <a:lnTo>
                    <a:pt x="914" y="2946"/>
                  </a:lnTo>
                  <a:lnTo>
                    <a:pt x="0" y="4457"/>
                  </a:lnTo>
                  <a:lnTo>
                    <a:pt x="838" y="4927"/>
                  </a:lnTo>
                  <a:lnTo>
                    <a:pt x="2692" y="1943"/>
                  </a:lnTo>
                  <a:lnTo>
                    <a:pt x="3632" y="482"/>
                  </a:lnTo>
                  <a:lnTo>
                    <a:pt x="2781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4" name="object 426">
              <a:extLst>
                <a:ext uri="{FF2B5EF4-FFF2-40B4-BE49-F238E27FC236}">
                  <a16:creationId xmlns:a16="http://schemas.microsoft.com/office/drawing/2014/main" id="{A62278C8-469B-443C-9A4B-33FEA28B14C6}"/>
                </a:ext>
              </a:extLst>
            </p:cNvPr>
            <p:cNvSpPr/>
            <p:nvPr/>
          </p:nvSpPr>
          <p:spPr>
            <a:xfrm>
              <a:off x="7906482" y="6212846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794" y="0"/>
                  </a:moveTo>
                  <a:lnTo>
                    <a:pt x="1854" y="1460"/>
                  </a:lnTo>
                  <a:lnTo>
                    <a:pt x="0" y="4444"/>
                  </a:lnTo>
                  <a:lnTo>
                    <a:pt x="838" y="4914"/>
                  </a:lnTo>
                  <a:lnTo>
                    <a:pt x="1765" y="3416"/>
                  </a:lnTo>
                  <a:lnTo>
                    <a:pt x="3644" y="482"/>
                  </a:lnTo>
                  <a:lnTo>
                    <a:pt x="2794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5" name="object 427">
              <a:extLst>
                <a:ext uri="{FF2B5EF4-FFF2-40B4-BE49-F238E27FC236}">
                  <a16:creationId xmlns:a16="http://schemas.microsoft.com/office/drawing/2014/main" id="{EF6FF08D-DB1E-449B-8563-01DA20AF0DD4}"/>
                </a:ext>
              </a:extLst>
            </p:cNvPr>
            <p:cNvSpPr/>
            <p:nvPr/>
          </p:nvSpPr>
          <p:spPr>
            <a:xfrm>
              <a:off x="7907318" y="6213328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806" y="0"/>
                  </a:moveTo>
                  <a:lnTo>
                    <a:pt x="927" y="2933"/>
                  </a:lnTo>
                  <a:lnTo>
                    <a:pt x="0" y="4432"/>
                  </a:lnTo>
                  <a:lnTo>
                    <a:pt x="838" y="4902"/>
                  </a:lnTo>
                  <a:lnTo>
                    <a:pt x="1765" y="3416"/>
                  </a:lnTo>
                  <a:lnTo>
                    <a:pt x="2705" y="1930"/>
                  </a:lnTo>
                  <a:lnTo>
                    <a:pt x="3657" y="482"/>
                  </a:lnTo>
                  <a:lnTo>
                    <a:pt x="2806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6" name="object 428">
              <a:extLst>
                <a:ext uri="{FF2B5EF4-FFF2-40B4-BE49-F238E27FC236}">
                  <a16:creationId xmlns:a16="http://schemas.microsoft.com/office/drawing/2014/main" id="{6A4BF959-A758-4276-8E14-26EE88A7E4AF}"/>
                </a:ext>
              </a:extLst>
            </p:cNvPr>
            <p:cNvSpPr/>
            <p:nvPr/>
          </p:nvSpPr>
          <p:spPr>
            <a:xfrm>
              <a:off x="7908150" y="6213806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832" y="0"/>
                  </a:moveTo>
                  <a:lnTo>
                    <a:pt x="1879" y="1460"/>
                  </a:lnTo>
                  <a:lnTo>
                    <a:pt x="939" y="2933"/>
                  </a:lnTo>
                  <a:lnTo>
                    <a:pt x="0" y="4432"/>
                  </a:lnTo>
                  <a:lnTo>
                    <a:pt x="850" y="4902"/>
                  </a:lnTo>
                  <a:lnTo>
                    <a:pt x="1778" y="3403"/>
                  </a:lnTo>
                  <a:lnTo>
                    <a:pt x="3683" y="482"/>
                  </a:lnTo>
                  <a:lnTo>
                    <a:pt x="2832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7" name="object 429">
              <a:extLst>
                <a:ext uri="{FF2B5EF4-FFF2-40B4-BE49-F238E27FC236}">
                  <a16:creationId xmlns:a16="http://schemas.microsoft.com/office/drawing/2014/main" id="{F72F812F-4868-4DCB-BCE3-BB9ADF9FDD80}"/>
                </a:ext>
              </a:extLst>
            </p:cNvPr>
            <p:cNvSpPr/>
            <p:nvPr/>
          </p:nvSpPr>
          <p:spPr>
            <a:xfrm>
              <a:off x="7909002" y="6214295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832" y="0"/>
                  </a:moveTo>
                  <a:lnTo>
                    <a:pt x="1879" y="1447"/>
                  </a:lnTo>
                  <a:lnTo>
                    <a:pt x="927" y="2920"/>
                  </a:lnTo>
                  <a:lnTo>
                    <a:pt x="0" y="4406"/>
                  </a:lnTo>
                  <a:lnTo>
                    <a:pt x="457" y="4673"/>
                  </a:lnTo>
                  <a:lnTo>
                    <a:pt x="825" y="4902"/>
                  </a:lnTo>
                  <a:lnTo>
                    <a:pt x="1777" y="3390"/>
                  </a:lnTo>
                  <a:lnTo>
                    <a:pt x="2743" y="1904"/>
                  </a:lnTo>
                  <a:lnTo>
                    <a:pt x="3708" y="444"/>
                  </a:lnTo>
                  <a:lnTo>
                    <a:pt x="3492" y="355"/>
                  </a:lnTo>
                  <a:lnTo>
                    <a:pt x="3263" y="241"/>
                  </a:lnTo>
                  <a:lnTo>
                    <a:pt x="3035" y="101"/>
                  </a:lnTo>
                  <a:lnTo>
                    <a:pt x="2832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8" name="object 430">
              <a:extLst>
                <a:ext uri="{FF2B5EF4-FFF2-40B4-BE49-F238E27FC236}">
                  <a16:creationId xmlns:a16="http://schemas.microsoft.com/office/drawing/2014/main" id="{97127A1B-E701-41C9-9903-20C2A62C3ADD}"/>
                </a:ext>
              </a:extLst>
            </p:cNvPr>
            <p:cNvSpPr/>
            <p:nvPr/>
          </p:nvSpPr>
          <p:spPr>
            <a:xfrm>
              <a:off x="7909835" y="6214742"/>
              <a:ext cx="4445" cy="5080"/>
            </a:xfrm>
            <a:custGeom>
              <a:avLst/>
              <a:gdLst/>
              <a:ahLst/>
              <a:cxnLst/>
              <a:rect l="l" t="t" r="r" b="b"/>
              <a:pathLst>
                <a:path w="4445" h="5079">
                  <a:moveTo>
                    <a:pt x="2870" y="0"/>
                  </a:moveTo>
                  <a:lnTo>
                    <a:pt x="1904" y="1460"/>
                  </a:lnTo>
                  <a:lnTo>
                    <a:pt x="952" y="2946"/>
                  </a:lnTo>
                  <a:lnTo>
                    <a:pt x="0" y="4457"/>
                  </a:lnTo>
                  <a:lnTo>
                    <a:pt x="304" y="4648"/>
                  </a:lnTo>
                  <a:lnTo>
                    <a:pt x="558" y="4851"/>
                  </a:lnTo>
                  <a:lnTo>
                    <a:pt x="761" y="5054"/>
                  </a:lnTo>
                  <a:lnTo>
                    <a:pt x="2819" y="1841"/>
                  </a:lnTo>
                  <a:lnTo>
                    <a:pt x="3873" y="266"/>
                  </a:lnTo>
                  <a:lnTo>
                    <a:pt x="3568" y="241"/>
                  </a:lnTo>
                  <a:lnTo>
                    <a:pt x="3238" y="152"/>
                  </a:lnTo>
                  <a:lnTo>
                    <a:pt x="2870" y="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39" name="object 431">
              <a:extLst>
                <a:ext uri="{FF2B5EF4-FFF2-40B4-BE49-F238E27FC236}">
                  <a16:creationId xmlns:a16="http://schemas.microsoft.com/office/drawing/2014/main" id="{19C8C682-FEA5-4665-9157-21DB9006FD80}"/>
                </a:ext>
              </a:extLst>
            </p:cNvPr>
            <p:cNvSpPr/>
            <p:nvPr/>
          </p:nvSpPr>
          <p:spPr>
            <a:xfrm>
              <a:off x="7910589" y="6213148"/>
              <a:ext cx="5715" cy="7620"/>
            </a:xfrm>
            <a:custGeom>
              <a:avLst/>
              <a:gdLst/>
              <a:ahLst/>
              <a:cxnLst/>
              <a:rect l="l" t="t" r="r" b="b"/>
              <a:pathLst>
                <a:path w="5715" h="7620">
                  <a:moveTo>
                    <a:pt x="4940" y="901"/>
                  </a:moveTo>
                  <a:lnTo>
                    <a:pt x="4394" y="1612"/>
                  </a:lnTo>
                  <a:lnTo>
                    <a:pt x="3822" y="1917"/>
                  </a:lnTo>
                  <a:lnTo>
                    <a:pt x="3111" y="1854"/>
                  </a:lnTo>
                  <a:lnTo>
                    <a:pt x="1028" y="5029"/>
                  </a:lnTo>
                  <a:lnTo>
                    <a:pt x="0" y="6654"/>
                  </a:lnTo>
                  <a:lnTo>
                    <a:pt x="304" y="6946"/>
                  </a:lnTo>
                  <a:lnTo>
                    <a:pt x="482" y="7264"/>
                  </a:lnTo>
                  <a:lnTo>
                    <a:pt x="546" y="7607"/>
                  </a:lnTo>
                  <a:lnTo>
                    <a:pt x="1993" y="5334"/>
                  </a:lnTo>
                  <a:lnTo>
                    <a:pt x="3454" y="3098"/>
                  </a:lnTo>
                  <a:lnTo>
                    <a:pt x="4940" y="901"/>
                  </a:lnTo>
                  <a:close/>
                </a:path>
                <a:path w="5715" h="7620">
                  <a:moveTo>
                    <a:pt x="5537" y="12"/>
                  </a:moveTo>
                  <a:lnTo>
                    <a:pt x="5384" y="241"/>
                  </a:lnTo>
                  <a:lnTo>
                    <a:pt x="5537" y="12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0" name="object 432">
              <a:extLst>
                <a:ext uri="{FF2B5EF4-FFF2-40B4-BE49-F238E27FC236}">
                  <a16:creationId xmlns:a16="http://schemas.microsoft.com/office/drawing/2014/main" id="{1507F2B1-27B1-4A3F-A92F-C03BAC40AE4F}"/>
                </a:ext>
              </a:extLst>
            </p:cNvPr>
            <p:cNvSpPr/>
            <p:nvPr/>
          </p:nvSpPr>
          <p:spPr>
            <a:xfrm>
              <a:off x="7910492" y="6213160"/>
              <a:ext cx="6985" cy="10160"/>
            </a:xfrm>
            <a:custGeom>
              <a:avLst/>
              <a:gdLst/>
              <a:ahLst/>
              <a:cxnLst/>
              <a:rect l="l" t="t" r="r" b="b"/>
              <a:pathLst>
                <a:path w="6984" h="10159">
                  <a:moveTo>
                    <a:pt x="5651" y="0"/>
                  </a:moveTo>
                  <a:lnTo>
                    <a:pt x="5486" y="228"/>
                  </a:lnTo>
                  <a:lnTo>
                    <a:pt x="5194" y="698"/>
                  </a:lnTo>
                  <a:lnTo>
                    <a:pt x="5041" y="889"/>
                  </a:lnTo>
                  <a:lnTo>
                    <a:pt x="3556" y="3086"/>
                  </a:lnTo>
                  <a:lnTo>
                    <a:pt x="2082" y="5321"/>
                  </a:lnTo>
                  <a:lnTo>
                    <a:pt x="647" y="7594"/>
                  </a:lnTo>
                  <a:lnTo>
                    <a:pt x="787" y="8229"/>
                  </a:lnTo>
                  <a:lnTo>
                    <a:pt x="558" y="8978"/>
                  </a:lnTo>
                  <a:lnTo>
                    <a:pt x="0" y="9956"/>
                  </a:lnTo>
                  <a:lnTo>
                    <a:pt x="228" y="10083"/>
                  </a:lnTo>
                  <a:lnTo>
                    <a:pt x="2260" y="6807"/>
                  </a:lnTo>
                  <a:lnTo>
                    <a:pt x="4368" y="3606"/>
                  </a:lnTo>
                  <a:lnTo>
                    <a:pt x="6515" y="482"/>
                  </a:lnTo>
                  <a:lnTo>
                    <a:pt x="5651" y="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1" name="object 433">
              <a:extLst>
                <a:ext uri="{FF2B5EF4-FFF2-40B4-BE49-F238E27FC236}">
                  <a16:creationId xmlns:a16="http://schemas.microsoft.com/office/drawing/2014/main" id="{8513E6BD-FAAE-44E1-8B02-3E38BC437DE9}"/>
                </a:ext>
              </a:extLst>
            </p:cNvPr>
            <p:cNvSpPr/>
            <p:nvPr/>
          </p:nvSpPr>
          <p:spPr>
            <a:xfrm>
              <a:off x="7910715" y="6213652"/>
              <a:ext cx="6350" cy="10160"/>
            </a:xfrm>
            <a:custGeom>
              <a:avLst/>
              <a:gdLst/>
              <a:ahLst/>
              <a:cxnLst/>
              <a:rect l="l" t="t" r="r" b="b"/>
              <a:pathLst>
                <a:path w="6350" h="10159">
                  <a:moveTo>
                    <a:pt x="6286" y="0"/>
                  </a:moveTo>
                  <a:lnTo>
                    <a:pt x="4140" y="3111"/>
                  </a:lnTo>
                  <a:lnTo>
                    <a:pt x="2044" y="6311"/>
                  </a:lnTo>
                  <a:lnTo>
                    <a:pt x="0" y="9588"/>
                  </a:lnTo>
                  <a:lnTo>
                    <a:pt x="698" y="9982"/>
                  </a:lnTo>
                  <a:lnTo>
                    <a:pt x="6324" y="12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2" name="object 434">
              <a:extLst>
                <a:ext uri="{FF2B5EF4-FFF2-40B4-BE49-F238E27FC236}">
                  <a16:creationId xmlns:a16="http://schemas.microsoft.com/office/drawing/2014/main" id="{3AA62A02-98EF-4025-85BE-094D7CFFB9CA}"/>
                </a:ext>
              </a:extLst>
            </p:cNvPr>
            <p:cNvSpPr/>
            <p:nvPr/>
          </p:nvSpPr>
          <p:spPr>
            <a:xfrm>
              <a:off x="7907462" y="6182928"/>
              <a:ext cx="1905" cy="3175"/>
            </a:xfrm>
            <a:custGeom>
              <a:avLst/>
              <a:gdLst/>
              <a:ahLst/>
              <a:cxnLst/>
              <a:rect l="l" t="t" r="r" b="b"/>
              <a:pathLst>
                <a:path w="1904" h="3175">
                  <a:moveTo>
                    <a:pt x="927" y="0"/>
                  </a:moveTo>
                  <a:lnTo>
                    <a:pt x="0" y="2755"/>
                  </a:lnTo>
                  <a:lnTo>
                    <a:pt x="609" y="1930"/>
                  </a:lnTo>
                  <a:lnTo>
                    <a:pt x="1219" y="1117"/>
                  </a:lnTo>
                  <a:lnTo>
                    <a:pt x="1841" y="317"/>
                  </a:lnTo>
                  <a:lnTo>
                    <a:pt x="927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3" name="object 435">
              <a:extLst>
                <a:ext uri="{FF2B5EF4-FFF2-40B4-BE49-F238E27FC236}">
                  <a16:creationId xmlns:a16="http://schemas.microsoft.com/office/drawing/2014/main" id="{081028DE-A045-4113-98BD-843F74D878B5}"/>
                </a:ext>
              </a:extLst>
            </p:cNvPr>
            <p:cNvSpPr/>
            <p:nvPr/>
          </p:nvSpPr>
          <p:spPr>
            <a:xfrm>
              <a:off x="7906825" y="6183241"/>
              <a:ext cx="3810" cy="5080"/>
            </a:xfrm>
            <a:custGeom>
              <a:avLst/>
              <a:gdLst/>
              <a:ahLst/>
              <a:cxnLst/>
              <a:rect l="l" t="t" r="r" b="b"/>
              <a:pathLst>
                <a:path w="3809" h="5079">
                  <a:moveTo>
                    <a:pt x="2476" y="0"/>
                  </a:moveTo>
                  <a:lnTo>
                    <a:pt x="1854" y="800"/>
                  </a:lnTo>
                  <a:lnTo>
                    <a:pt x="635" y="2438"/>
                  </a:lnTo>
                  <a:lnTo>
                    <a:pt x="0" y="4330"/>
                  </a:lnTo>
                  <a:lnTo>
                    <a:pt x="241" y="4686"/>
                  </a:lnTo>
                  <a:lnTo>
                    <a:pt x="1320" y="3200"/>
                  </a:lnTo>
                  <a:lnTo>
                    <a:pt x="2400" y="1752"/>
                  </a:lnTo>
                  <a:lnTo>
                    <a:pt x="3479" y="355"/>
                  </a:lnTo>
                  <a:lnTo>
                    <a:pt x="2476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4" name="object 436">
              <a:extLst>
                <a:ext uri="{FF2B5EF4-FFF2-40B4-BE49-F238E27FC236}">
                  <a16:creationId xmlns:a16="http://schemas.microsoft.com/office/drawing/2014/main" id="{DD5AB998-9759-4573-9C47-7409445EC1B2}"/>
                </a:ext>
              </a:extLst>
            </p:cNvPr>
            <p:cNvSpPr/>
            <p:nvPr/>
          </p:nvSpPr>
          <p:spPr>
            <a:xfrm>
              <a:off x="7907058" y="6183595"/>
              <a:ext cx="5715" cy="6350"/>
            </a:xfrm>
            <a:custGeom>
              <a:avLst/>
              <a:gdLst/>
              <a:ahLst/>
              <a:cxnLst/>
              <a:rect l="l" t="t" r="r" b="b"/>
              <a:pathLst>
                <a:path w="5715" h="6350">
                  <a:moveTo>
                    <a:pt x="5270" y="698"/>
                  </a:moveTo>
                  <a:lnTo>
                    <a:pt x="4254" y="355"/>
                  </a:lnTo>
                  <a:lnTo>
                    <a:pt x="3708" y="1041"/>
                  </a:lnTo>
                  <a:lnTo>
                    <a:pt x="4254" y="342"/>
                  </a:lnTo>
                  <a:lnTo>
                    <a:pt x="3251" y="0"/>
                  </a:lnTo>
                  <a:lnTo>
                    <a:pt x="2159" y="1397"/>
                  </a:lnTo>
                  <a:lnTo>
                    <a:pt x="1079" y="2844"/>
                  </a:lnTo>
                  <a:lnTo>
                    <a:pt x="0" y="4343"/>
                  </a:lnTo>
                  <a:lnTo>
                    <a:pt x="584" y="5245"/>
                  </a:lnTo>
                  <a:lnTo>
                    <a:pt x="1168" y="6146"/>
                  </a:lnTo>
                  <a:lnTo>
                    <a:pt x="2527" y="4267"/>
                  </a:lnTo>
                  <a:lnTo>
                    <a:pt x="3898" y="2451"/>
                  </a:lnTo>
                  <a:lnTo>
                    <a:pt x="5270" y="698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5" name="object 437">
              <a:extLst>
                <a:ext uri="{FF2B5EF4-FFF2-40B4-BE49-F238E27FC236}">
                  <a16:creationId xmlns:a16="http://schemas.microsoft.com/office/drawing/2014/main" id="{2837E79F-96D2-4A7B-A585-46EE3B96D960}"/>
                </a:ext>
              </a:extLst>
            </p:cNvPr>
            <p:cNvSpPr/>
            <p:nvPr/>
          </p:nvSpPr>
          <p:spPr>
            <a:xfrm>
              <a:off x="7908226" y="6184294"/>
              <a:ext cx="6350" cy="7620"/>
            </a:xfrm>
            <a:custGeom>
              <a:avLst/>
              <a:gdLst/>
              <a:ahLst/>
              <a:cxnLst/>
              <a:rect l="l" t="t" r="r" b="b"/>
              <a:pathLst>
                <a:path w="6350" h="7620">
                  <a:moveTo>
                    <a:pt x="6146" y="711"/>
                  </a:moveTo>
                  <a:lnTo>
                    <a:pt x="5118" y="368"/>
                  </a:lnTo>
                  <a:lnTo>
                    <a:pt x="4013" y="1765"/>
                  </a:lnTo>
                  <a:lnTo>
                    <a:pt x="5118" y="355"/>
                  </a:lnTo>
                  <a:lnTo>
                    <a:pt x="4102" y="0"/>
                  </a:lnTo>
                  <a:lnTo>
                    <a:pt x="2730" y="1752"/>
                  </a:lnTo>
                  <a:lnTo>
                    <a:pt x="1358" y="3568"/>
                  </a:lnTo>
                  <a:lnTo>
                    <a:pt x="0" y="5448"/>
                  </a:lnTo>
                  <a:lnTo>
                    <a:pt x="584" y="6350"/>
                  </a:lnTo>
                  <a:lnTo>
                    <a:pt x="1168" y="7251"/>
                  </a:lnTo>
                  <a:lnTo>
                    <a:pt x="1498" y="6807"/>
                  </a:lnTo>
                  <a:lnTo>
                    <a:pt x="1828" y="6350"/>
                  </a:lnTo>
                  <a:lnTo>
                    <a:pt x="2146" y="5918"/>
                  </a:lnTo>
                  <a:lnTo>
                    <a:pt x="1562" y="5016"/>
                  </a:lnTo>
                  <a:lnTo>
                    <a:pt x="1219" y="4508"/>
                  </a:lnTo>
                  <a:lnTo>
                    <a:pt x="1790" y="4711"/>
                  </a:lnTo>
                  <a:lnTo>
                    <a:pt x="2794" y="5054"/>
                  </a:lnTo>
                  <a:lnTo>
                    <a:pt x="3911" y="3568"/>
                  </a:lnTo>
                  <a:lnTo>
                    <a:pt x="5029" y="2120"/>
                  </a:lnTo>
                  <a:lnTo>
                    <a:pt x="6146" y="711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6" name="object 438">
              <a:extLst>
                <a:ext uri="{FF2B5EF4-FFF2-40B4-BE49-F238E27FC236}">
                  <a16:creationId xmlns:a16="http://schemas.microsoft.com/office/drawing/2014/main" id="{8EA25541-7F4D-4E51-AD05-566C0AF7ACEA}"/>
                </a:ext>
              </a:extLst>
            </p:cNvPr>
            <p:cNvSpPr/>
            <p:nvPr/>
          </p:nvSpPr>
          <p:spPr>
            <a:xfrm>
              <a:off x="7909395" y="6185005"/>
              <a:ext cx="6350" cy="7620"/>
            </a:xfrm>
            <a:custGeom>
              <a:avLst/>
              <a:gdLst/>
              <a:ahLst/>
              <a:cxnLst/>
              <a:rect l="l" t="t" r="r" b="b"/>
              <a:pathLst>
                <a:path w="6350" h="7620">
                  <a:moveTo>
                    <a:pt x="1562" y="6108"/>
                  </a:moveTo>
                  <a:lnTo>
                    <a:pt x="977" y="5207"/>
                  </a:lnTo>
                  <a:lnTo>
                    <a:pt x="647" y="5651"/>
                  </a:lnTo>
                  <a:lnTo>
                    <a:pt x="330" y="6096"/>
                  </a:lnTo>
                  <a:lnTo>
                    <a:pt x="0" y="6540"/>
                  </a:lnTo>
                  <a:lnTo>
                    <a:pt x="584" y="7442"/>
                  </a:lnTo>
                  <a:lnTo>
                    <a:pt x="1244" y="6553"/>
                  </a:lnTo>
                  <a:lnTo>
                    <a:pt x="1562" y="6108"/>
                  </a:lnTo>
                  <a:close/>
                </a:path>
                <a:path w="6350" h="7620">
                  <a:moveTo>
                    <a:pt x="5994" y="355"/>
                  </a:moveTo>
                  <a:lnTo>
                    <a:pt x="4978" y="0"/>
                  </a:lnTo>
                  <a:lnTo>
                    <a:pt x="3860" y="1397"/>
                  </a:lnTo>
                  <a:lnTo>
                    <a:pt x="2743" y="2857"/>
                  </a:lnTo>
                  <a:lnTo>
                    <a:pt x="1638" y="4343"/>
                  </a:lnTo>
                  <a:lnTo>
                    <a:pt x="2628" y="4686"/>
                  </a:lnTo>
                  <a:lnTo>
                    <a:pt x="3746" y="3200"/>
                  </a:lnTo>
                  <a:lnTo>
                    <a:pt x="4876" y="1752"/>
                  </a:lnTo>
                  <a:lnTo>
                    <a:pt x="5994" y="355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7" name="object 439">
              <a:extLst>
                <a:ext uri="{FF2B5EF4-FFF2-40B4-BE49-F238E27FC236}">
                  <a16:creationId xmlns:a16="http://schemas.microsoft.com/office/drawing/2014/main" id="{C45749A6-45A3-4818-9F2F-F2FA16F34B18}"/>
                </a:ext>
              </a:extLst>
            </p:cNvPr>
            <p:cNvSpPr/>
            <p:nvPr/>
          </p:nvSpPr>
          <p:spPr>
            <a:xfrm>
              <a:off x="7909992" y="6185373"/>
              <a:ext cx="6985" cy="8255"/>
            </a:xfrm>
            <a:custGeom>
              <a:avLst/>
              <a:gdLst/>
              <a:ahLst/>
              <a:cxnLst/>
              <a:rect l="l" t="t" r="r" b="b"/>
              <a:pathLst>
                <a:path w="6984" h="8254">
                  <a:moveTo>
                    <a:pt x="1562" y="6642"/>
                  </a:moveTo>
                  <a:lnTo>
                    <a:pt x="977" y="5740"/>
                  </a:lnTo>
                  <a:lnTo>
                    <a:pt x="647" y="6184"/>
                  </a:lnTo>
                  <a:lnTo>
                    <a:pt x="330" y="6629"/>
                  </a:lnTo>
                  <a:lnTo>
                    <a:pt x="0" y="7073"/>
                  </a:lnTo>
                  <a:lnTo>
                    <a:pt x="584" y="7975"/>
                  </a:lnTo>
                  <a:lnTo>
                    <a:pt x="1244" y="7086"/>
                  </a:lnTo>
                  <a:lnTo>
                    <a:pt x="1562" y="6642"/>
                  </a:lnTo>
                  <a:close/>
                </a:path>
                <a:path w="6984" h="8254">
                  <a:moveTo>
                    <a:pt x="6426" y="342"/>
                  </a:moveTo>
                  <a:lnTo>
                    <a:pt x="5397" y="0"/>
                  </a:lnTo>
                  <a:lnTo>
                    <a:pt x="4267" y="1384"/>
                  </a:lnTo>
                  <a:lnTo>
                    <a:pt x="3149" y="2832"/>
                  </a:lnTo>
                  <a:lnTo>
                    <a:pt x="2032" y="4318"/>
                  </a:lnTo>
                  <a:lnTo>
                    <a:pt x="3035" y="4673"/>
                  </a:lnTo>
                  <a:lnTo>
                    <a:pt x="4152" y="3187"/>
                  </a:lnTo>
                  <a:lnTo>
                    <a:pt x="6426" y="342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8" name="object 440">
              <a:extLst>
                <a:ext uri="{FF2B5EF4-FFF2-40B4-BE49-F238E27FC236}">
                  <a16:creationId xmlns:a16="http://schemas.microsoft.com/office/drawing/2014/main" id="{3DDE203A-32C0-4CFA-A0A1-F0D01DD0B0AE}"/>
                </a:ext>
              </a:extLst>
            </p:cNvPr>
            <p:cNvSpPr/>
            <p:nvPr/>
          </p:nvSpPr>
          <p:spPr>
            <a:xfrm>
              <a:off x="7910576" y="6185716"/>
              <a:ext cx="6985" cy="8890"/>
            </a:xfrm>
            <a:custGeom>
              <a:avLst/>
              <a:gdLst/>
              <a:ahLst/>
              <a:cxnLst/>
              <a:rect l="l" t="t" r="r" b="b"/>
              <a:pathLst>
                <a:path w="6984" h="8890">
                  <a:moveTo>
                    <a:pt x="1562" y="7188"/>
                  </a:moveTo>
                  <a:lnTo>
                    <a:pt x="977" y="6299"/>
                  </a:lnTo>
                  <a:lnTo>
                    <a:pt x="317" y="7188"/>
                  </a:lnTo>
                  <a:lnTo>
                    <a:pt x="0" y="7632"/>
                  </a:lnTo>
                  <a:lnTo>
                    <a:pt x="584" y="8534"/>
                  </a:lnTo>
                  <a:lnTo>
                    <a:pt x="1244" y="7645"/>
                  </a:lnTo>
                  <a:lnTo>
                    <a:pt x="1562" y="7188"/>
                  </a:lnTo>
                  <a:close/>
                </a:path>
                <a:path w="6984" h="8890">
                  <a:moveTo>
                    <a:pt x="6858" y="355"/>
                  </a:moveTo>
                  <a:lnTo>
                    <a:pt x="5842" y="0"/>
                  </a:lnTo>
                  <a:lnTo>
                    <a:pt x="4699" y="1397"/>
                  </a:lnTo>
                  <a:lnTo>
                    <a:pt x="3568" y="2832"/>
                  </a:lnTo>
                  <a:lnTo>
                    <a:pt x="2451" y="4318"/>
                  </a:lnTo>
                  <a:lnTo>
                    <a:pt x="3454" y="4673"/>
                  </a:lnTo>
                  <a:lnTo>
                    <a:pt x="4584" y="3187"/>
                  </a:lnTo>
                  <a:lnTo>
                    <a:pt x="5727" y="1752"/>
                  </a:lnTo>
                  <a:lnTo>
                    <a:pt x="6858" y="355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9" name="object 441">
              <a:extLst>
                <a:ext uri="{FF2B5EF4-FFF2-40B4-BE49-F238E27FC236}">
                  <a16:creationId xmlns:a16="http://schemas.microsoft.com/office/drawing/2014/main" id="{C5F2C4BE-66D6-4CC3-8369-2F7B61397A19}"/>
                </a:ext>
              </a:extLst>
            </p:cNvPr>
            <p:cNvSpPr/>
            <p:nvPr/>
          </p:nvSpPr>
          <p:spPr>
            <a:xfrm>
              <a:off x="7911160" y="6186084"/>
              <a:ext cx="7620" cy="9525"/>
            </a:xfrm>
            <a:custGeom>
              <a:avLst/>
              <a:gdLst/>
              <a:ahLst/>
              <a:cxnLst/>
              <a:rect l="l" t="t" r="r" b="b"/>
              <a:pathLst>
                <a:path w="7620" h="9525">
                  <a:moveTo>
                    <a:pt x="1574" y="7721"/>
                  </a:moveTo>
                  <a:lnTo>
                    <a:pt x="977" y="6819"/>
                  </a:lnTo>
                  <a:lnTo>
                    <a:pt x="330" y="7721"/>
                  </a:lnTo>
                  <a:lnTo>
                    <a:pt x="0" y="8166"/>
                  </a:lnTo>
                  <a:lnTo>
                    <a:pt x="584" y="9067"/>
                  </a:lnTo>
                  <a:lnTo>
                    <a:pt x="914" y="8610"/>
                  </a:lnTo>
                  <a:lnTo>
                    <a:pt x="1574" y="7721"/>
                  </a:lnTo>
                  <a:close/>
                </a:path>
                <a:path w="7620" h="9525">
                  <a:moveTo>
                    <a:pt x="7315" y="355"/>
                  </a:moveTo>
                  <a:lnTo>
                    <a:pt x="6286" y="0"/>
                  </a:lnTo>
                  <a:lnTo>
                    <a:pt x="5143" y="1397"/>
                  </a:lnTo>
                  <a:lnTo>
                    <a:pt x="4000" y="2832"/>
                  </a:lnTo>
                  <a:lnTo>
                    <a:pt x="2870" y="4318"/>
                  </a:lnTo>
                  <a:lnTo>
                    <a:pt x="3886" y="4660"/>
                  </a:lnTo>
                  <a:lnTo>
                    <a:pt x="5016" y="3187"/>
                  </a:lnTo>
                  <a:lnTo>
                    <a:pt x="6159" y="1752"/>
                  </a:lnTo>
                  <a:lnTo>
                    <a:pt x="7315" y="355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0" name="object 442">
              <a:extLst>
                <a:ext uri="{FF2B5EF4-FFF2-40B4-BE49-F238E27FC236}">
                  <a16:creationId xmlns:a16="http://schemas.microsoft.com/office/drawing/2014/main" id="{C99C0C32-1767-4EFC-ABD2-BD26637826AE}"/>
                </a:ext>
              </a:extLst>
            </p:cNvPr>
            <p:cNvSpPr/>
            <p:nvPr/>
          </p:nvSpPr>
          <p:spPr>
            <a:xfrm>
              <a:off x="7911744" y="6186427"/>
              <a:ext cx="8255" cy="10160"/>
            </a:xfrm>
            <a:custGeom>
              <a:avLst/>
              <a:gdLst/>
              <a:ahLst/>
              <a:cxnLst/>
              <a:rect l="l" t="t" r="r" b="b"/>
              <a:pathLst>
                <a:path w="8254" h="10159">
                  <a:moveTo>
                    <a:pt x="1574" y="8267"/>
                  </a:moveTo>
                  <a:lnTo>
                    <a:pt x="990" y="7378"/>
                  </a:lnTo>
                  <a:lnTo>
                    <a:pt x="330" y="8267"/>
                  </a:lnTo>
                  <a:lnTo>
                    <a:pt x="0" y="8724"/>
                  </a:lnTo>
                  <a:lnTo>
                    <a:pt x="596" y="9626"/>
                  </a:lnTo>
                  <a:lnTo>
                    <a:pt x="914" y="9169"/>
                  </a:lnTo>
                  <a:lnTo>
                    <a:pt x="1257" y="8724"/>
                  </a:lnTo>
                  <a:lnTo>
                    <a:pt x="1574" y="8267"/>
                  </a:lnTo>
                  <a:close/>
                </a:path>
                <a:path w="8254" h="10159">
                  <a:moveTo>
                    <a:pt x="7747" y="355"/>
                  </a:moveTo>
                  <a:lnTo>
                    <a:pt x="6718" y="0"/>
                  </a:lnTo>
                  <a:lnTo>
                    <a:pt x="5575" y="1397"/>
                  </a:lnTo>
                  <a:lnTo>
                    <a:pt x="4432" y="2832"/>
                  </a:lnTo>
                  <a:lnTo>
                    <a:pt x="3302" y="4305"/>
                  </a:lnTo>
                  <a:lnTo>
                    <a:pt x="4305" y="4660"/>
                  </a:lnTo>
                  <a:lnTo>
                    <a:pt x="5448" y="3187"/>
                  </a:lnTo>
                  <a:lnTo>
                    <a:pt x="6591" y="1752"/>
                  </a:lnTo>
                  <a:lnTo>
                    <a:pt x="7747" y="355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1" name="object 443">
              <a:extLst>
                <a:ext uri="{FF2B5EF4-FFF2-40B4-BE49-F238E27FC236}">
                  <a16:creationId xmlns:a16="http://schemas.microsoft.com/office/drawing/2014/main" id="{AA6EBCE6-938A-4B3C-BDB8-9AC3218E0F6D}"/>
                </a:ext>
              </a:extLst>
            </p:cNvPr>
            <p:cNvSpPr/>
            <p:nvPr/>
          </p:nvSpPr>
          <p:spPr>
            <a:xfrm>
              <a:off x="7912328" y="6186796"/>
              <a:ext cx="8255" cy="10160"/>
            </a:xfrm>
            <a:custGeom>
              <a:avLst/>
              <a:gdLst/>
              <a:ahLst/>
              <a:cxnLst/>
              <a:rect l="l" t="t" r="r" b="b"/>
              <a:pathLst>
                <a:path w="8254" h="10159">
                  <a:moveTo>
                    <a:pt x="1587" y="8813"/>
                  </a:moveTo>
                  <a:lnTo>
                    <a:pt x="990" y="7912"/>
                  </a:lnTo>
                  <a:lnTo>
                    <a:pt x="660" y="8356"/>
                  </a:lnTo>
                  <a:lnTo>
                    <a:pt x="0" y="9271"/>
                  </a:lnTo>
                  <a:lnTo>
                    <a:pt x="596" y="10160"/>
                  </a:lnTo>
                  <a:lnTo>
                    <a:pt x="914" y="9715"/>
                  </a:lnTo>
                  <a:lnTo>
                    <a:pt x="1587" y="8813"/>
                  </a:lnTo>
                  <a:close/>
                </a:path>
                <a:path w="8254" h="10159">
                  <a:moveTo>
                    <a:pt x="8204" y="355"/>
                  </a:moveTo>
                  <a:lnTo>
                    <a:pt x="7175" y="0"/>
                  </a:lnTo>
                  <a:lnTo>
                    <a:pt x="6019" y="1384"/>
                  </a:lnTo>
                  <a:lnTo>
                    <a:pt x="4864" y="2819"/>
                  </a:lnTo>
                  <a:lnTo>
                    <a:pt x="3721" y="4292"/>
                  </a:lnTo>
                  <a:lnTo>
                    <a:pt x="4737" y="4648"/>
                  </a:lnTo>
                  <a:lnTo>
                    <a:pt x="5880" y="3175"/>
                  </a:lnTo>
                  <a:lnTo>
                    <a:pt x="7048" y="1739"/>
                  </a:lnTo>
                  <a:lnTo>
                    <a:pt x="8204" y="355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2" name="object 444">
              <a:extLst>
                <a:ext uri="{FF2B5EF4-FFF2-40B4-BE49-F238E27FC236}">
                  <a16:creationId xmlns:a16="http://schemas.microsoft.com/office/drawing/2014/main" id="{9F827DE4-E0A6-4994-9755-A3A3B2B7F5C0}"/>
                </a:ext>
              </a:extLst>
            </p:cNvPr>
            <p:cNvSpPr/>
            <p:nvPr/>
          </p:nvSpPr>
          <p:spPr>
            <a:xfrm>
              <a:off x="7912925" y="6187138"/>
              <a:ext cx="8890" cy="10795"/>
            </a:xfrm>
            <a:custGeom>
              <a:avLst/>
              <a:gdLst/>
              <a:ahLst/>
              <a:cxnLst/>
              <a:rect l="l" t="t" r="r" b="b"/>
              <a:pathLst>
                <a:path w="8890" h="10795">
                  <a:moveTo>
                    <a:pt x="1574" y="9359"/>
                  </a:moveTo>
                  <a:lnTo>
                    <a:pt x="990" y="8470"/>
                  </a:lnTo>
                  <a:lnTo>
                    <a:pt x="660" y="8915"/>
                  </a:lnTo>
                  <a:lnTo>
                    <a:pt x="0" y="9829"/>
                  </a:lnTo>
                  <a:lnTo>
                    <a:pt x="584" y="10718"/>
                  </a:lnTo>
                  <a:lnTo>
                    <a:pt x="914" y="10274"/>
                  </a:lnTo>
                  <a:lnTo>
                    <a:pt x="1574" y="9359"/>
                  </a:lnTo>
                  <a:close/>
                </a:path>
                <a:path w="8890" h="10795">
                  <a:moveTo>
                    <a:pt x="8636" y="368"/>
                  </a:moveTo>
                  <a:lnTo>
                    <a:pt x="7607" y="0"/>
                  </a:lnTo>
                  <a:lnTo>
                    <a:pt x="5283" y="2819"/>
                  </a:lnTo>
                  <a:lnTo>
                    <a:pt x="4140" y="4292"/>
                  </a:lnTo>
                  <a:lnTo>
                    <a:pt x="5156" y="4648"/>
                  </a:lnTo>
                  <a:lnTo>
                    <a:pt x="6311" y="3187"/>
                  </a:lnTo>
                  <a:lnTo>
                    <a:pt x="7480" y="1752"/>
                  </a:lnTo>
                  <a:lnTo>
                    <a:pt x="8636" y="368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3" name="object 445">
              <a:extLst>
                <a:ext uri="{FF2B5EF4-FFF2-40B4-BE49-F238E27FC236}">
                  <a16:creationId xmlns:a16="http://schemas.microsoft.com/office/drawing/2014/main" id="{DD1368F5-5B4C-4418-A296-F4018E8D9D05}"/>
                </a:ext>
              </a:extLst>
            </p:cNvPr>
            <p:cNvSpPr/>
            <p:nvPr/>
          </p:nvSpPr>
          <p:spPr>
            <a:xfrm>
              <a:off x="7913509" y="6187507"/>
              <a:ext cx="9525" cy="11430"/>
            </a:xfrm>
            <a:custGeom>
              <a:avLst/>
              <a:gdLst/>
              <a:ahLst/>
              <a:cxnLst/>
              <a:rect l="l" t="t" r="r" b="b"/>
              <a:pathLst>
                <a:path w="9525" h="11429">
                  <a:moveTo>
                    <a:pt x="1587" y="9893"/>
                  </a:moveTo>
                  <a:lnTo>
                    <a:pt x="990" y="8991"/>
                  </a:lnTo>
                  <a:lnTo>
                    <a:pt x="660" y="9448"/>
                  </a:lnTo>
                  <a:lnTo>
                    <a:pt x="330" y="9893"/>
                  </a:lnTo>
                  <a:lnTo>
                    <a:pt x="0" y="10350"/>
                  </a:lnTo>
                  <a:lnTo>
                    <a:pt x="584" y="11252"/>
                  </a:lnTo>
                  <a:lnTo>
                    <a:pt x="1244" y="10337"/>
                  </a:lnTo>
                  <a:lnTo>
                    <a:pt x="1587" y="9893"/>
                  </a:lnTo>
                  <a:close/>
                </a:path>
                <a:path w="9525" h="11429">
                  <a:moveTo>
                    <a:pt x="9080" y="355"/>
                  </a:moveTo>
                  <a:lnTo>
                    <a:pt x="8051" y="0"/>
                  </a:lnTo>
                  <a:lnTo>
                    <a:pt x="6883" y="1384"/>
                  </a:lnTo>
                  <a:lnTo>
                    <a:pt x="5727" y="2819"/>
                  </a:lnTo>
                  <a:lnTo>
                    <a:pt x="4572" y="4279"/>
                  </a:lnTo>
                  <a:lnTo>
                    <a:pt x="5588" y="4635"/>
                  </a:lnTo>
                  <a:lnTo>
                    <a:pt x="6743" y="3175"/>
                  </a:lnTo>
                  <a:lnTo>
                    <a:pt x="7912" y="1752"/>
                  </a:lnTo>
                  <a:lnTo>
                    <a:pt x="9080" y="355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4" name="object 446">
              <a:extLst>
                <a:ext uri="{FF2B5EF4-FFF2-40B4-BE49-F238E27FC236}">
                  <a16:creationId xmlns:a16="http://schemas.microsoft.com/office/drawing/2014/main" id="{433CB878-D941-4075-9524-47375A976F69}"/>
                </a:ext>
              </a:extLst>
            </p:cNvPr>
            <p:cNvSpPr/>
            <p:nvPr/>
          </p:nvSpPr>
          <p:spPr>
            <a:xfrm>
              <a:off x="7914094" y="6187862"/>
              <a:ext cx="9525" cy="12065"/>
            </a:xfrm>
            <a:custGeom>
              <a:avLst/>
              <a:gdLst/>
              <a:ahLst/>
              <a:cxnLst/>
              <a:rect l="l" t="t" r="r" b="b"/>
              <a:pathLst>
                <a:path w="9525" h="12065">
                  <a:moveTo>
                    <a:pt x="9525" y="368"/>
                  </a:moveTo>
                  <a:lnTo>
                    <a:pt x="8496" y="0"/>
                  </a:lnTo>
                  <a:lnTo>
                    <a:pt x="7327" y="1384"/>
                  </a:lnTo>
                  <a:lnTo>
                    <a:pt x="6159" y="2819"/>
                  </a:lnTo>
                  <a:lnTo>
                    <a:pt x="5003" y="4279"/>
                  </a:lnTo>
                  <a:lnTo>
                    <a:pt x="5511" y="4457"/>
                  </a:lnTo>
                  <a:lnTo>
                    <a:pt x="1358" y="10096"/>
                  </a:lnTo>
                  <a:lnTo>
                    <a:pt x="990" y="9537"/>
                  </a:lnTo>
                  <a:lnTo>
                    <a:pt x="660" y="9982"/>
                  </a:lnTo>
                  <a:lnTo>
                    <a:pt x="0" y="10896"/>
                  </a:lnTo>
                  <a:lnTo>
                    <a:pt x="584" y="11798"/>
                  </a:lnTo>
                  <a:lnTo>
                    <a:pt x="1231" y="10896"/>
                  </a:lnTo>
                  <a:lnTo>
                    <a:pt x="1562" y="10452"/>
                  </a:lnTo>
                  <a:lnTo>
                    <a:pt x="4178" y="6896"/>
                  </a:lnTo>
                  <a:lnTo>
                    <a:pt x="6845" y="3530"/>
                  </a:lnTo>
                  <a:lnTo>
                    <a:pt x="9525" y="368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5" name="object 447">
              <a:extLst>
                <a:ext uri="{FF2B5EF4-FFF2-40B4-BE49-F238E27FC236}">
                  <a16:creationId xmlns:a16="http://schemas.microsoft.com/office/drawing/2014/main" id="{57E015C1-E632-40C2-A974-5D68F2397748}"/>
                </a:ext>
              </a:extLst>
            </p:cNvPr>
            <p:cNvSpPr/>
            <p:nvPr/>
          </p:nvSpPr>
          <p:spPr>
            <a:xfrm>
              <a:off x="7914665" y="6188231"/>
              <a:ext cx="10160" cy="12700"/>
            </a:xfrm>
            <a:custGeom>
              <a:avLst/>
              <a:gdLst/>
              <a:ahLst/>
              <a:cxnLst/>
              <a:rect l="l" t="t" r="r" b="b"/>
              <a:pathLst>
                <a:path w="10159" h="12700">
                  <a:moveTo>
                    <a:pt x="9994" y="355"/>
                  </a:moveTo>
                  <a:lnTo>
                    <a:pt x="8953" y="0"/>
                  </a:lnTo>
                  <a:lnTo>
                    <a:pt x="6273" y="3162"/>
                  </a:lnTo>
                  <a:lnTo>
                    <a:pt x="3606" y="6527"/>
                  </a:lnTo>
                  <a:lnTo>
                    <a:pt x="990" y="10083"/>
                  </a:lnTo>
                  <a:lnTo>
                    <a:pt x="660" y="10528"/>
                  </a:lnTo>
                  <a:lnTo>
                    <a:pt x="330" y="10985"/>
                  </a:lnTo>
                  <a:lnTo>
                    <a:pt x="0" y="11430"/>
                  </a:lnTo>
                  <a:lnTo>
                    <a:pt x="596" y="12331"/>
                  </a:lnTo>
                  <a:lnTo>
                    <a:pt x="914" y="11899"/>
                  </a:lnTo>
                  <a:lnTo>
                    <a:pt x="1231" y="11455"/>
                  </a:lnTo>
                  <a:lnTo>
                    <a:pt x="1549" y="11023"/>
                  </a:lnTo>
                  <a:lnTo>
                    <a:pt x="2959" y="9093"/>
                  </a:lnTo>
                  <a:lnTo>
                    <a:pt x="4394" y="7226"/>
                  </a:lnTo>
                  <a:lnTo>
                    <a:pt x="5842" y="5410"/>
                  </a:lnTo>
                  <a:lnTo>
                    <a:pt x="6451" y="4572"/>
                  </a:lnTo>
                  <a:lnTo>
                    <a:pt x="7658" y="3136"/>
                  </a:lnTo>
                  <a:lnTo>
                    <a:pt x="8826" y="1727"/>
                  </a:lnTo>
                  <a:lnTo>
                    <a:pt x="9994" y="355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6" name="object 448">
              <a:extLst>
                <a:ext uri="{FF2B5EF4-FFF2-40B4-BE49-F238E27FC236}">
                  <a16:creationId xmlns:a16="http://schemas.microsoft.com/office/drawing/2014/main" id="{25DB73A7-FE43-4A7A-B02E-AA4AD08696C7}"/>
                </a:ext>
              </a:extLst>
            </p:cNvPr>
            <p:cNvSpPr/>
            <p:nvPr/>
          </p:nvSpPr>
          <p:spPr>
            <a:xfrm>
              <a:off x="7915262" y="6188599"/>
              <a:ext cx="10795" cy="13335"/>
            </a:xfrm>
            <a:custGeom>
              <a:avLst/>
              <a:gdLst/>
              <a:ahLst/>
              <a:cxnLst/>
              <a:rect l="l" t="t" r="r" b="b"/>
              <a:pathLst>
                <a:path w="10795" h="13334">
                  <a:moveTo>
                    <a:pt x="5257" y="5041"/>
                  </a:moveTo>
                  <a:lnTo>
                    <a:pt x="3810" y="6858"/>
                  </a:lnTo>
                  <a:lnTo>
                    <a:pt x="2374" y="8724"/>
                  </a:lnTo>
                  <a:lnTo>
                    <a:pt x="965" y="10655"/>
                  </a:lnTo>
                  <a:lnTo>
                    <a:pt x="317" y="11518"/>
                  </a:lnTo>
                  <a:lnTo>
                    <a:pt x="0" y="11963"/>
                  </a:lnTo>
                  <a:lnTo>
                    <a:pt x="584" y="12865"/>
                  </a:lnTo>
                  <a:lnTo>
                    <a:pt x="901" y="12420"/>
                  </a:lnTo>
                  <a:lnTo>
                    <a:pt x="1549" y="11544"/>
                  </a:lnTo>
                  <a:lnTo>
                    <a:pt x="1028" y="10769"/>
                  </a:lnTo>
                  <a:lnTo>
                    <a:pt x="5257" y="5041"/>
                  </a:lnTo>
                  <a:close/>
                </a:path>
                <a:path w="10795" h="13334">
                  <a:moveTo>
                    <a:pt x="10439" y="355"/>
                  </a:moveTo>
                  <a:lnTo>
                    <a:pt x="9410" y="0"/>
                  </a:lnTo>
                  <a:lnTo>
                    <a:pt x="7061" y="2768"/>
                  </a:lnTo>
                  <a:lnTo>
                    <a:pt x="5905" y="4229"/>
                  </a:lnTo>
                  <a:lnTo>
                    <a:pt x="6921" y="4584"/>
                  </a:lnTo>
                  <a:lnTo>
                    <a:pt x="8089" y="3136"/>
                  </a:lnTo>
                  <a:lnTo>
                    <a:pt x="9271" y="1727"/>
                  </a:lnTo>
                  <a:lnTo>
                    <a:pt x="10439" y="355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7" name="object 449">
              <a:extLst>
                <a:ext uri="{FF2B5EF4-FFF2-40B4-BE49-F238E27FC236}">
                  <a16:creationId xmlns:a16="http://schemas.microsoft.com/office/drawing/2014/main" id="{21D75EAF-8B41-49B0-AC22-BEDCE286E8A8}"/>
                </a:ext>
              </a:extLst>
            </p:cNvPr>
            <p:cNvSpPr/>
            <p:nvPr/>
          </p:nvSpPr>
          <p:spPr>
            <a:xfrm>
              <a:off x="7915847" y="6188955"/>
              <a:ext cx="11430" cy="13970"/>
            </a:xfrm>
            <a:custGeom>
              <a:avLst/>
              <a:gdLst/>
              <a:ahLst/>
              <a:cxnLst/>
              <a:rect l="l" t="t" r="r" b="b"/>
              <a:pathLst>
                <a:path w="11429" h="13970">
                  <a:moveTo>
                    <a:pt x="1562" y="12065"/>
                  </a:moveTo>
                  <a:lnTo>
                    <a:pt x="965" y="11188"/>
                  </a:lnTo>
                  <a:lnTo>
                    <a:pt x="317" y="12065"/>
                  </a:lnTo>
                  <a:lnTo>
                    <a:pt x="0" y="12509"/>
                  </a:lnTo>
                  <a:lnTo>
                    <a:pt x="584" y="13411"/>
                  </a:lnTo>
                  <a:lnTo>
                    <a:pt x="1231" y="12509"/>
                  </a:lnTo>
                  <a:lnTo>
                    <a:pt x="1562" y="12065"/>
                  </a:lnTo>
                  <a:close/>
                </a:path>
                <a:path w="11429" h="13970">
                  <a:moveTo>
                    <a:pt x="10896" y="355"/>
                  </a:moveTo>
                  <a:lnTo>
                    <a:pt x="9855" y="0"/>
                  </a:lnTo>
                  <a:lnTo>
                    <a:pt x="8674" y="1371"/>
                  </a:lnTo>
                  <a:lnTo>
                    <a:pt x="7493" y="2781"/>
                  </a:lnTo>
                  <a:lnTo>
                    <a:pt x="6324" y="4229"/>
                  </a:lnTo>
                  <a:lnTo>
                    <a:pt x="7353" y="4584"/>
                  </a:lnTo>
                  <a:lnTo>
                    <a:pt x="8521" y="3136"/>
                  </a:lnTo>
                  <a:lnTo>
                    <a:pt x="9702" y="1727"/>
                  </a:lnTo>
                  <a:lnTo>
                    <a:pt x="10896" y="355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8" name="object 450">
              <a:extLst>
                <a:ext uri="{FF2B5EF4-FFF2-40B4-BE49-F238E27FC236}">
                  <a16:creationId xmlns:a16="http://schemas.microsoft.com/office/drawing/2014/main" id="{C19DD8AE-7064-4948-9E40-A53C2DBAC3B8}"/>
                </a:ext>
              </a:extLst>
            </p:cNvPr>
            <p:cNvSpPr/>
            <p:nvPr/>
          </p:nvSpPr>
          <p:spPr>
            <a:xfrm>
              <a:off x="7916443" y="6189310"/>
              <a:ext cx="11430" cy="13970"/>
            </a:xfrm>
            <a:custGeom>
              <a:avLst/>
              <a:gdLst/>
              <a:ahLst/>
              <a:cxnLst/>
              <a:rect l="l" t="t" r="r" b="b"/>
              <a:pathLst>
                <a:path w="11429" h="13970">
                  <a:moveTo>
                    <a:pt x="1587" y="12585"/>
                  </a:moveTo>
                  <a:lnTo>
                    <a:pt x="1397" y="12331"/>
                  </a:lnTo>
                  <a:lnTo>
                    <a:pt x="977" y="11709"/>
                  </a:lnTo>
                  <a:lnTo>
                    <a:pt x="317" y="12598"/>
                  </a:lnTo>
                  <a:lnTo>
                    <a:pt x="0" y="13055"/>
                  </a:lnTo>
                  <a:lnTo>
                    <a:pt x="241" y="13436"/>
                  </a:lnTo>
                  <a:lnTo>
                    <a:pt x="419" y="13703"/>
                  </a:lnTo>
                  <a:lnTo>
                    <a:pt x="571" y="13957"/>
                  </a:lnTo>
                  <a:lnTo>
                    <a:pt x="914" y="13500"/>
                  </a:lnTo>
                  <a:lnTo>
                    <a:pt x="1244" y="13042"/>
                  </a:lnTo>
                  <a:lnTo>
                    <a:pt x="1587" y="12585"/>
                  </a:lnTo>
                  <a:close/>
                </a:path>
                <a:path w="11429" h="13970">
                  <a:moveTo>
                    <a:pt x="11353" y="368"/>
                  </a:moveTo>
                  <a:lnTo>
                    <a:pt x="11201" y="304"/>
                  </a:lnTo>
                  <a:lnTo>
                    <a:pt x="10883" y="203"/>
                  </a:lnTo>
                  <a:lnTo>
                    <a:pt x="10312" y="0"/>
                  </a:lnTo>
                  <a:lnTo>
                    <a:pt x="9118" y="1371"/>
                  </a:lnTo>
                  <a:lnTo>
                    <a:pt x="7937" y="2781"/>
                  </a:lnTo>
                  <a:lnTo>
                    <a:pt x="6769" y="4229"/>
                  </a:lnTo>
                  <a:lnTo>
                    <a:pt x="7785" y="4584"/>
                  </a:lnTo>
                  <a:lnTo>
                    <a:pt x="8966" y="3136"/>
                  </a:lnTo>
                  <a:lnTo>
                    <a:pt x="10147" y="1739"/>
                  </a:lnTo>
                  <a:lnTo>
                    <a:pt x="11353" y="368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9" name="object 451">
              <a:extLst>
                <a:ext uri="{FF2B5EF4-FFF2-40B4-BE49-F238E27FC236}">
                  <a16:creationId xmlns:a16="http://schemas.microsoft.com/office/drawing/2014/main" id="{931AB10D-210D-4397-9F3F-6185F78D8EA9}"/>
                </a:ext>
              </a:extLst>
            </p:cNvPr>
            <p:cNvSpPr/>
            <p:nvPr/>
          </p:nvSpPr>
          <p:spPr>
            <a:xfrm>
              <a:off x="7917015" y="6189666"/>
              <a:ext cx="12065" cy="14604"/>
            </a:xfrm>
            <a:custGeom>
              <a:avLst/>
              <a:gdLst/>
              <a:ahLst/>
              <a:cxnLst/>
              <a:rect l="l" t="t" r="r" b="b"/>
              <a:pathLst>
                <a:path w="12065" h="14604">
                  <a:moveTo>
                    <a:pt x="1651" y="13017"/>
                  </a:moveTo>
                  <a:lnTo>
                    <a:pt x="1422" y="12776"/>
                  </a:lnTo>
                  <a:lnTo>
                    <a:pt x="1206" y="12496"/>
                  </a:lnTo>
                  <a:lnTo>
                    <a:pt x="1003" y="12217"/>
                  </a:lnTo>
                  <a:lnTo>
                    <a:pt x="660" y="12674"/>
                  </a:lnTo>
                  <a:lnTo>
                    <a:pt x="330" y="13131"/>
                  </a:lnTo>
                  <a:lnTo>
                    <a:pt x="0" y="13601"/>
                  </a:lnTo>
                  <a:lnTo>
                    <a:pt x="203" y="13919"/>
                  </a:lnTo>
                  <a:lnTo>
                    <a:pt x="381" y="14236"/>
                  </a:lnTo>
                  <a:lnTo>
                    <a:pt x="546" y="14541"/>
                  </a:lnTo>
                  <a:lnTo>
                    <a:pt x="1651" y="13017"/>
                  </a:lnTo>
                  <a:close/>
                </a:path>
                <a:path w="12065" h="14604">
                  <a:moveTo>
                    <a:pt x="11823" y="355"/>
                  </a:moveTo>
                  <a:lnTo>
                    <a:pt x="11480" y="254"/>
                  </a:lnTo>
                  <a:lnTo>
                    <a:pt x="11137" y="139"/>
                  </a:lnTo>
                  <a:lnTo>
                    <a:pt x="10769" y="0"/>
                  </a:lnTo>
                  <a:lnTo>
                    <a:pt x="9575" y="1371"/>
                  </a:lnTo>
                  <a:lnTo>
                    <a:pt x="8382" y="2781"/>
                  </a:lnTo>
                  <a:lnTo>
                    <a:pt x="7200" y="4229"/>
                  </a:lnTo>
                  <a:lnTo>
                    <a:pt x="7823" y="4445"/>
                  </a:lnTo>
                  <a:lnTo>
                    <a:pt x="8229" y="4584"/>
                  </a:lnTo>
                  <a:lnTo>
                    <a:pt x="9423" y="3136"/>
                  </a:lnTo>
                  <a:lnTo>
                    <a:pt x="10617" y="1727"/>
                  </a:lnTo>
                  <a:lnTo>
                    <a:pt x="11823" y="355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0" name="object 452">
              <a:extLst>
                <a:ext uri="{FF2B5EF4-FFF2-40B4-BE49-F238E27FC236}">
                  <a16:creationId xmlns:a16="http://schemas.microsoft.com/office/drawing/2014/main" id="{16D6A226-B2B7-4300-8861-96A63299B9B0}"/>
                </a:ext>
              </a:extLst>
            </p:cNvPr>
            <p:cNvSpPr/>
            <p:nvPr/>
          </p:nvSpPr>
          <p:spPr>
            <a:xfrm>
              <a:off x="7917574" y="6190021"/>
              <a:ext cx="12700" cy="15875"/>
            </a:xfrm>
            <a:custGeom>
              <a:avLst/>
              <a:gdLst/>
              <a:ahLst/>
              <a:cxnLst/>
              <a:rect l="l" t="t" r="r" b="b"/>
              <a:pathLst>
                <a:path w="12700" h="15875">
                  <a:moveTo>
                    <a:pt x="1879" y="13322"/>
                  </a:moveTo>
                  <a:lnTo>
                    <a:pt x="1701" y="13220"/>
                  </a:lnTo>
                  <a:lnTo>
                    <a:pt x="1485" y="13068"/>
                  </a:lnTo>
                  <a:lnTo>
                    <a:pt x="1295" y="12877"/>
                  </a:lnTo>
                  <a:lnTo>
                    <a:pt x="1104" y="12674"/>
                  </a:lnTo>
                  <a:lnTo>
                    <a:pt x="0" y="14198"/>
                  </a:lnTo>
                  <a:lnTo>
                    <a:pt x="177" y="14554"/>
                  </a:lnTo>
                  <a:lnTo>
                    <a:pt x="342" y="14897"/>
                  </a:lnTo>
                  <a:lnTo>
                    <a:pt x="469" y="15252"/>
                  </a:lnTo>
                  <a:lnTo>
                    <a:pt x="1397" y="13970"/>
                  </a:lnTo>
                  <a:lnTo>
                    <a:pt x="1879" y="13322"/>
                  </a:lnTo>
                  <a:close/>
                </a:path>
                <a:path w="12700" h="15875">
                  <a:moveTo>
                    <a:pt x="12420" y="241"/>
                  </a:moveTo>
                  <a:lnTo>
                    <a:pt x="12052" y="215"/>
                  </a:lnTo>
                  <a:lnTo>
                    <a:pt x="11671" y="127"/>
                  </a:lnTo>
                  <a:lnTo>
                    <a:pt x="11264" y="0"/>
                  </a:lnTo>
                  <a:lnTo>
                    <a:pt x="10058" y="1371"/>
                  </a:lnTo>
                  <a:lnTo>
                    <a:pt x="8864" y="2794"/>
                  </a:lnTo>
                  <a:lnTo>
                    <a:pt x="7683" y="4229"/>
                  </a:lnTo>
                  <a:lnTo>
                    <a:pt x="8013" y="4343"/>
                  </a:lnTo>
                  <a:lnTo>
                    <a:pt x="8343" y="4495"/>
                  </a:lnTo>
                  <a:lnTo>
                    <a:pt x="8648" y="4660"/>
                  </a:lnTo>
                  <a:lnTo>
                    <a:pt x="9893" y="3149"/>
                  </a:lnTo>
                  <a:lnTo>
                    <a:pt x="11150" y="1676"/>
                  </a:lnTo>
                  <a:lnTo>
                    <a:pt x="12420" y="241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1" name="object 453">
              <a:extLst>
                <a:ext uri="{FF2B5EF4-FFF2-40B4-BE49-F238E27FC236}">
                  <a16:creationId xmlns:a16="http://schemas.microsoft.com/office/drawing/2014/main" id="{B22F049B-ECA5-4A21-8FC8-9F394826546C}"/>
                </a:ext>
              </a:extLst>
            </p:cNvPr>
            <p:cNvSpPr/>
            <p:nvPr/>
          </p:nvSpPr>
          <p:spPr>
            <a:xfrm>
              <a:off x="7918043" y="6189882"/>
              <a:ext cx="13970" cy="17145"/>
            </a:xfrm>
            <a:custGeom>
              <a:avLst/>
              <a:gdLst/>
              <a:ahLst/>
              <a:cxnLst/>
              <a:rect l="l" t="t" r="r" b="b"/>
              <a:pathLst>
                <a:path w="13970" h="17145">
                  <a:moveTo>
                    <a:pt x="2413" y="13779"/>
                  </a:moveTo>
                  <a:lnTo>
                    <a:pt x="2082" y="13779"/>
                  </a:lnTo>
                  <a:lnTo>
                    <a:pt x="1739" y="13677"/>
                  </a:lnTo>
                  <a:lnTo>
                    <a:pt x="1409" y="13462"/>
                  </a:lnTo>
                  <a:lnTo>
                    <a:pt x="927" y="14097"/>
                  </a:lnTo>
                  <a:lnTo>
                    <a:pt x="469" y="14744"/>
                  </a:lnTo>
                  <a:lnTo>
                    <a:pt x="0" y="15392"/>
                  </a:lnTo>
                  <a:lnTo>
                    <a:pt x="152" y="15824"/>
                  </a:lnTo>
                  <a:lnTo>
                    <a:pt x="241" y="16256"/>
                  </a:lnTo>
                  <a:lnTo>
                    <a:pt x="266" y="16725"/>
                  </a:lnTo>
                  <a:lnTo>
                    <a:pt x="977" y="15735"/>
                  </a:lnTo>
                  <a:lnTo>
                    <a:pt x="1701" y="14757"/>
                  </a:lnTo>
                  <a:lnTo>
                    <a:pt x="2413" y="13779"/>
                  </a:lnTo>
                  <a:close/>
                </a:path>
                <a:path w="13970" h="17145">
                  <a:moveTo>
                    <a:pt x="13677" y="0"/>
                  </a:moveTo>
                  <a:lnTo>
                    <a:pt x="13106" y="342"/>
                  </a:lnTo>
                  <a:lnTo>
                    <a:pt x="12547" y="457"/>
                  </a:lnTo>
                  <a:lnTo>
                    <a:pt x="11950" y="393"/>
                  </a:lnTo>
                  <a:lnTo>
                    <a:pt x="10680" y="1828"/>
                  </a:lnTo>
                  <a:lnTo>
                    <a:pt x="9423" y="3302"/>
                  </a:lnTo>
                  <a:lnTo>
                    <a:pt x="8178" y="4813"/>
                  </a:lnTo>
                  <a:lnTo>
                    <a:pt x="8521" y="5029"/>
                  </a:lnTo>
                  <a:lnTo>
                    <a:pt x="8712" y="5168"/>
                  </a:lnTo>
                  <a:lnTo>
                    <a:pt x="8851" y="5308"/>
                  </a:lnTo>
                  <a:lnTo>
                    <a:pt x="8953" y="5473"/>
                  </a:lnTo>
                  <a:lnTo>
                    <a:pt x="10515" y="3594"/>
                  </a:lnTo>
                  <a:lnTo>
                    <a:pt x="12090" y="1765"/>
                  </a:lnTo>
                  <a:lnTo>
                    <a:pt x="13677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2" name="object 454">
              <a:extLst>
                <a:ext uri="{FF2B5EF4-FFF2-40B4-BE49-F238E27FC236}">
                  <a16:creationId xmlns:a16="http://schemas.microsoft.com/office/drawing/2014/main" id="{F5C70F20-19FC-4B29-99EE-50CD323DD642}"/>
                </a:ext>
              </a:extLst>
            </p:cNvPr>
            <p:cNvSpPr/>
            <p:nvPr/>
          </p:nvSpPr>
          <p:spPr>
            <a:xfrm>
              <a:off x="7917955" y="6188764"/>
              <a:ext cx="15875" cy="20320"/>
            </a:xfrm>
            <a:custGeom>
              <a:avLst/>
              <a:gdLst/>
              <a:ahLst/>
              <a:cxnLst/>
              <a:rect l="l" t="t" r="r" b="b"/>
              <a:pathLst>
                <a:path w="15875" h="20320">
                  <a:moveTo>
                    <a:pt x="4330" y="14147"/>
                  </a:moveTo>
                  <a:lnTo>
                    <a:pt x="3784" y="14605"/>
                  </a:lnTo>
                  <a:lnTo>
                    <a:pt x="3149" y="14922"/>
                  </a:lnTo>
                  <a:lnTo>
                    <a:pt x="2501" y="14897"/>
                  </a:lnTo>
                  <a:lnTo>
                    <a:pt x="1778" y="15862"/>
                  </a:lnTo>
                  <a:lnTo>
                    <a:pt x="342" y="17843"/>
                  </a:lnTo>
                  <a:lnTo>
                    <a:pt x="381" y="18491"/>
                  </a:lnTo>
                  <a:lnTo>
                    <a:pt x="279" y="19202"/>
                  </a:lnTo>
                  <a:lnTo>
                    <a:pt x="0" y="20040"/>
                  </a:lnTo>
                  <a:lnTo>
                    <a:pt x="1422" y="18034"/>
                  </a:lnTo>
                  <a:lnTo>
                    <a:pt x="2870" y="16078"/>
                  </a:lnTo>
                  <a:lnTo>
                    <a:pt x="4330" y="14147"/>
                  </a:lnTo>
                  <a:close/>
                </a:path>
                <a:path w="15875" h="20320">
                  <a:moveTo>
                    <a:pt x="15659" y="546"/>
                  </a:moveTo>
                  <a:lnTo>
                    <a:pt x="14922" y="0"/>
                  </a:lnTo>
                  <a:lnTo>
                    <a:pt x="14528" y="508"/>
                  </a:lnTo>
                  <a:lnTo>
                    <a:pt x="14147" y="863"/>
                  </a:lnTo>
                  <a:lnTo>
                    <a:pt x="13766" y="1104"/>
                  </a:lnTo>
                  <a:lnTo>
                    <a:pt x="12179" y="2882"/>
                  </a:lnTo>
                  <a:lnTo>
                    <a:pt x="10604" y="4711"/>
                  </a:lnTo>
                  <a:lnTo>
                    <a:pt x="9042" y="6591"/>
                  </a:lnTo>
                  <a:lnTo>
                    <a:pt x="9334" y="7086"/>
                  </a:lnTo>
                  <a:lnTo>
                    <a:pt x="9144" y="7759"/>
                  </a:lnTo>
                  <a:lnTo>
                    <a:pt x="8267" y="9029"/>
                  </a:lnTo>
                  <a:lnTo>
                    <a:pt x="10515" y="6362"/>
                  </a:lnTo>
                  <a:lnTo>
                    <a:pt x="12750" y="3759"/>
                  </a:lnTo>
                  <a:lnTo>
                    <a:pt x="15659" y="546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3" name="object 455">
              <a:extLst>
                <a:ext uri="{FF2B5EF4-FFF2-40B4-BE49-F238E27FC236}">
                  <a16:creationId xmlns:a16="http://schemas.microsoft.com/office/drawing/2014/main" id="{8B965FF6-05C9-46BD-AC1D-B979136769E0}"/>
                </a:ext>
              </a:extLst>
            </p:cNvPr>
            <p:cNvSpPr/>
            <p:nvPr/>
          </p:nvSpPr>
          <p:spPr>
            <a:xfrm>
              <a:off x="7917840" y="6189297"/>
              <a:ext cx="16510" cy="20955"/>
            </a:xfrm>
            <a:custGeom>
              <a:avLst/>
              <a:gdLst/>
              <a:ahLst/>
              <a:cxnLst/>
              <a:rect l="l" t="t" r="r" b="b"/>
              <a:pathLst>
                <a:path w="16509" h="20954">
                  <a:moveTo>
                    <a:pt x="5778" y="13563"/>
                  </a:moveTo>
                  <a:lnTo>
                    <a:pt x="5054" y="13030"/>
                  </a:lnTo>
                  <a:lnTo>
                    <a:pt x="4673" y="13449"/>
                  </a:lnTo>
                  <a:lnTo>
                    <a:pt x="4445" y="13627"/>
                  </a:lnTo>
                  <a:lnTo>
                    <a:pt x="2997" y="15544"/>
                  </a:lnTo>
                  <a:lnTo>
                    <a:pt x="1549" y="17513"/>
                  </a:lnTo>
                  <a:lnTo>
                    <a:pt x="127" y="19519"/>
                  </a:lnTo>
                  <a:lnTo>
                    <a:pt x="0" y="19875"/>
                  </a:lnTo>
                  <a:lnTo>
                    <a:pt x="723" y="20408"/>
                  </a:lnTo>
                  <a:lnTo>
                    <a:pt x="2374" y="18072"/>
                  </a:lnTo>
                  <a:lnTo>
                    <a:pt x="4064" y="15798"/>
                  </a:lnTo>
                  <a:lnTo>
                    <a:pt x="5778" y="13563"/>
                  </a:lnTo>
                  <a:close/>
                </a:path>
                <a:path w="16509" h="20954">
                  <a:moveTo>
                    <a:pt x="15887" y="88"/>
                  </a:moveTo>
                  <a:lnTo>
                    <a:pt x="12852" y="3213"/>
                  </a:lnTo>
                  <a:lnTo>
                    <a:pt x="10629" y="5829"/>
                  </a:lnTo>
                  <a:lnTo>
                    <a:pt x="8432" y="8534"/>
                  </a:lnTo>
                  <a:lnTo>
                    <a:pt x="9232" y="9118"/>
                  </a:lnTo>
                  <a:lnTo>
                    <a:pt x="15887" y="88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4" name="object 456">
              <a:extLst>
                <a:ext uri="{FF2B5EF4-FFF2-40B4-BE49-F238E27FC236}">
                  <a16:creationId xmlns:a16="http://schemas.microsoft.com/office/drawing/2014/main" id="{9C896B32-D04E-4A6C-A0F1-F90DB1251274}"/>
                </a:ext>
              </a:extLst>
            </p:cNvPr>
            <p:cNvSpPr/>
            <p:nvPr/>
          </p:nvSpPr>
          <p:spPr>
            <a:xfrm>
              <a:off x="7918563" y="6202856"/>
              <a:ext cx="5715" cy="6985"/>
            </a:xfrm>
            <a:custGeom>
              <a:avLst/>
              <a:gdLst/>
              <a:ahLst/>
              <a:cxnLst/>
              <a:rect l="l" t="t" r="r" b="b"/>
              <a:pathLst>
                <a:path w="5715" h="6984">
                  <a:moveTo>
                    <a:pt x="5054" y="0"/>
                  </a:moveTo>
                  <a:lnTo>
                    <a:pt x="3340" y="2222"/>
                  </a:lnTo>
                  <a:lnTo>
                    <a:pt x="1650" y="4508"/>
                  </a:lnTo>
                  <a:lnTo>
                    <a:pt x="0" y="6832"/>
                  </a:lnTo>
                  <a:lnTo>
                    <a:pt x="5168" y="88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5" name="object 457">
              <a:extLst>
                <a:ext uri="{FF2B5EF4-FFF2-40B4-BE49-F238E27FC236}">
                  <a16:creationId xmlns:a16="http://schemas.microsoft.com/office/drawing/2014/main" id="{251E086E-951A-4F8D-AEDB-2E2536732A92}"/>
                </a:ext>
              </a:extLst>
            </p:cNvPr>
            <p:cNvSpPr/>
            <p:nvPr/>
          </p:nvSpPr>
          <p:spPr>
            <a:xfrm>
              <a:off x="7919525" y="6158811"/>
              <a:ext cx="13970" cy="12700"/>
            </a:xfrm>
            <a:custGeom>
              <a:avLst/>
              <a:gdLst/>
              <a:ahLst/>
              <a:cxnLst/>
              <a:rect l="l" t="t" r="r" b="b"/>
              <a:pathLst>
                <a:path w="13970" h="12700">
                  <a:moveTo>
                    <a:pt x="13766" y="0"/>
                  </a:moveTo>
                  <a:lnTo>
                    <a:pt x="12522" y="393"/>
                  </a:lnTo>
                  <a:lnTo>
                    <a:pt x="11239" y="1143"/>
                  </a:lnTo>
                  <a:lnTo>
                    <a:pt x="0" y="11684"/>
                  </a:lnTo>
                  <a:lnTo>
                    <a:pt x="444" y="12166"/>
                  </a:lnTo>
                  <a:lnTo>
                    <a:pt x="4305" y="8242"/>
                  </a:lnTo>
                  <a:lnTo>
                    <a:pt x="8775" y="4152"/>
                  </a:lnTo>
                  <a:lnTo>
                    <a:pt x="13766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6" name="object 458">
              <a:extLst>
                <a:ext uri="{FF2B5EF4-FFF2-40B4-BE49-F238E27FC236}">
                  <a16:creationId xmlns:a16="http://schemas.microsoft.com/office/drawing/2014/main" id="{8B1F28A5-BF60-404C-9E58-1412504C399D}"/>
                </a:ext>
              </a:extLst>
            </p:cNvPr>
            <p:cNvSpPr/>
            <p:nvPr/>
          </p:nvSpPr>
          <p:spPr>
            <a:xfrm>
              <a:off x="7919965" y="6158497"/>
              <a:ext cx="15875" cy="13335"/>
            </a:xfrm>
            <a:custGeom>
              <a:avLst/>
              <a:gdLst/>
              <a:ahLst/>
              <a:cxnLst/>
              <a:rect l="l" t="t" r="r" b="b"/>
              <a:pathLst>
                <a:path w="15875" h="13334">
                  <a:moveTo>
                    <a:pt x="15265" y="0"/>
                  </a:moveTo>
                  <a:lnTo>
                    <a:pt x="14630" y="0"/>
                  </a:lnTo>
                  <a:lnTo>
                    <a:pt x="13982" y="101"/>
                  </a:lnTo>
                  <a:lnTo>
                    <a:pt x="13322" y="317"/>
                  </a:lnTo>
                  <a:lnTo>
                    <a:pt x="8343" y="4457"/>
                  </a:lnTo>
                  <a:lnTo>
                    <a:pt x="3873" y="8547"/>
                  </a:lnTo>
                  <a:lnTo>
                    <a:pt x="0" y="12471"/>
                  </a:lnTo>
                  <a:lnTo>
                    <a:pt x="279" y="12776"/>
                  </a:lnTo>
                  <a:lnTo>
                    <a:pt x="1054" y="12039"/>
                  </a:lnTo>
                  <a:lnTo>
                    <a:pt x="1701" y="11645"/>
                  </a:lnTo>
                  <a:lnTo>
                    <a:pt x="2324" y="11595"/>
                  </a:lnTo>
                  <a:lnTo>
                    <a:pt x="3860" y="10083"/>
                  </a:lnTo>
                  <a:lnTo>
                    <a:pt x="5486" y="8547"/>
                  </a:lnTo>
                  <a:lnTo>
                    <a:pt x="7175" y="6997"/>
                  </a:lnTo>
                  <a:lnTo>
                    <a:pt x="7264" y="6616"/>
                  </a:lnTo>
                  <a:lnTo>
                    <a:pt x="7556" y="6210"/>
                  </a:lnTo>
                  <a:lnTo>
                    <a:pt x="8940" y="4914"/>
                  </a:lnTo>
                  <a:lnTo>
                    <a:pt x="9728" y="4356"/>
                  </a:lnTo>
                  <a:lnTo>
                    <a:pt x="10502" y="4025"/>
                  </a:lnTo>
                  <a:lnTo>
                    <a:pt x="13627" y="1346"/>
                  </a:lnTo>
                  <a:lnTo>
                    <a:pt x="15265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7" name="object 459">
              <a:extLst>
                <a:ext uri="{FF2B5EF4-FFF2-40B4-BE49-F238E27FC236}">
                  <a16:creationId xmlns:a16="http://schemas.microsoft.com/office/drawing/2014/main" id="{2D4782E8-D522-4611-8E35-F3E49A148ECC}"/>
                </a:ext>
              </a:extLst>
            </p:cNvPr>
            <p:cNvSpPr/>
            <p:nvPr/>
          </p:nvSpPr>
          <p:spPr>
            <a:xfrm>
              <a:off x="7922285" y="6158500"/>
              <a:ext cx="15875" cy="12700"/>
            </a:xfrm>
            <a:custGeom>
              <a:avLst/>
              <a:gdLst/>
              <a:ahLst/>
              <a:cxnLst/>
              <a:rect l="l" t="t" r="r" b="b"/>
              <a:pathLst>
                <a:path w="15875" h="12700">
                  <a:moveTo>
                    <a:pt x="5765" y="8902"/>
                  </a:moveTo>
                  <a:lnTo>
                    <a:pt x="4749" y="7378"/>
                  </a:lnTo>
                  <a:lnTo>
                    <a:pt x="4851" y="6997"/>
                  </a:lnTo>
                  <a:lnTo>
                    <a:pt x="3149" y="8547"/>
                  </a:lnTo>
                  <a:lnTo>
                    <a:pt x="1524" y="10083"/>
                  </a:lnTo>
                  <a:lnTo>
                    <a:pt x="0" y="11595"/>
                  </a:lnTo>
                  <a:lnTo>
                    <a:pt x="381" y="11569"/>
                  </a:lnTo>
                  <a:lnTo>
                    <a:pt x="762" y="11658"/>
                  </a:lnTo>
                  <a:lnTo>
                    <a:pt x="1155" y="11887"/>
                  </a:lnTo>
                  <a:lnTo>
                    <a:pt x="1409" y="12039"/>
                  </a:lnTo>
                  <a:lnTo>
                    <a:pt x="1676" y="12255"/>
                  </a:lnTo>
                  <a:lnTo>
                    <a:pt x="1955" y="12522"/>
                  </a:lnTo>
                  <a:lnTo>
                    <a:pt x="3175" y="11328"/>
                  </a:lnTo>
                  <a:lnTo>
                    <a:pt x="4445" y="10109"/>
                  </a:lnTo>
                  <a:lnTo>
                    <a:pt x="5765" y="8902"/>
                  </a:lnTo>
                  <a:close/>
                </a:path>
                <a:path w="15875" h="12700">
                  <a:moveTo>
                    <a:pt x="14300" y="152"/>
                  </a:moveTo>
                  <a:lnTo>
                    <a:pt x="13868" y="50"/>
                  </a:lnTo>
                  <a:lnTo>
                    <a:pt x="13411" y="0"/>
                  </a:lnTo>
                  <a:lnTo>
                    <a:pt x="12941" y="0"/>
                  </a:lnTo>
                  <a:lnTo>
                    <a:pt x="11303" y="1346"/>
                  </a:lnTo>
                  <a:lnTo>
                    <a:pt x="9715" y="2692"/>
                  </a:lnTo>
                  <a:lnTo>
                    <a:pt x="8178" y="4025"/>
                  </a:lnTo>
                  <a:lnTo>
                    <a:pt x="8813" y="3759"/>
                  </a:lnTo>
                  <a:lnTo>
                    <a:pt x="9423" y="3657"/>
                  </a:lnTo>
                  <a:lnTo>
                    <a:pt x="10033" y="3746"/>
                  </a:lnTo>
                  <a:lnTo>
                    <a:pt x="11417" y="2552"/>
                  </a:lnTo>
                  <a:lnTo>
                    <a:pt x="12839" y="1358"/>
                  </a:lnTo>
                  <a:lnTo>
                    <a:pt x="14300" y="152"/>
                  </a:lnTo>
                  <a:close/>
                </a:path>
                <a:path w="15875" h="12700">
                  <a:moveTo>
                    <a:pt x="15367" y="558"/>
                  </a:moveTo>
                  <a:lnTo>
                    <a:pt x="15024" y="393"/>
                  </a:lnTo>
                  <a:lnTo>
                    <a:pt x="14668" y="254"/>
                  </a:lnTo>
                  <a:lnTo>
                    <a:pt x="14300" y="165"/>
                  </a:lnTo>
                  <a:lnTo>
                    <a:pt x="11417" y="2552"/>
                  </a:lnTo>
                  <a:lnTo>
                    <a:pt x="10033" y="3759"/>
                  </a:lnTo>
                  <a:lnTo>
                    <a:pt x="10401" y="3797"/>
                  </a:lnTo>
                  <a:lnTo>
                    <a:pt x="10769" y="3924"/>
                  </a:lnTo>
                  <a:lnTo>
                    <a:pt x="11137" y="4114"/>
                  </a:lnTo>
                  <a:lnTo>
                    <a:pt x="12509" y="2933"/>
                  </a:lnTo>
                  <a:lnTo>
                    <a:pt x="13919" y="1752"/>
                  </a:lnTo>
                  <a:lnTo>
                    <a:pt x="15367" y="558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8" name="object 460">
              <a:extLst>
                <a:ext uri="{FF2B5EF4-FFF2-40B4-BE49-F238E27FC236}">
                  <a16:creationId xmlns:a16="http://schemas.microsoft.com/office/drawing/2014/main" id="{A1BC71FA-0EC8-4B89-A676-A10915BB166F}"/>
                </a:ext>
              </a:extLst>
            </p:cNvPr>
            <p:cNvSpPr/>
            <p:nvPr/>
          </p:nvSpPr>
          <p:spPr>
            <a:xfrm>
              <a:off x="7924241" y="6159071"/>
              <a:ext cx="15240" cy="13970"/>
            </a:xfrm>
            <a:custGeom>
              <a:avLst/>
              <a:gdLst/>
              <a:ahLst/>
              <a:cxnLst/>
              <a:rect l="l" t="t" r="r" b="b"/>
              <a:pathLst>
                <a:path w="15240" h="13970">
                  <a:moveTo>
                    <a:pt x="5181" y="9804"/>
                  </a:moveTo>
                  <a:lnTo>
                    <a:pt x="4495" y="9067"/>
                  </a:lnTo>
                  <a:lnTo>
                    <a:pt x="4013" y="8547"/>
                  </a:lnTo>
                  <a:lnTo>
                    <a:pt x="3810" y="8331"/>
                  </a:lnTo>
                  <a:lnTo>
                    <a:pt x="2489" y="9550"/>
                  </a:lnTo>
                  <a:lnTo>
                    <a:pt x="1219" y="10756"/>
                  </a:lnTo>
                  <a:lnTo>
                    <a:pt x="0" y="11950"/>
                  </a:lnTo>
                  <a:lnTo>
                    <a:pt x="279" y="12230"/>
                  </a:lnTo>
                  <a:lnTo>
                    <a:pt x="698" y="12687"/>
                  </a:lnTo>
                  <a:lnTo>
                    <a:pt x="1397" y="13436"/>
                  </a:lnTo>
                  <a:lnTo>
                    <a:pt x="2616" y="12230"/>
                  </a:lnTo>
                  <a:lnTo>
                    <a:pt x="5181" y="9804"/>
                  </a:lnTo>
                  <a:close/>
                </a:path>
                <a:path w="15240" h="13970">
                  <a:moveTo>
                    <a:pt x="15024" y="1231"/>
                  </a:moveTo>
                  <a:lnTo>
                    <a:pt x="13411" y="0"/>
                  </a:lnTo>
                  <a:lnTo>
                    <a:pt x="11963" y="1181"/>
                  </a:lnTo>
                  <a:lnTo>
                    <a:pt x="10553" y="2362"/>
                  </a:lnTo>
                  <a:lnTo>
                    <a:pt x="9182" y="3543"/>
                  </a:lnTo>
                  <a:lnTo>
                    <a:pt x="9461" y="3695"/>
                  </a:lnTo>
                  <a:lnTo>
                    <a:pt x="9753" y="3886"/>
                  </a:lnTo>
                  <a:lnTo>
                    <a:pt x="10033" y="4127"/>
                  </a:lnTo>
                  <a:lnTo>
                    <a:pt x="10248" y="4292"/>
                  </a:lnTo>
                  <a:lnTo>
                    <a:pt x="10668" y="4711"/>
                  </a:lnTo>
                  <a:lnTo>
                    <a:pt x="12141" y="3632"/>
                  </a:lnTo>
                  <a:lnTo>
                    <a:pt x="13563" y="2438"/>
                  </a:lnTo>
                  <a:lnTo>
                    <a:pt x="15024" y="1231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69" name="object 461">
              <a:extLst>
                <a:ext uri="{FF2B5EF4-FFF2-40B4-BE49-F238E27FC236}">
                  <a16:creationId xmlns:a16="http://schemas.microsoft.com/office/drawing/2014/main" id="{B73CB794-1589-465C-9D95-B05ACBA9B670}"/>
                </a:ext>
              </a:extLst>
            </p:cNvPr>
            <p:cNvSpPr/>
            <p:nvPr/>
          </p:nvSpPr>
          <p:spPr>
            <a:xfrm>
              <a:off x="7925638" y="6160303"/>
              <a:ext cx="14604" cy="13335"/>
            </a:xfrm>
            <a:custGeom>
              <a:avLst/>
              <a:gdLst/>
              <a:ahLst/>
              <a:cxnLst/>
              <a:rect l="l" t="t" r="r" b="b"/>
              <a:pathLst>
                <a:path w="14604" h="13334">
                  <a:moveTo>
                    <a:pt x="4470" y="9309"/>
                  </a:moveTo>
                  <a:lnTo>
                    <a:pt x="3784" y="8572"/>
                  </a:lnTo>
                  <a:lnTo>
                    <a:pt x="2476" y="9791"/>
                  </a:lnTo>
                  <a:lnTo>
                    <a:pt x="1219" y="10998"/>
                  </a:lnTo>
                  <a:lnTo>
                    <a:pt x="0" y="12204"/>
                  </a:lnTo>
                  <a:lnTo>
                    <a:pt x="698" y="12941"/>
                  </a:lnTo>
                  <a:lnTo>
                    <a:pt x="1905" y="11734"/>
                  </a:lnTo>
                  <a:lnTo>
                    <a:pt x="4470" y="9309"/>
                  </a:lnTo>
                  <a:close/>
                </a:path>
                <a:path w="14604" h="13334">
                  <a:moveTo>
                    <a:pt x="14224" y="787"/>
                  </a:moveTo>
                  <a:lnTo>
                    <a:pt x="14046" y="520"/>
                  </a:lnTo>
                  <a:lnTo>
                    <a:pt x="13855" y="254"/>
                  </a:lnTo>
                  <a:lnTo>
                    <a:pt x="13627" y="0"/>
                  </a:lnTo>
                  <a:lnTo>
                    <a:pt x="12166" y="1193"/>
                  </a:lnTo>
                  <a:lnTo>
                    <a:pt x="10744" y="2387"/>
                  </a:lnTo>
                  <a:lnTo>
                    <a:pt x="9359" y="3581"/>
                  </a:lnTo>
                  <a:lnTo>
                    <a:pt x="9601" y="3848"/>
                  </a:lnTo>
                  <a:lnTo>
                    <a:pt x="9817" y="4102"/>
                  </a:lnTo>
                  <a:lnTo>
                    <a:pt x="9994" y="4356"/>
                  </a:lnTo>
                  <a:lnTo>
                    <a:pt x="11366" y="3175"/>
                  </a:lnTo>
                  <a:lnTo>
                    <a:pt x="12776" y="1981"/>
                  </a:lnTo>
                  <a:lnTo>
                    <a:pt x="14224" y="787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0" name="object 462">
              <a:extLst>
                <a:ext uri="{FF2B5EF4-FFF2-40B4-BE49-F238E27FC236}">
                  <a16:creationId xmlns:a16="http://schemas.microsoft.com/office/drawing/2014/main" id="{75F1B0B5-C842-4E34-A882-18BD4D5F2220}"/>
                </a:ext>
              </a:extLst>
            </p:cNvPr>
            <p:cNvSpPr/>
            <p:nvPr/>
          </p:nvSpPr>
          <p:spPr>
            <a:xfrm>
              <a:off x="7926337" y="6161091"/>
              <a:ext cx="13970" cy="13335"/>
            </a:xfrm>
            <a:custGeom>
              <a:avLst/>
              <a:gdLst/>
              <a:ahLst/>
              <a:cxnLst/>
              <a:rect l="l" t="t" r="r" b="b"/>
              <a:pathLst>
                <a:path w="13970" h="13334">
                  <a:moveTo>
                    <a:pt x="4483" y="9271"/>
                  </a:moveTo>
                  <a:lnTo>
                    <a:pt x="3784" y="8534"/>
                  </a:lnTo>
                  <a:lnTo>
                    <a:pt x="1219" y="10960"/>
                  </a:lnTo>
                  <a:lnTo>
                    <a:pt x="0" y="12166"/>
                  </a:lnTo>
                  <a:lnTo>
                    <a:pt x="698" y="12915"/>
                  </a:lnTo>
                  <a:lnTo>
                    <a:pt x="1917" y="11709"/>
                  </a:lnTo>
                  <a:lnTo>
                    <a:pt x="3175" y="10490"/>
                  </a:lnTo>
                  <a:lnTo>
                    <a:pt x="4483" y="9271"/>
                  </a:lnTo>
                  <a:close/>
                </a:path>
                <a:path w="13970" h="13334">
                  <a:moveTo>
                    <a:pt x="13944" y="939"/>
                  </a:moveTo>
                  <a:lnTo>
                    <a:pt x="13843" y="622"/>
                  </a:lnTo>
                  <a:lnTo>
                    <a:pt x="13703" y="304"/>
                  </a:lnTo>
                  <a:lnTo>
                    <a:pt x="13512" y="0"/>
                  </a:lnTo>
                  <a:lnTo>
                    <a:pt x="12077" y="1193"/>
                  </a:lnTo>
                  <a:lnTo>
                    <a:pt x="9283" y="3568"/>
                  </a:lnTo>
                  <a:lnTo>
                    <a:pt x="9499" y="3860"/>
                  </a:lnTo>
                  <a:lnTo>
                    <a:pt x="9664" y="4165"/>
                  </a:lnTo>
                  <a:lnTo>
                    <a:pt x="9804" y="4457"/>
                  </a:lnTo>
                  <a:lnTo>
                    <a:pt x="11150" y="3289"/>
                  </a:lnTo>
                  <a:lnTo>
                    <a:pt x="12534" y="2108"/>
                  </a:lnTo>
                  <a:lnTo>
                    <a:pt x="13944" y="939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1" name="object 463">
              <a:extLst>
                <a:ext uri="{FF2B5EF4-FFF2-40B4-BE49-F238E27FC236}">
                  <a16:creationId xmlns:a16="http://schemas.microsoft.com/office/drawing/2014/main" id="{9713D790-266A-4111-8959-CF1AC04746E0}"/>
                </a:ext>
              </a:extLst>
            </p:cNvPr>
            <p:cNvSpPr/>
            <p:nvPr/>
          </p:nvSpPr>
          <p:spPr>
            <a:xfrm>
              <a:off x="7927035" y="6162031"/>
              <a:ext cx="13970" cy="13335"/>
            </a:xfrm>
            <a:custGeom>
              <a:avLst/>
              <a:gdLst/>
              <a:ahLst/>
              <a:cxnLst/>
              <a:rect l="l" t="t" r="r" b="b"/>
              <a:pathLst>
                <a:path w="13970" h="13334">
                  <a:moveTo>
                    <a:pt x="4470" y="9067"/>
                  </a:moveTo>
                  <a:lnTo>
                    <a:pt x="3784" y="8331"/>
                  </a:lnTo>
                  <a:lnTo>
                    <a:pt x="2476" y="9550"/>
                  </a:lnTo>
                  <a:lnTo>
                    <a:pt x="1219" y="10756"/>
                  </a:lnTo>
                  <a:lnTo>
                    <a:pt x="0" y="11963"/>
                  </a:lnTo>
                  <a:lnTo>
                    <a:pt x="698" y="12712"/>
                  </a:lnTo>
                  <a:lnTo>
                    <a:pt x="1917" y="11506"/>
                  </a:lnTo>
                  <a:lnTo>
                    <a:pt x="3175" y="10287"/>
                  </a:lnTo>
                  <a:lnTo>
                    <a:pt x="4470" y="9067"/>
                  </a:lnTo>
                  <a:close/>
                </a:path>
                <a:path w="13970" h="13334">
                  <a:moveTo>
                    <a:pt x="13487" y="1092"/>
                  </a:moveTo>
                  <a:lnTo>
                    <a:pt x="13449" y="723"/>
                  </a:lnTo>
                  <a:lnTo>
                    <a:pt x="13373" y="355"/>
                  </a:lnTo>
                  <a:lnTo>
                    <a:pt x="13246" y="0"/>
                  </a:lnTo>
                  <a:lnTo>
                    <a:pt x="11836" y="1168"/>
                  </a:lnTo>
                  <a:lnTo>
                    <a:pt x="10452" y="2349"/>
                  </a:lnTo>
                  <a:lnTo>
                    <a:pt x="9105" y="3517"/>
                  </a:lnTo>
                  <a:lnTo>
                    <a:pt x="9258" y="3860"/>
                  </a:lnTo>
                  <a:lnTo>
                    <a:pt x="9372" y="4216"/>
                  </a:lnTo>
                  <a:lnTo>
                    <a:pt x="9423" y="4572"/>
                  </a:lnTo>
                  <a:lnTo>
                    <a:pt x="10744" y="3416"/>
                  </a:lnTo>
                  <a:lnTo>
                    <a:pt x="13487" y="1092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2" name="object 464">
              <a:extLst>
                <a:ext uri="{FF2B5EF4-FFF2-40B4-BE49-F238E27FC236}">
                  <a16:creationId xmlns:a16="http://schemas.microsoft.com/office/drawing/2014/main" id="{2FAFDFA4-B9A2-49D1-8571-4C6138759EEC}"/>
                </a:ext>
              </a:extLst>
            </p:cNvPr>
            <p:cNvSpPr/>
            <p:nvPr/>
          </p:nvSpPr>
          <p:spPr>
            <a:xfrm>
              <a:off x="7927721" y="6163123"/>
              <a:ext cx="13335" cy="12700"/>
            </a:xfrm>
            <a:custGeom>
              <a:avLst/>
              <a:gdLst/>
              <a:ahLst/>
              <a:cxnLst/>
              <a:rect l="l" t="t" r="r" b="b"/>
              <a:pathLst>
                <a:path w="13334" h="12700">
                  <a:moveTo>
                    <a:pt x="4470" y="8712"/>
                  </a:moveTo>
                  <a:lnTo>
                    <a:pt x="3784" y="7975"/>
                  </a:lnTo>
                  <a:lnTo>
                    <a:pt x="2476" y="9194"/>
                  </a:lnTo>
                  <a:lnTo>
                    <a:pt x="1219" y="10401"/>
                  </a:lnTo>
                  <a:lnTo>
                    <a:pt x="0" y="11607"/>
                  </a:lnTo>
                  <a:lnTo>
                    <a:pt x="711" y="12357"/>
                  </a:lnTo>
                  <a:lnTo>
                    <a:pt x="1917" y="11150"/>
                  </a:lnTo>
                  <a:lnTo>
                    <a:pt x="3175" y="9931"/>
                  </a:lnTo>
                  <a:lnTo>
                    <a:pt x="4470" y="8712"/>
                  </a:lnTo>
                  <a:close/>
                </a:path>
                <a:path w="13334" h="12700">
                  <a:moveTo>
                    <a:pt x="12839" y="444"/>
                  </a:moveTo>
                  <a:lnTo>
                    <a:pt x="12801" y="0"/>
                  </a:lnTo>
                  <a:lnTo>
                    <a:pt x="10058" y="2324"/>
                  </a:lnTo>
                  <a:lnTo>
                    <a:pt x="8737" y="3479"/>
                  </a:lnTo>
                  <a:lnTo>
                    <a:pt x="8801" y="3937"/>
                  </a:lnTo>
                  <a:lnTo>
                    <a:pt x="8775" y="4419"/>
                  </a:lnTo>
                  <a:lnTo>
                    <a:pt x="8648" y="4902"/>
                  </a:lnTo>
                  <a:lnTo>
                    <a:pt x="9982" y="3708"/>
                  </a:lnTo>
                  <a:lnTo>
                    <a:pt x="11353" y="2514"/>
                  </a:lnTo>
                  <a:lnTo>
                    <a:pt x="12776" y="1333"/>
                  </a:lnTo>
                  <a:lnTo>
                    <a:pt x="12839" y="889"/>
                  </a:lnTo>
                  <a:lnTo>
                    <a:pt x="12839" y="444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3" name="object 465">
              <a:extLst>
                <a:ext uri="{FF2B5EF4-FFF2-40B4-BE49-F238E27FC236}">
                  <a16:creationId xmlns:a16="http://schemas.microsoft.com/office/drawing/2014/main" id="{C9B76BB6-33AA-485E-9B68-50BD663382B7}"/>
                </a:ext>
              </a:extLst>
            </p:cNvPr>
            <p:cNvSpPr/>
            <p:nvPr/>
          </p:nvSpPr>
          <p:spPr>
            <a:xfrm>
              <a:off x="7928432" y="6164456"/>
              <a:ext cx="12065" cy="12065"/>
            </a:xfrm>
            <a:custGeom>
              <a:avLst/>
              <a:gdLst/>
              <a:ahLst/>
              <a:cxnLst/>
              <a:rect l="l" t="t" r="r" b="b"/>
              <a:pathLst>
                <a:path w="12065" h="12065">
                  <a:moveTo>
                    <a:pt x="4457" y="8115"/>
                  </a:moveTo>
                  <a:lnTo>
                    <a:pt x="3759" y="7378"/>
                  </a:lnTo>
                  <a:lnTo>
                    <a:pt x="2463" y="8597"/>
                  </a:lnTo>
                  <a:lnTo>
                    <a:pt x="1206" y="9817"/>
                  </a:lnTo>
                  <a:lnTo>
                    <a:pt x="0" y="11023"/>
                  </a:lnTo>
                  <a:lnTo>
                    <a:pt x="685" y="11772"/>
                  </a:lnTo>
                  <a:lnTo>
                    <a:pt x="1905" y="10553"/>
                  </a:lnTo>
                  <a:lnTo>
                    <a:pt x="3162" y="9334"/>
                  </a:lnTo>
                  <a:lnTo>
                    <a:pt x="4457" y="8115"/>
                  </a:lnTo>
                  <a:close/>
                </a:path>
                <a:path w="12065" h="12065">
                  <a:moveTo>
                    <a:pt x="12065" y="0"/>
                  </a:moveTo>
                  <a:lnTo>
                    <a:pt x="10655" y="1181"/>
                  </a:lnTo>
                  <a:lnTo>
                    <a:pt x="9271" y="2374"/>
                  </a:lnTo>
                  <a:lnTo>
                    <a:pt x="7937" y="3568"/>
                  </a:lnTo>
                  <a:lnTo>
                    <a:pt x="7696" y="4470"/>
                  </a:lnTo>
                  <a:lnTo>
                    <a:pt x="7137" y="5448"/>
                  </a:lnTo>
                  <a:lnTo>
                    <a:pt x="6172" y="6527"/>
                  </a:lnTo>
                  <a:lnTo>
                    <a:pt x="7912" y="4927"/>
                  </a:lnTo>
                  <a:lnTo>
                    <a:pt x="9715" y="3314"/>
                  </a:lnTo>
                  <a:lnTo>
                    <a:pt x="11582" y="1714"/>
                  </a:lnTo>
                  <a:lnTo>
                    <a:pt x="11811" y="1155"/>
                  </a:lnTo>
                  <a:lnTo>
                    <a:pt x="11976" y="571"/>
                  </a:lnTo>
                  <a:lnTo>
                    <a:pt x="12065" y="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4" name="object 466">
              <a:extLst>
                <a:ext uri="{FF2B5EF4-FFF2-40B4-BE49-F238E27FC236}">
                  <a16:creationId xmlns:a16="http://schemas.microsoft.com/office/drawing/2014/main" id="{4D1464F5-C4DF-4A7A-98D9-B9ACC266A19E}"/>
                </a:ext>
              </a:extLst>
            </p:cNvPr>
            <p:cNvSpPr/>
            <p:nvPr/>
          </p:nvSpPr>
          <p:spPr>
            <a:xfrm>
              <a:off x="7929130" y="6166158"/>
              <a:ext cx="11430" cy="11430"/>
            </a:xfrm>
            <a:custGeom>
              <a:avLst/>
              <a:gdLst/>
              <a:ahLst/>
              <a:cxnLst/>
              <a:rect l="l" t="t" r="r" b="b"/>
              <a:pathLst>
                <a:path w="11429" h="11429">
                  <a:moveTo>
                    <a:pt x="10883" y="0"/>
                  </a:moveTo>
                  <a:lnTo>
                    <a:pt x="9017" y="1612"/>
                  </a:lnTo>
                  <a:lnTo>
                    <a:pt x="7213" y="3213"/>
                  </a:lnTo>
                  <a:lnTo>
                    <a:pt x="5473" y="4826"/>
                  </a:lnTo>
                  <a:lnTo>
                    <a:pt x="5118" y="5219"/>
                  </a:lnTo>
                  <a:lnTo>
                    <a:pt x="4711" y="5626"/>
                  </a:lnTo>
                  <a:lnTo>
                    <a:pt x="4254" y="6057"/>
                  </a:lnTo>
                  <a:lnTo>
                    <a:pt x="3822" y="6477"/>
                  </a:lnTo>
                  <a:lnTo>
                    <a:pt x="1219" y="8851"/>
                  </a:lnTo>
                  <a:lnTo>
                    <a:pt x="0" y="10071"/>
                  </a:lnTo>
                  <a:lnTo>
                    <a:pt x="698" y="10820"/>
                  </a:lnTo>
                  <a:lnTo>
                    <a:pt x="1968" y="9550"/>
                  </a:lnTo>
                  <a:lnTo>
                    <a:pt x="3276" y="8280"/>
                  </a:lnTo>
                  <a:lnTo>
                    <a:pt x="4622" y="6997"/>
                  </a:lnTo>
                  <a:lnTo>
                    <a:pt x="4470" y="6629"/>
                  </a:lnTo>
                  <a:lnTo>
                    <a:pt x="4622" y="6985"/>
                  </a:lnTo>
                  <a:lnTo>
                    <a:pt x="6223" y="5486"/>
                  </a:lnTo>
                  <a:lnTo>
                    <a:pt x="7874" y="3975"/>
                  </a:lnTo>
                  <a:lnTo>
                    <a:pt x="9588" y="2463"/>
                  </a:lnTo>
                  <a:lnTo>
                    <a:pt x="10045" y="1714"/>
                  </a:lnTo>
                  <a:lnTo>
                    <a:pt x="10528" y="876"/>
                  </a:lnTo>
                  <a:lnTo>
                    <a:pt x="10883" y="0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5" name="object 467">
              <a:extLst>
                <a:ext uri="{FF2B5EF4-FFF2-40B4-BE49-F238E27FC236}">
                  <a16:creationId xmlns:a16="http://schemas.microsoft.com/office/drawing/2014/main" id="{24924738-C4E0-4736-8A63-16B97F520DF1}"/>
                </a:ext>
              </a:extLst>
            </p:cNvPr>
            <p:cNvSpPr/>
            <p:nvPr/>
          </p:nvSpPr>
          <p:spPr>
            <a:xfrm>
              <a:off x="7929829" y="6168558"/>
              <a:ext cx="10795" cy="9525"/>
            </a:xfrm>
            <a:custGeom>
              <a:avLst/>
              <a:gdLst/>
              <a:ahLst/>
              <a:cxnLst/>
              <a:rect l="l" t="t" r="r" b="b"/>
              <a:pathLst>
                <a:path w="10795" h="9525">
                  <a:moveTo>
                    <a:pt x="10325" y="139"/>
                  </a:moveTo>
                  <a:lnTo>
                    <a:pt x="9855" y="38"/>
                  </a:lnTo>
                  <a:lnTo>
                    <a:pt x="9385" y="0"/>
                  </a:lnTo>
                  <a:lnTo>
                    <a:pt x="8902" y="63"/>
                  </a:lnTo>
                  <a:lnTo>
                    <a:pt x="0" y="8407"/>
                  </a:lnTo>
                  <a:lnTo>
                    <a:pt x="698" y="9156"/>
                  </a:lnTo>
                  <a:lnTo>
                    <a:pt x="1917" y="7937"/>
                  </a:lnTo>
                  <a:lnTo>
                    <a:pt x="3162" y="6718"/>
                  </a:lnTo>
                  <a:lnTo>
                    <a:pt x="4457" y="5486"/>
                  </a:lnTo>
                  <a:lnTo>
                    <a:pt x="4152" y="5168"/>
                  </a:lnTo>
                  <a:lnTo>
                    <a:pt x="4559" y="4787"/>
                  </a:lnTo>
                  <a:lnTo>
                    <a:pt x="5003" y="4457"/>
                  </a:lnTo>
                  <a:lnTo>
                    <a:pt x="5689" y="4330"/>
                  </a:lnTo>
                  <a:lnTo>
                    <a:pt x="7188" y="2933"/>
                  </a:lnTo>
                  <a:lnTo>
                    <a:pt x="8724" y="1536"/>
                  </a:lnTo>
                  <a:lnTo>
                    <a:pt x="10325" y="139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6" name="object 468">
              <a:extLst>
                <a:ext uri="{FF2B5EF4-FFF2-40B4-BE49-F238E27FC236}">
                  <a16:creationId xmlns:a16="http://schemas.microsoft.com/office/drawing/2014/main" id="{CF254F58-53EB-4922-840B-23B7EC8B38F4}"/>
                </a:ext>
              </a:extLst>
            </p:cNvPr>
            <p:cNvSpPr/>
            <p:nvPr/>
          </p:nvSpPr>
          <p:spPr>
            <a:xfrm>
              <a:off x="7930528" y="6168698"/>
              <a:ext cx="10795" cy="10160"/>
            </a:xfrm>
            <a:custGeom>
              <a:avLst/>
              <a:gdLst/>
              <a:ahLst/>
              <a:cxnLst/>
              <a:rect l="l" t="t" r="r" b="b"/>
              <a:pathLst>
                <a:path w="10795" h="10159">
                  <a:moveTo>
                    <a:pt x="4445" y="6096"/>
                  </a:moveTo>
                  <a:lnTo>
                    <a:pt x="3759" y="5346"/>
                  </a:lnTo>
                  <a:lnTo>
                    <a:pt x="2463" y="6578"/>
                  </a:lnTo>
                  <a:lnTo>
                    <a:pt x="1219" y="7797"/>
                  </a:lnTo>
                  <a:lnTo>
                    <a:pt x="0" y="9017"/>
                  </a:lnTo>
                  <a:lnTo>
                    <a:pt x="698" y="9766"/>
                  </a:lnTo>
                  <a:lnTo>
                    <a:pt x="1905" y="8547"/>
                  </a:lnTo>
                  <a:lnTo>
                    <a:pt x="3162" y="7315"/>
                  </a:lnTo>
                  <a:lnTo>
                    <a:pt x="4445" y="6096"/>
                  </a:lnTo>
                  <a:close/>
                </a:path>
                <a:path w="10795" h="10159">
                  <a:moveTo>
                    <a:pt x="10769" y="330"/>
                  </a:moveTo>
                  <a:lnTo>
                    <a:pt x="10388" y="203"/>
                  </a:lnTo>
                  <a:lnTo>
                    <a:pt x="10007" y="88"/>
                  </a:lnTo>
                  <a:lnTo>
                    <a:pt x="9626" y="0"/>
                  </a:lnTo>
                  <a:lnTo>
                    <a:pt x="8026" y="1397"/>
                  </a:lnTo>
                  <a:lnTo>
                    <a:pt x="6489" y="2794"/>
                  </a:lnTo>
                  <a:lnTo>
                    <a:pt x="4991" y="4191"/>
                  </a:lnTo>
                  <a:lnTo>
                    <a:pt x="5384" y="4114"/>
                  </a:lnTo>
                  <a:lnTo>
                    <a:pt x="5867" y="4114"/>
                  </a:lnTo>
                  <a:lnTo>
                    <a:pt x="6464" y="4203"/>
                  </a:lnTo>
                  <a:lnTo>
                    <a:pt x="7861" y="2908"/>
                  </a:lnTo>
                  <a:lnTo>
                    <a:pt x="9296" y="1625"/>
                  </a:lnTo>
                  <a:lnTo>
                    <a:pt x="10769" y="33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7" name="object 469">
              <a:extLst>
                <a:ext uri="{FF2B5EF4-FFF2-40B4-BE49-F238E27FC236}">
                  <a16:creationId xmlns:a16="http://schemas.microsoft.com/office/drawing/2014/main" id="{9FF51C12-D581-497C-AA5F-EAF7238170F7}"/>
                </a:ext>
              </a:extLst>
            </p:cNvPr>
            <p:cNvSpPr/>
            <p:nvPr/>
          </p:nvSpPr>
          <p:spPr>
            <a:xfrm>
              <a:off x="7931226" y="6169028"/>
              <a:ext cx="11430" cy="10795"/>
            </a:xfrm>
            <a:custGeom>
              <a:avLst/>
              <a:gdLst/>
              <a:ahLst/>
              <a:cxnLst/>
              <a:rect l="l" t="t" r="r" b="b"/>
              <a:pathLst>
                <a:path w="11429" h="10795">
                  <a:moveTo>
                    <a:pt x="4445" y="6515"/>
                  </a:moveTo>
                  <a:lnTo>
                    <a:pt x="3746" y="5765"/>
                  </a:lnTo>
                  <a:lnTo>
                    <a:pt x="1206" y="8216"/>
                  </a:lnTo>
                  <a:lnTo>
                    <a:pt x="0" y="9436"/>
                  </a:lnTo>
                  <a:lnTo>
                    <a:pt x="698" y="10185"/>
                  </a:lnTo>
                  <a:lnTo>
                    <a:pt x="1905" y="8953"/>
                  </a:lnTo>
                  <a:lnTo>
                    <a:pt x="3162" y="7734"/>
                  </a:lnTo>
                  <a:lnTo>
                    <a:pt x="4445" y="6515"/>
                  </a:lnTo>
                  <a:close/>
                </a:path>
                <a:path w="11429" h="10795">
                  <a:moveTo>
                    <a:pt x="11150" y="393"/>
                  </a:moveTo>
                  <a:lnTo>
                    <a:pt x="10071" y="0"/>
                  </a:lnTo>
                  <a:lnTo>
                    <a:pt x="8597" y="1295"/>
                  </a:lnTo>
                  <a:lnTo>
                    <a:pt x="7162" y="2578"/>
                  </a:lnTo>
                  <a:lnTo>
                    <a:pt x="5765" y="3873"/>
                  </a:lnTo>
                  <a:lnTo>
                    <a:pt x="6527" y="4013"/>
                  </a:lnTo>
                  <a:lnTo>
                    <a:pt x="6972" y="4140"/>
                  </a:lnTo>
                  <a:lnTo>
                    <a:pt x="8331" y="2882"/>
                  </a:lnTo>
                  <a:lnTo>
                    <a:pt x="9728" y="1638"/>
                  </a:lnTo>
                  <a:lnTo>
                    <a:pt x="11150" y="393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8" name="object 470">
              <a:extLst>
                <a:ext uri="{FF2B5EF4-FFF2-40B4-BE49-F238E27FC236}">
                  <a16:creationId xmlns:a16="http://schemas.microsoft.com/office/drawing/2014/main" id="{E0A536C0-7915-4690-883E-3C40D7677990}"/>
                </a:ext>
              </a:extLst>
            </p:cNvPr>
            <p:cNvSpPr/>
            <p:nvPr/>
          </p:nvSpPr>
          <p:spPr>
            <a:xfrm>
              <a:off x="7931925" y="6169422"/>
              <a:ext cx="12065" cy="10795"/>
            </a:xfrm>
            <a:custGeom>
              <a:avLst/>
              <a:gdLst/>
              <a:ahLst/>
              <a:cxnLst/>
              <a:rect l="l" t="t" r="r" b="b"/>
              <a:pathLst>
                <a:path w="12065" h="10795">
                  <a:moveTo>
                    <a:pt x="4445" y="6845"/>
                  </a:moveTo>
                  <a:lnTo>
                    <a:pt x="3746" y="6108"/>
                  </a:lnTo>
                  <a:lnTo>
                    <a:pt x="2463" y="7327"/>
                  </a:lnTo>
                  <a:lnTo>
                    <a:pt x="1206" y="8559"/>
                  </a:lnTo>
                  <a:lnTo>
                    <a:pt x="0" y="9779"/>
                  </a:lnTo>
                  <a:lnTo>
                    <a:pt x="698" y="10528"/>
                  </a:lnTo>
                  <a:lnTo>
                    <a:pt x="1905" y="9296"/>
                  </a:lnTo>
                  <a:lnTo>
                    <a:pt x="4445" y="6845"/>
                  </a:lnTo>
                  <a:close/>
                </a:path>
                <a:path w="12065" h="10795">
                  <a:moveTo>
                    <a:pt x="11518" y="393"/>
                  </a:moveTo>
                  <a:lnTo>
                    <a:pt x="10452" y="0"/>
                  </a:lnTo>
                  <a:lnTo>
                    <a:pt x="9017" y="1244"/>
                  </a:lnTo>
                  <a:lnTo>
                    <a:pt x="7632" y="2489"/>
                  </a:lnTo>
                  <a:lnTo>
                    <a:pt x="6273" y="3746"/>
                  </a:lnTo>
                  <a:lnTo>
                    <a:pt x="6616" y="3835"/>
                  </a:lnTo>
                  <a:lnTo>
                    <a:pt x="7378" y="4102"/>
                  </a:lnTo>
                  <a:lnTo>
                    <a:pt x="8724" y="2870"/>
                  </a:lnTo>
                  <a:lnTo>
                    <a:pt x="10109" y="1625"/>
                  </a:lnTo>
                  <a:lnTo>
                    <a:pt x="11518" y="393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79" name="object 471">
              <a:extLst>
                <a:ext uri="{FF2B5EF4-FFF2-40B4-BE49-F238E27FC236}">
                  <a16:creationId xmlns:a16="http://schemas.microsoft.com/office/drawing/2014/main" id="{6C7ABA71-374A-4593-BA9D-0F6D3269A298}"/>
                </a:ext>
              </a:extLst>
            </p:cNvPr>
            <p:cNvSpPr/>
            <p:nvPr/>
          </p:nvSpPr>
          <p:spPr>
            <a:xfrm>
              <a:off x="7932623" y="6169828"/>
              <a:ext cx="12065" cy="11430"/>
            </a:xfrm>
            <a:custGeom>
              <a:avLst/>
              <a:gdLst/>
              <a:ahLst/>
              <a:cxnLst/>
              <a:rect l="l" t="t" r="r" b="b"/>
              <a:pathLst>
                <a:path w="12065" h="11429">
                  <a:moveTo>
                    <a:pt x="4432" y="7188"/>
                  </a:moveTo>
                  <a:lnTo>
                    <a:pt x="3746" y="6438"/>
                  </a:lnTo>
                  <a:lnTo>
                    <a:pt x="2463" y="7670"/>
                  </a:lnTo>
                  <a:lnTo>
                    <a:pt x="1219" y="8902"/>
                  </a:lnTo>
                  <a:lnTo>
                    <a:pt x="0" y="10121"/>
                  </a:lnTo>
                  <a:lnTo>
                    <a:pt x="698" y="10871"/>
                  </a:lnTo>
                  <a:lnTo>
                    <a:pt x="1917" y="9639"/>
                  </a:lnTo>
                  <a:lnTo>
                    <a:pt x="3162" y="8407"/>
                  </a:lnTo>
                  <a:lnTo>
                    <a:pt x="4432" y="7188"/>
                  </a:lnTo>
                  <a:close/>
                </a:path>
                <a:path w="12065" h="11429">
                  <a:moveTo>
                    <a:pt x="11899" y="393"/>
                  </a:moveTo>
                  <a:lnTo>
                    <a:pt x="10820" y="0"/>
                  </a:lnTo>
                  <a:lnTo>
                    <a:pt x="9410" y="1231"/>
                  </a:lnTo>
                  <a:lnTo>
                    <a:pt x="8026" y="2463"/>
                  </a:lnTo>
                  <a:lnTo>
                    <a:pt x="6680" y="3695"/>
                  </a:lnTo>
                  <a:lnTo>
                    <a:pt x="7010" y="3810"/>
                  </a:lnTo>
                  <a:lnTo>
                    <a:pt x="7708" y="4089"/>
                  </a:lnTo>
                  <a:lnTo>
                    <a:pt x="9093" y="2857"/>
                  </a:lnTo>
                  <a:lnTo>
                    <a:pt x="10477" y="1625"/>
                  </a:lnTo>
                  <a:lnTo>
                    <a:pt x="11899" y="393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0" name="object 472">
              <a:extLst>
                <a:ext uri="{FF2B5EF4-FFF2-40B4-BE49-F238E27FC236}">
                  <a16:creationId xmlns:a16="http://schemas.microsoft.com/office/drawing/2014/main" id="{129AAAD3-A91E-419D-8DCC-C07D414FF993}"/>
                </a:ext>
              </a:extLst>
            </p:cNvPr>
            <p:cNvSpPr/>
            <p:nvPr/>
          </p:nvSpPr>
          <p:spPr>
            <a:xfrm>
              <a:off x="7933321" y="6170222"/>
              <a:ext cx="12700" cy="11430"/>
            </a:xfrm>
            <a:custGeom>
              <a:avLst/>
              <a:gdLst/>
              <a:ahLst/>
              <a:cxnLst/>
              <a:rect l="l" t="t" r="r" b="b"/>
              <a:pathLst>
                <a:path w="12700" h="11429">
                  <a:moveTo>
                    <a:pt x="4432" y="7531"/>
                  </a:moveTo>
                  <a:lnTo>
                    <a:pt x="3733" y="6794"/>
                  </a:lnTo>
                  <a:lnTo>
                    <a:pt x="2451" y="8026"/>
                  </a:lnTo>
                  <a:lnTo>
                    <a:pt x="1219" y="9245"/>
                  </a:lnTo>
                  <a:lnTo>
                    <a:pt x="0" y="10477"/>
                  </a:lnTo>
                  <a:lnTo>
                    <a:pt x="698" y="11226"/>
                  </a:lnTo>
                  <a:lnTo>
                    <a:pt x="1905" y="9994"/>
                  </a:lnTo>
                  <a:lnTo>
                    <a:pt x="3149" y="8763"/>
                  </a:lnTo>
                  <a:lnTo>
                    <a:pt x="4432" y="7531"/>
                  </a:lnTo>
                  <a:close/>
                </a:path>
                <a:path w="12700" h="11429">
                  <a:moveTo>
                    <a:pt x="12255" y="381"/>
                  </a:moveTo>
                  <a:lnTo>
                    <a:pt x="11188" y="0"/>
                  </a:lnTo>
                  <a:lnTo>
                    <a:pt x="9766" y="1231"/>
                  </a:lnTo>
                  <a:lnTo>
                    <a:pt x="8382" y="2463"/>
                  </a:lnTo>
                  <a:lnTo>
                    <a:pt x="7035" y="3695"/>
                  </a:lnTo>
                  <a:lnTo>
                    <a:pt x="8077" y="4114"/>
                  </a:lnTo>
                  <a:lnTo>
                    <a:pt x="9436" y="2870"/>
                  </a:lnTo>
                  <a:lnTo>
                    <a:pt x="10833" y="1625"/>
                  </a:lnTo>
                  <a:lnTo>
                    <a:pt x="12255" y="381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1" name="object 473">
              <a:extLst>
                <a:ext uri="{FF2B5EF4-FFF2-40B4-BE49-F238E27FC236}">
                  <a16:creationId xmlns:a16="http://schemas.microsoft.com/office/drawing/2014/main" id="{B4297631-3DA2-415E-907F-9D577E9A50B1}"/>
                </a:ext>
              </a:extLst>
            </p:cNvPr>
            <p:cNvSpPr/>
            <p:nvPr/>
          </p:nvSpPr>
          <p:spPr>
            <a:xfrm>
              <a:off x="7934020" y="6170603"/>
              <a:ext cx="12700" cy="12065"/>
            </a:xfrm>
            <a:custGeom>
              <a:avLst/>
              <a:gdLst/>
              <a:ahLst/>
              <a:cxnLst/>
              <a:rect l="l" t="t" r="r" b="b"/>
              <a:pathLst>
                <a:path w="12700" h="12065">
                  <a:moveTo>
                    <a:pt x="4432" y="7886"/>
                  </a:moveTo>
                  <a:lnTo>
                    <a:pt x="3733" y="7150"/>
                  </a:lnTo>
                  <a:lnTo>
                    <a:pt x="2451" y="8382"/>
                  </a:lnTo>
                  <a:lnTo>
                    <a:pt x="1206" y="9601"/>
                  </a:lnTo>
                  <a:lnTo>
                    <a:pt x="0" y="10833"/>
                  </a:lnTo>
                  <a:lnTo>
                    <a:pt x="698" y="11569"/>
                  </a:lnTo>
                  <a:lnTo>
                    <a:pt x="3149" y="9118"/>
                  </a:lnTo>
                  <a:lnTo>
                    <a:pt x="4432" y="7886"/>
                  </a:lnTo>
                  <a:close/>
                </a:path>
                <a:path w="12700" h="12065">
                  <a:moveTo>
                    <a:pt x="12661" y="355"/>
                  </a:moveTo>
                  <a:lnTo>
                    <a:pt x="12001" y="152"/>
                  </a:lnTo>
                  <a:lnTo>
                    <a:pt x="11557" y="0"/>
                  </a:lnTo>
                  <a:lnTo>
                    <a:pt x="8737" y="2476"/>
                  </a:lnTo>
                  <a:lnTo>
                    <a:pt x="7378" y="3733"/>
                  </a:lnTo>
                  <a:lnTo>
                    <a:pt x="8420" y="4140"/>
                  </a:lnTo>
                  <a:lnTo>
                    <a:pt x="9804" y="2870"/>
                  </a:lnTo>
                  <a:lnTo>
                    <a:pt x="12661" y="355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2" name="object 474">
              <a:extLst>
                <a:ext uri="{FF2B5EF4-FFF2-40B4-BE49-F238E27FC236}">
                  <a16:creationId xmlns:a16="http://schemas.microsoft.com/office/drawing/2014/main" id="{28647965-9032-4580-BD0A-EA0020682321}"/>
                </a:ext>
              </a:extLst>
            </p:cNvPr>
            <p:cNvSpPr/>
            <p:nvPr/>
          </p:nvSpPr>
          <p:spPr>
            <a:xfrm>
              <a:off x="7934718" y="6170971"/>
              <a:ext cx="13335" cy="12065"/>
            </a:xfrm>
            <a:custGeom>
              <a:avLst/>
              <a:gdLst/>
              <a:ahLst/>
              <a:cxnLst/>
              <a:rect l="l" t="t" r="r" b="b"/>
              <a:pathLst>
                <a:path w="13334" h="12065">
                  <a:moveTo>
                    <a:pt x="4432" y="8267"/>
                  </a:moveTo>
                  <a:lnTo>
                    <a:pt x="4152" y="7988"/>
                  </a:lnTo>
                  <a:lnTo>
                    <a:pt x="3733" y="7531"/>
                  </a:lnTo>
                  <a:lnTo>
                    <a:pt x="2451" y="8750"/>
                  </a:lnTo>
                  <a:lnTo>
                    <a:pt x="1206" y="9982"/>
                  </a:lnTo>
                  <a:lnTo>
                    <a:pt x="0" y="11214"/>
                  </a:lnTo>
                  <a:lnTo>
                    <a:pt x="330" y="11569"/>
                  </a:lnTo>
                  <a:lnTo>
                    <a:pt x="469" y="11709"/>
                  </a:lnTo>
                  <a:lnTo>
                    <a:pt x="584" y="11836"/>
                  </a:lnTo>
                  <a:lnTo>
                    <a:pt x="685" y="11976"/>
                  </a:lnTo>
                  <a:lnTo>
                    <a:pt x="1905" y="10744"/>
                  </a:lnTo>
                  <a:lnTo>
                    <a:pt x="3149" y="9499"/>
                  </a:lnTo>
                  <a:lnTo>
                    <a:pt x="4432" y="8267"/>
                  </a:lnTo>
                  <a:close/>
                </a:path>
                <a:path w="13334" h="12065">
                  <a:moveTo>
                    <a:pt x="13144" y="317"/>
                  </a:moveTo>
                  <a:lnTo>
                    <a:pt x="12750" y="228"/>
                  </a:lnTo>
                  <a:lnTo>
                    <a:pt x="12369" y="127"/>
                  </a:lnTo>
                  <a:lnTo>
                    <a:pt x="11976" y="0"/>
                  </a:lnTo>
                  <a:lnTo>
                    <a:pt x="10528" y="1257"/>
                  </a:lnTo>
                  <a:lnTo>
                    <a:pt x="9118" y="2514"/>
                  </a:lnTo>
                  <a:lnTo>
                    <a:pt x="7721" y="3784"/>
                  </a:lnTo>
                  <a:lnTo>
                    <a:pt x="8775" y="4191"/>
                  </a:lnTo>
                  <a:lnTo>
                    <a:pt x="10198" y="2895"/>
                  </a:lnTo>
                  <a:lnTo>
                    <a:pt x="11645" y="1600"/>
                  </a:lnTo>
                  <a:lnTo>
                    <a:pt x="13144" y="317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3" name="object 475">
              <a:extLst>
                <a:ext uri="{FF2B5EF4-FFF2-40B4-BE49-F238E27FC236}">
                  <a16:creationId xmlns:a16="http://schemas.microsoft.com/office/drawing/2014/main" id="{9B924CF4-2588-4AC9-AC6E-9EA35AFB900F}"/>
                </a:ext>
              </a:extLst>
            </p:cNvPr>
            <p:cNvSpPr/>
            <p:nvPr/>
          </p:nvSpPr>
          <p:spPr>
            <a:xfrm>
              <a:off x="7935404" y="6171276"/>
              <a:ext cx="13970" cy="12700"/>
            </a:xfrm>
            <a:custGeom>
              <a:avLst/>
              <a:gdLst/>
              <a:ahLst/>
              <a:cxnLst/>
              <a:rect l="l" t="t" r="r" b="b"/>
              <a:pathLst>
                <a:path w="13970" h="12700">
                  <a:moveTo>
                    <a:pt x="4546" y="8597"/>
                  </a:moveTo>
                  <a:lnTo>
                    <a:pt x="4292" y="8445"/>
                  </a:lnTo>
                  <a:lnTo>
                    <a:pt x="4025" y="8229"/>
                  </a:lnTo>
                  <a:lnTo>
                    <a:pt x="3746" y="7962"/>
                  </a:lnTo>
                  <a:lnTo>
                    <a:pt x="2463" y="9194"/>
                  </a:lnTo>
                  <a:lnTo>
                    <a:pt x="0" y="11671"/>
                  </a:lnTo>
                  <a:lnTo>
                    <a:pt x="254" y="11988"/>
                  </a:lnTo>
                  <a:lnTo>
                    <a:pt x="444" y="12280"/>
                  </a:lnTo>
                  <a:lnTo>
                    <a:pt x="558" y="12560"/>
                  </a:lnTo>
                  <a:lnTo>
                    <a:pt x="1854" y="11239"/>
                  </a:lnTo>
                  <a:lnTo>
                    <a:pt x="3187" y="9918"/>
                  </a:lnTo>
                  <a:lnTo>
                    <a:pt x="4546" y="8597"/>
                  </a:lnTo>
                  <a:close/>
                </a:path>
                <a:path w="13970" h="12700">
                  <a:moveTo>
                    <a:pt x="13779" y="177"/>
                  </a:moveTo>
                  <a:lnTo>
                    <a:pt x="13335" y="165"/>
                  </a:lnTo>
                  <a:lnTo>
                    <a:pt x="12890" y="101"/>
                  </a:lnTo>
                  <a:lnTo>
                    <a:pt x="12446" y="0"/>
                  </a:lnTo>
                  <a:lnTo>
                    <a:pt x="10960" y="1282"/>
                  </a:lnTo>
                  <a:lnTo>
                    <a:pt x="9499" y="2578"/>
                  </a:lnTo>
                  <a:lnTo>
                    <a:pt x="8077" y="3873"/>
                  </a:lnTo>
                  <a:lnTo>
                    <a:pt x="9029" y="4254"/>
                  </a:lnTo>
                  <a:lnTo>
                    <a:pt x="10642" y="2908"/>
                  </a:lnTo>
                  <a:lnTo>
                    <a:pt x="12192" y="1536"/>
                  </a:lnTo>
                  <a:lnTo>
                    <a:pt x="13779" y="177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4" name="object 476">
              <a:extLst>
                <a:ext uri="{FF2B5EF4-FFF2-40B4-BE49-F238E27FC236}">
                  <a16:creationId xmlns:a16="http://schemas.microsoft.com/office/drawing/2014/main" id="{9D5CE27F-F101-4F9E-A3A2-223485CE2583}"/>
                </a:ext>
              </a:extLst>
            </p:cNvPr>
            <p:cNvSpPr/>
            <p:nvPr/>
          </p:nvSpPr>
          <p:spPr>
            <a:xfrm>
              <a:off x="7935963" y="6171124"/>
              <a:ext cx="15240" cy="14604"/>
            </a:xfrm>
            <a:custGeom>
              <a:avLst/>
              <a:gdLst/>
              <a:ahLst/>
              <a:cxnLst/>
              <a:rect l="l" t="t" r="r" b="b"/>
              <a:pathLst>
                <a:path w="15240" h="14604">
                  <a:moveTo>
                    <a:pt x="5156" y="9029"/>
                  </a:moveTo>
                  <a:lnTo>
                    <a:pt x="4762" y="9067"/>
                  </a:lnTo>
                  <a:lnTo>
                    <a:pt x="4381" y="8978"/>
                  </a:lnTo>
                  <a:lnTo>
                    <a:pt x="3987" y="8750"/>
                  </a:lnTo>
                  <a:lnTo>
                    <a:pt x="2616" y="10058"/>
                  </a:lnTo>
                  <a:lnTo>
                    <a:pt x="1295" y="11379"/>
                  </a:lnTo>
                  <a:lnTo>
                    <a:pt x="0" y="12712"/>
                  </a:lnTo>
                  <a:lnTo>
                    <a:pt x="215" y="13208"/>
                  </a:lnTo>
                  <a:lnTo>
                    <a:pt x="215" y="13677"/>
                  </a:lnTo>
                  <a:lnTo>
                    <a:pt x="12" y="14160"/>
                  </a:lnTo>
                  <a:lnTo>
                    <a:pt x="1663" y="12446"/>
                  </a:lnTo>
                  <a:lnTo>
                    <a:pt x="3378" y="10731"/>
                  </a:lnTo>
                  <a:lnTo>
                    <a:pt x="5156" y="9029"/>
                  </a:lnTo>
                  <a:close/>
                </a:path>
                <a:path w="15240" h="14604">
                  <a:moveTo>
                    <a:pt x="15151" y="0"/>
                  </a:moveTo>
                  <a:lnTo>
                    <a:pt x="14516" y="266"/>
                  </a:lnTo>
                  <a:lnTo>
                    <a:pt x="13868" y="355"/>
                  </a:lnTo>
                  <a:lnTo>
                    <a:pt x="13220" y="342"/>
                  </a:lnTo>
                  <a:lnTo>
                    <a:pt x="11645" y="1701"/>
                  </a:lnTo>
                  <a:lnTo>
                    <a:pt x="10096" y="3073"/>
                  </a:lnTo>
                  <a:lnTo>
                    <a:pt x="8572" y="4457"/>
                  </a:lnTo>
                  <a:lnTo>
                    <a:pt x="8928" y="4584"/>
                  </a:lnTo>
                  <a:lnTo>
                    <a:pt x="9626" y="4864"/>
                  </a:lnTo>
                  <a:lnTo>
                    <a:pt x="11417" y="3225"/>
                  </a:lnTo>
                  <a:lnTo>
                    <a:pt x="13258" y="1612"/>
                  </a:lnTo>
                  <a:lnTo>
                    <a:pt x="15151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5" name="object 477">
              <a:extLst>
                <a:ext uri="{FF2B5EF4-FFF2-40B4-BE49-F238E27FC236}">
                  <a16:creationId xmlns:a16="http://schemas.microsoft.com/office/drawing/2014/main" id="{E70C9A01-825F-4FE1-8CFD-1E5882B26CEE}"/>
                </a:ext>
              </a:extLst>
            </p:cNvPr>
            <p:cNvSpPr/>
            <p:nvPr/>
          </p:nvSpPr>
          <p:spPr>
            <a:xfrm>
              <a:off x="7934807" y="6170374"/>
              <a:ext cx="18415" cy="17145"/>
            </a:xfrm>
            <a:custGeom>
              <a:avLst/>
              <a:gdLst/>
              <a:ahLst/>
              <a:cxnLst/>
              <a:rect l="l" t="t" r="r" b="b"/>
              <a:pathLst>
                <a:path w="18415" h="17145">
                  <a:moveTo>
                    <a:pt x="8674" y="8953"/>
                  </a:moveTo>
                  <a:lnTo>
                    <a:pt x="8343" y="8597"/>
                  </a:lnTo>
                  <a:lnTo>
                    <a:pt x="7581" y="9321"/>
                  </a:lnTo>
                  <a:lnTo>
                    <a:pt x="6934" y="9728"/>
                  </a:lnTo>
                  <a:lnTo>
                    <a:pt x="990" y="15379"/>
                  </a:lnTo>
                  <a:lnTo>
                    <a:pt x="596" y="15875"/>
                  </a:lnTo>
                  <a:lnTo>
                    <a:pt x="0" y="16433"/>
                  </a:lnTo>
                  <a:lnTo>
                    <a:pt x="571" y="17043"/>
                  </a:lnTo>
                  <a:lnTo>
                    <a:pt x="3124" y="14325"/>
                  </a:lnTo>
                  <a:lnTo>
                    <a:pt x="5829" y="11620"/>
                  </a:lnTo>
                  <a:lnTo>
                    <a:pt x="8674" y="8953"/>
                  </a:lnTo>
                  <a:close/>
                </a:path>
                <a:path w="18415" h="17145">
                  <a:moveTo>
                    <a:pt x="18034" y="571"/>
                  </a:moveTo>
                  <a:lnTo>
                    <a:pt x="17500" y="0"/>
                  </a:lnTo>
                  <a:lnTo>
                    <a:pt x="17106" y="330"/>
                  </a:lnTo>
                  <a:lnTo>
                    <a:pt x="16700" y="571"/>
                  </a:lnTo>
                  <a:lnTo>
                    <a:pt x="16294" y="736"/>
                  </a:lnTo>
                  <a:lnTo>
                    <a:pt x="14401" y="2349"/>
                  </a:lnTo>
                  <a:lnTo>
                    <a:pt x="12573" y="3975"/>
                  </a:lnTo>
                  <a:lnTo>
                    <a:pt x="10782" y="5600"/>
                  </a:lnTo>
                  <a:lnTo>
                    <a:pt x="11493" y="5880"/>
                  </a:lnTo>
                  <a:lnTo>
                    <a:pt x="11849" y="5994"/>
                  </a:lnTo>
                  <a:lnTo>
                    <a:pt x="13855" y="4165"/>
                  </a:lnTo>
                  <a:lnTo>
                    <a:pt x="15913" y="2362"/>
                  </a:lnTo>
                  <a:lnTo>
                    <a:pt x="18034" y="571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6" name="object 478">
              <a:extLst>
                <a:ext uri="{FF2B5EF4-FFF2-40B4-BE49-F238E27FC236}">
                  <a16:creationId xmlns:a16="http://schemas.microsoft.com/office/drawing/2014/main" id="{C4A0278F-B20F-4AAE-A48F-D6110B2ADEBC}"/>
                </a:ext>
              </a:extLst>
            </p:cNvPr>
            <p:cNvSpPr/>
            <p:nvPr/>
          </p:nvSpPr>
          <p:spPr>
            <a:xfrm>
              <a:off x="7935366" y="6170946"/>
              <a:ext cx="17780" cy="17145"/>
            </a:xfrm>
            <a:custGeom>
              <a:avLst/>
              <a:gdLst/>
              <a:ahLst/>
              <a:cxnLst/>
              <a:rect l="l" t="t" r="r" b="b"/>
              <a:pathLst>
                <a:path w="17779" h="17145">
                  <a:moveTo>
                    <a:pt x="8496" y="8801"/>
                  </a:moveTo>
                  <a:lnTo>
                    <a:pt x="8102" y="8382"/>
                  </a:lnTo>
                  <a:lnTo>
                    <a:pt x="5270" y="11049"/>
                  </a:lnTo>
                  <a:lnTo>
                    <a:pt x="2552" y="13754"/>
                  </a:lnTo>
                  <a:lnTo>
                    <a:pt x="0" y="16471"/>
                  </a:lnTo>
                  <a:lnTo>
                    <a:pt x="152" y="16637"/>
                  </a:lnTo>
                  <a:lnTo>
                    <a:pt x="8496" y="8801"/>
                  </a:lnTo>
                  <a:close/>
                </a:path>
                <a:path w="17779" h="17145">
                  <a:moveTo>
                    <a:pt x="17678" y="215"/>
                  </a:moveTo>
                  <a:lnTo>
                    <a:pt x="17487" y="0"/>
                  </a:lnTo>
                  <a:lnTo>
                    <a:pt x="15367" y="1803"/>
                  </a:lnTo>
                  <a:lnTo>
                    <a:pt x="13296" y="3606"/>
                  </a:lnTo>
                  <a:lnTo>
                    <a:pt x="11290" y="5435"/>
                  </a:lnTo>
                  <a:lnTo>
                    <a:pt x="11709" y="5562"/>
                  </a:lnTo>
                  <a:lnTo>
                    <a:pt x="11912" y="5613"/>
                  </a:lnTo>
                  <a:lnTo>
                    <a:pt x="17678" y="215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7" name="object 479">
              <a:extLst>
                <a:ext uri="{FF2B5EF4-FFF2-40B4-BE49-F238E27FC236}">
                  <a16:creationId xmlns:a16="http://schemas.microsoft.com/office/drawing/2014/main" id="{580A2F52-9156-4FC5-9D25-D0001C10BDAC}"/>
                </a:ext>
              </a:extLst>
            </p:cNvPr>
            <p:cNvSpPr/>
            <p:nvPr/>
          </p:nvSpPr>
          <p:spPr>
            <a:xfrm>
              <a:off x="7937800" y="6142062"/>
              <a:ext cx="16510" cy="12065"/>
            </a:xfrm>
            <a:custGeom>
              <a:avLst/>
              <a:gdLst/>
              <a:ahLst/>
              <a:cxnLst/>
              <a:rect l="l" t="t" r="r" b="b"/>
              <a:pathLst>
                <a:path w="16509" h="12065">
                  <a:moveTo>
                    <a:pt x="15671" y="0"/>
                  </a:moveTo>
                  <a:lnTo>
                    <a:pt x="0" y="11023"/>
                  </a:lnTo>
                  <a:lnTo>
                    <a:pt x="254" y="11645"/>
                  </a:lnTo>
                  <a:lnTo>
                    <a:pt x="5118" y="7861"/>
                  </a:lnTo>
                  <a:lnTo>
                    <a:pt x="10401" y="4038"/>
                  </a:lnTo>
                  <a:lnTo>
                    <a:pt x="16014" y="292"/>
                  </a:lnTo>
                  <a:lnTo>
                    <a:pt x="15671" y="0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8" name="object 480">
              <a:extLst>
                <a:ext uri="{FF2B5EF4-FFF2-40B4-BE49-F238E27FC236}">
                  <a16:creationId xmlns:a16="http://schemas.microsoft.com/office/drawing/2014/main" id="{4F12B0D9-0938-48FA-B5CA-8B5D0C178664}"/>
                </a:ext>
              </a:extLst>
            </p:cNvPr>
            <p:cNvSpPr/>
            <p:nvPr/>
          </p:nvSpPr>
          <p:spPr>
            <a:xfrm>
              <a:off x="7938058" y="6142353"/>
              <a:ext cx="16510" cy="12700"/>
            </a:xfrm>
            <a:custGeom>
              <a:avLst/>
              <a:gdLst/>
              <a:ahLst/>
              <a:cxnLst/>
              <a:rect l="l" t="t" r="r" b="b"/>
              <a:pathLst>
                <a:path w="16509" h="12700">
                  <a:moveTo>
                    <a:pt x="15760" y="0"/>
                  </a:moveTo>
                  <a:lnTo>
                    <a:pt x="10134" y="3746"/>
                  </a:lnTo>
                  <a:lnTo>
                    <a:pt x="4864" y="7569"/>
                  </a:lnTo>
                  <a:lnTo>
                    <a:pt x="0" y="11366"/>
                  </a:lnTo>
                  <a:lnTo>
                    <a:pt x="368" y="12319"/>
                  </a:lnTo>
                  <a:lnTo>
                    <a:pt x="2070" y="10972"/>
                  </a:lnTo>
                  <a:lnTo>
                    <a:pt x="3835" y="9626"/>
                  </a:lnTo>
                  <a:lnTo>
                    <a:pt x="5638" y="8293"/>
                  </a:lnTo>
                  <a:lnTo>
                    <a:pt x="5994" y="7899"/>
                  </a:lnTo>
                  <a:lnTo>
                    <a:pt x="6197" y="7721"/>
                  </a:lnTo>
                  <a:lnTo>
                    <a:pt x="10515" y="4749"/>
                  </a:lnTo>
                  <a:lnTo>
                    <a:pt x="10833" y="4483"/>
                  </a:lnTo>
                  <a:lnTo>
                    <a:pt x="11023" y="4394"/>
                  </a:lnTo>
                  <a:lnTo>
                    <a:pt x="14643" y="1879"/>
                  </a:lnTo>
                  <a:lnTo>
                    <a:pt x="16509" y="622"/>
                  </a:lnTo>
                  <a:lnTo>
                    <a:pt x="15760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89" name="object 481">
              <a:extLst>
                <a:ext uri="{FF2B5EF4-FFF2-40B4-BE49-F238E27FC236}">
                  <a16:creationId xmlns:a16="http://schemas.microsoft.com/office/drawing/2014/main" id="{E856FAE5-428A-458A-A268-1283486B119A}"/>
                </a:ext>
              </a:extLst>
            </p:cNvPr>
            <p:cNvSpPr/>
            <p:nvPr/>
          </p:nvSpPr>
          <p:spPr>
            <a:xfrm>
              <a:off x="7938427" y="6142981"/>
              <a:ext cx="17145" cy="12700"/>
            </a:xfrm>
            <a:custGeom>
              <a:avLst/>
              <a:gdLst/>
              <a:ahLst/>
              <a:cxnLst/>
              <a:rect l="l" t="t" r="r" b="b"/>
              <a:pathLst>
                <a:path w="17145" h="12700">
                  <a:moveTo>
                    <a:pt x="5270" y="7670"/>
                  </a:moveTo>
                  <a:lnTo>
                    <a:pt x="3467" y="9017"/>
                  </a:lnTo>
                  <a:lnTo>
                    <a:pt x="1701" y="10350"/>
                  </a:lnTo>
                  <a:lnTo>
                    <a:pt x="0" y="11696"/>
                  </a:lnTo>
                  <a:lnTo>
                    <a:pt x="368" y="12649"/>
                  </a:lnTo>
                  <a:lnTo>
                    <a:pt x="1511" y="11747"/>
                  </a:lnTo>
                  <a:lnTo>
                    <a:pt x="3848" y="9956"/>
                  </a:lnTo>
                  <a:lnTo>
                    <a:pt x="4191" y="9131"/>
                  </a:lnTo>
                  <a:lnTo>
                    <a:pt x="4660" y="8343"/>
                  </a:lnTo>
                  <a:lnTo>
                    <a:pt x="5270" y="7670"/>
                  </a:lnTo>
                  <a:close/>
                </a:path>
                <a:path w="17145" h="12700">
                  <a:moveTo>
                    <a:pt x="10693" y="4914"/>
                  </a:moveTo>
                  <a:lnTo>
                    <a:pt x="10147" y="4140"/>
                  </a:lnTo>
                  <a:lnTo>
                    <a:pt x="8699" y="5156"/>
                  </a:lnTo>
                  <a:lnTo>
                    <a:pt x="5892" y="7213"/>
                  </a:lnTo>
                  <a:lnTo>
                    <a:pt x="6451" y="8001"/>
                  </a:lnTo>
                  <a:lnTo>
                    <a:pt x="7835" y="6972"/>
                  </a:lnTo>
                  <a:lnTo>
                    <a:pt x="10693" y="4914"/>
                  </a:lnTo>
                  <a:close/>
                </a:path>
                <a:path w="17145" h="12700">
                  <a:moveTo>
                    <a:pt x="16878" y="635"/>
                  </a:moveTo>
                  <a:lnTo>
                    <a:pt x="16129" y="0"/>
                  </a:lnTo>
                  <a:lnTo>
                    <a:pt x="14262" y="1257"/>
                  </a:lnTo>
                  <a:lnTo>
                    <a:pt x="12433" y="2514"/>
                  </a:lnTo>
                  <a:lnTo>
                    <a:pt x="10642" y="3771"/>
                  </a:lnTo>
                  <a:lnTo>
                    <a:pt x="11430" y="3378"/>
                  </a:lnTo>
                  <a:lnTo>
                    <a:pt x="12306" y="3187"/>
                  </a:lnTo>
                  <a:lnTo>
                    <a:pt x="13233" y="3124"/>
                  </a:lnTo>
                  <a:lnTo>
                    <a:pt x="15646" y="1460"/>
                  </a:lnTo>
                  <a:lnTo>
                    <a:pt x="16878" y="635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0" name="object 482">
              <a:extLst>
                <a:ext uri="{FF2B5EF4-FFF2-40B4-BE49-F238E27FC236}">
                  <a16:creationId xmlns:a16="http://schemas.microsoft.com/office/drawing/2014/main" id="{D07122B2-3A44-4CF1-93E7-69C33D94915F}"/>
                </a:ext>
              </a:extLst>
            </p:cNvPr>
            <p:cNvSpPr/>
            <p:nvPr/>
          </p:nvSpPr>
          <p:spPr>
            <a:xfrm>
              <a:off x="7938796" y="6143616"/>
              <a:ext cx="18415" cy="13970"/>
            </a:xfrm>
            <a:custGeom>
              <a:avLst/>
              <a:gdLst/>
              <a:ahLst/>
              <a:cxnLst/>
              <a:rect l="l" t="t" r="r" b="b"/>
              <a:pathLst>
                <a:path w="18415" h="13970">
                  <a:moveTo>
                    <a:pt x="3479" y="9321"/>
                  </a:moveTo>
                  <a:lnTo>
                    <a:pt x="2298" y="10210"/>
                  </a:lnTo>
                  <a:lnTo>
                    <a:pt x="1130" y="11112"/>
                  </a:lnTo>
                  <a:lnTo>
                    <a:pt x="0" y="12014"/>
                  </a:lnTo>
                  <a:lnTo>
                    <a:pt x="368" y="12966"/>
                  </a:lnTo>
                  <a:lnTo>
                    <a:pt x="749" y="13919"/>
                  </a:lnTo>
                  <a:lnTo>
                    <a:pt x="2019" y="12903"/>
                  </a:lnTo>
                  <a:lnTo>
                    <a:pt x="2679" y="12395"/>
                  </a:lnTo>
                  <a:lnTo>
                    <a:pt x="2743" y="11899"/>
                  </a:lnTo>
                  <a:lnTo>
                    <a:pt x="2832" y="11417"/>
                  </a:lnTo>
                  <a:lnTo>
                    <a:pt x="2946" y="10947"/>
                  </a:lnTo>
                  <a:lnTo>
                    <a:pt x="1219" y="12293"/>
                  </a:lnTo>
                  <a:lnTo>
                    <a:pt x="2070" y="11620"/>
                  </a:lnTo>
                  <a:lnTo>
                    <a:pt x="2946" y="10947"/>
                  </a:lnTo>
                  <a:lnTo>
                    <a:pt x="3073" y="10388"/>
                  </a:lnTo>
                  <a:lnTo>
                    <a:pt x="3251" y="9842"/>
                  </a:lnTo>
                  <a:lnTo>
                    <a:pt x="3479" y="9321"/>
                  </a:lnTo>
                  <a:close/>
                </a:path>
                <a:path w="18415" h="13970">
                  <a:moveTo>
                    <a:pt x="11417" y="5842"/>
                  </a:moveTo>
                  <a:lnTo>
                    <a:pt x="10871" y="5067"/>
                  </a:lnTo>
                  <a:lnTo>
                    <a:pt x="10325" y="4279"/>
                  </a:lnTo>
                  <a:lnTo>
                    <a:pt x="8877" y="5308"/>
                  </a:lnTo>
                  <a:lnTo>
                    <a:pt x="6070" y="7366"/>
                  </a:lnTo>
                  <a:lnTo>
                    <a:pt x="6629" y="8153"/>
                  </a:lnTo>
                  <a:lnTo>
                    <a:pt x="7188" y="8940"/>
                  </a:lnTo>
                  <a:lnTo>
                    <a:pt x="8572" y="7899"/>
                  </a:lnTo>
                  <a:lnTo>
                    <a:pt x="9982" y="6870"/>
                  </a:lnTo>
                  <a:lnTo>
                    <a:pt x="11417" y="5842"/>
                  </a:lnTo>
                  <a:close/>
                </a:path>
                <a:path w="18415" h="13970">
                  <a:moveTo>
                    <a:pt x="18021" y="1244"/>
                  </a:moveTo>
                  <a:lnTo>
                    <a:pt x="17272" y="622"/>
                  </a:lnTo>
                  <a:lnTo>
                    <a:pt x="16510" y="0"/>
                  </a:lnTo>
                  <a:lnTo>
                    <a:pt x="14058" y="1651"/>
                  </a:lnTo>
                  <a:lnTo>
                    <a:pt x="12865" y="2489"/>
                  </a:lnTo>
                  <a:lnTo>
                    <a:pt x="13398" y="2463"/>
                  </a:lnTo>
                  <a:lnTo>
                    <a:pt x="13944" y="2463"/>
                  </a:lnTo>
                  <a:lnTo>
                    <a:pt x="14490" y="2514"/>
                  </a:lnTo>
                  <a:lnTo>
                    <a:pt x="14960" y="2552"/>
                  </a:lnTo>
                  <a:lnTo>
                    <a:pt x="15430" y="2616"/>
                  </a:lnTo>
                  <a:lnTo>
                    <a:pt x="15875" y="2705"/>
                  </a:lnTo>
                  <a:lnTo>
                    <a:pt x="16586" y="2222"/>
                  </a:lnTo>
                  <a:lnTo>
                    <a:pt x="17297" y="1727"/>
                  </a:lnTo>
                  <a:lnTo>
                    <a:pt x="18021" y="1244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1" name="object 483">
              <a:extLst>
                <a:ext uri="{FF2B5EF4-FFF2-40B4-BE49-F238E27FC236}">
                  <a16:creationId xmlns:a16="http://schemas.microsoft.com/office/drawing/2014/main" id="{801FB8E3-26F4-4B84-AA74-61EB8FC6B722}"/>
                </a:ext>
              </a:extLst>
            </p:cNvPr>
            <p:cNvSpPr/>
            <p:nvPr/>
          </p:nvSpPr>
          <p:spPr>
            <a:xfrm>
              <a:off x="7939544" y="6144873"/>
              <a:ext cx="19050" cy="14604"/>
            </a:xfrm>
            <a:custGeom>
              <a:avLst/>
              <a:gdLst/>
              <a:ahLst/>
              <a:cxnLst/>
              <a:rect l="l" t="t" r="r" b="b"/>
              <a:pathLst>
                <a:path w="19050" h="14604">
                  <a:moveTo>
                    <a:pt x="1816" y="12484"/>
                  </a:moveTo>
                  <a:lnTo>
                    <a:pt x="1346" y="12865"/>
                  </a:lnTo>
                  <a:lnTo>
                    <a:pt x="863" y="13246"/>
                  </a:lnTo>
                  <a:lnTo>
                    <a:pt x="381" y="13639"/>
                  </a:lnTo>
                  <a:lnTo>
                    <a:pt x="660" y="14351"/>
                  </a:lnTo>
                  <a:lnTo>
                    <a:pt x="1384" y="14084"/>
                  </a:lnTo>
                  <a:lnTo>
                    <a:pt x="1524" y="13970"/>
                  </a:lnTo>
                  <a:lnTo>
                    <a:pt x="1816" y="13754"/>
                  </a:lnTo>
                  <a:lnTo>
                    <a:pt x="1803" y="13335"/>
                  </a:lnTo>
                  <a:lnTo>
                    <a:pt x="1803" y="12903"/>
                  </a:lnTo>
                  <a:lnTo>
                    <a:pt x="1816" y="12484"/>
                  </a:lnTo>
                  <a:close/>
                </a:path>
                <a:path w="19050" h="14604">
                  <a:moveTo>
                    <a:pt x="1930" y="11137"/>
                  </a:moveTo>
                  <a:lnTo>
                    <a:pt x="1270" y="11645"/>
                  </a:lnTo>
                  <a:lnTo>
                    <a:pt x="0" y="12661"/>
                  </a:lnTo>
                  <a:lnTo>
                    <a:pt x="368" y="13627"/>
                  </a:lnTo>
                  <a:lnTo>
                    <a:pt x="850" y="13233"/>
                  </a:lnTo>
                  <a:lnTo>
                    <a:pt x="1816" y="12471"/>
                  </a:lnTo>
                  <a:lnTo>
                    <a:pt x="1828" y="12026"/>
                  </a:lnTo>
                  <a:lnTo>
                    <a:pt x="1866" y="11582"/>
                  </a:lnTo>
                  <a:lnTo>
                    <a:pt x="1930" y="11137"/>
                  </a:lnTo>
                  <a:close/>
                </a:path>
                <a:path w="19050" h="14604">
                  <a:moveTo>
                    <a:pt x="11772" y="6146"/>
                  </a:moveTo>
                  <a:lnTo>
                    <a:pt x="11226" y="5372"/>
                  </a:lnTo>
                  <a:lnTo>
                    <a:pt x="10668" y="4584"/>
                  </a:lnTo>
                  <a:lnTo>
                    <a:pt x="9232" y="5613"/>
                  </a:lnTo>
                  <a:lnTo>
                    <a:pt x="7823" y="6642"/>
                  </a:lnTo>
                  <a:lnTo>
                    <a:pt x="6438" y="7683"/>
                  </a:lnTo>
                  <a:lnTo>
                    <a:pt x="6997" y="8470"/>
                  </a:lnTo>
                  <a:lnTo>
                    <a:pt x="7556" y="9271"/>
                  </a:lnTo>
                  <a:lnTo>
                    <a:pt x="10337" y="7188"/>
                  </a:lnTo>
                  <a:lnTo>
                    <a:pt x="11772" y="6146"/>
                  </a:lnTo>
                  <a:close/>
                </a:path>
                <a:path w="19050" h="14604">
                  <a:moveTo>
                    <a:pt x="18783" y="1244"/>
                  </a:moveTo>
                  <a:lnTo>
                    <a:pt x="18021" y="622"/>
                  </a:lnTo>
                  <a:lnTo>
                    <a:pt x="17272" y="0"/>
                  </a:lnTo>
                  <a:lnTo>
                    <a:pt x="16548" y="482"/>
                  </a:lnTo>
                  <a:lnTo>
                    <a:pt x="15836" y="977"/>
                  </a:lnTo>
                  <a:lnTo>
                    <a:pt x="15125" y="1460"/>
                  </a:lnTo>
                  <a:lnTo>
                    <a:pt x="15963" y="1638"/>
                  </a:lnTo>
                  <a:lnTo>
                    <a:pt x="16370" y="1752"/>
                  </a:lnTo>
                  <a:lnTo>
                    <a:pt x="16764" y="1854"/>
                  </a:lnTo>
                  <a:lnTo>
                    <a:pt x="17513" y="2108"/>
                  </a:lnTo>
                  <a:lnTo>
                    <a:pt x="17932" y="1816"/>
                  </a:lnTo>
                  <a:lnTo>
                    <a:pt x="18364" y="1536"/>
                  </a:lnTo>
                  <a:lnTo>
                    <a:pt x="18783" y="1244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2" name="object 484">
              <a:extLst>
                <a:ext uri="{FF2B5EF4-FFF2-40B4-BE49-F238E27FC236}">
                  <a16:creationId xmlns:a16="http://schemas.microsoft.com/office/drawing/2014/main" id="{36B3AB50-8701-4AC6-BCA0-61FBBA77C71E}"/>
                </a:ext>
              </a:extLst>
            </p:cNvPr>
            <p:cNvSpPr/>
            <p:nvPr/>
          </p:nvSpPr>
          <p:spPr>
            <a:xfrm>
              <a:off x="7940916" y="6146117"/>
              <a:ext cx="17780" cy="13335"/>
            </a:xfrm>
            <a:custGeom>
              <a:avLst/>
              <a:gdLst/>
              <a:ahLst/>
              <a:cxnLst/>
              <a:rect l="l" t="t" r="r" b="b"/>
              <a:pathLst>
                <a:path w="17779" h="13334">
                  <a:moveTo>
                    <a:pt x="431" y="12509"/>
                  </a:moveTo>
                  <a:lnTo>
                    <a:pt x="292" y="12611"/>
                  </a:lnTo>
                  <a:lnTo>
                    <a:pt x="139" y="12725"/>
                  </a:lnTo>
                  <a:lnTo>
                    <a:pt x="0" y="12852"/>
                  </a:lnTo>
                  <a:lnTo>
                    <a:pt x="431" y="12687"/>
                  </a:lnTo>
                  <a:lnTo>
                    <a:pt x="431" y="12509"/>
                  </a:lnTo>
                  <a:close/>
                </a:path>
                <a:path w="17779" h="13334">
                  <a:moveTo>
                    <a:pt x="10947" y="5689"/>
                  </a:moveTo>
                  <a:lnTo>
                    <a:pt x="10401" y="4902"/>
                  </a:lnTo>
                  <a:lnTo>
                    <a:pt x="8966" y="5930"/>
                  </a:lnTo>
                  <a:lnTo>
                    <a:pt x="6184" y="8026"/>
                  </a:lnTo>
                  <a:lnTo>
                    <a:pt x="6743" y="8813"/>
                  </a:lnTo>
                  <a:lnTo>
                    <a:pt x="8115" y="7772"/>
                  </a:lnTo>
                  <a:lnTo>
                    <a:pt x="10947" y="5689"/>
                  </a:lnTo>
                  <a:close/>
                </a:path>
                <a:path w="17779" h="13334">
                  <a:moveTo>
                    <a:pt x="17640" y="190"/>
                  </a:moveTo>
                  <a:lnTo>
                    <a:pt x="17411" y="0"/>
                  </a:lnTo>
                  <a:lnTo>
                    <a:pt x="16979" y="279"/>
                  </a:lnTo>
                  <a:lnTo>
                    <a:pt x="16560" y="571"/>
                  </a:lnTo>
                  <a:lnTo>
                    <a:pt x="16141" y="850"/>
                  </a:lnTo>
                  <a:lnTo>
                    <a:pt x="16383" y="952"/>
                  </a:lnTo>
                  <a:lnTo>
                    <a:pt x="16624" y="1041"/>
                  </a:lnTo>
                  <a:lnTo>
                    <a:pt x="16852" y="1130"/>
                  </a:lnTo>
                  <a:lnTo>
                    <a:pt x="17640" y="19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3" name="object 485">
              <a:extLst>
                <a:ext uri="{FF2B5EF4-FFF2-40B4-BE49-F238E27FC236}">
                  <a16:creationId xmlns:a16="http://schemas.microsoft.com/office/drawing/2014/main" id="{E9E06948-19C2-4B3E-80BF-4BB9431A9741}"/>
                </a:ext>
              </a:extLst>
            </p:cNvPr>
            <p:cNvSpPr/>
            <p:nvPr/>
          </p:nvSpPr>
          <p:spPr>
            <a:xfrm>
              <a:off x="7947667" y="6151801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216" y="0"/>
                  </a:moveTo>
                  <a:lnTo>
                    <a:pt x="2781" y="1041"/>
                  </a:lnTo>
                  <a:lnTo>
                    <a:pt x="0" y="3124"/>
                  </a:lnTo>
                  <a:lnTo>
                    <a:pt x="558" y="3924"/>
                  </a:lnTo>
                  <a:lnTo>
                    <a:pt x="1930" y="2870"/>
                  </a:lnTo>
                  <a:lnTo>
                    <a:pt x="4762" y="787"/>
                  </a:lnTo>
                  <a:lnTo>
                    <a:pt x="4216" y="0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4" name="object 486">
              <a:extLst>
                <a:ext uri="{FF2B5EF4-FFF2-40B4-BE49-F238E27FC236}">
                  <a16:creationId xmlns:a16="http://schemas.microsoft.com/office/drawing/2014/main" id="{E2F9D68C-B908-47C8-B464-FCA518A9A7E4}"/>
                </a:ext>
              </a:extLst>
            </p:cNvPr>
            <p:cNvSpPr/>
            <p:nvPr/>
          </p:nvSpPr>
          <p:spPr>
            <a:xfrm>
              <a:off x="7948226" y="6152597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203" y="0"/>
                  </a:moveTo>
                  <a:lnTo>
                    <a:pt x="1371" y="2082"/>
                  </a:lnTo>
                  <a:lnTo>
                    <a:pt x="0" y="3124"/>
                  </a:lnTo>
                  <a:lnTo>
                    <a:pt x="558" y="3924"/>
                  </a:lnTo>
                  <a:lnTo>
                    <a:pt x="1943" y="2870"/>
                  </a:lnTo>
                  <a:lnTo>
                    <a:pt x="4762" y="774"/>
                  </a:lnTo>
                  <a:lnTo>
                    <a:pt x="4203" y="0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5" name="object 487">
              <a:extLst>
                <a:ext uri="{FF2B5EF4-FFF2-40B4-BE49-F238E27FC236}">
                  <a16:creationId xmlns:a16="http://schemas.microsoft.com/office/drawing/2014/main" id="{81A9DDD4-9127-4785-9D75-0456BFF5E993}"/>
                </a:ext>
              </a:extLst>
            </p:cNvPr>
            <p:cNvSpPr/>
            <p:nvPr/>
          </p:nvSpPr>
          <p:spPr>
            <a:xfrm>
              <a:off x="7948790" y="6153383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203" y="0"/>
                  </a:moveTo>
                  <a:lnTo>
                    <a:pt x="2768" y="1041"/>
                  </a:lnTo>
                  <a:lnTo>
                    <a:pt x="1371" y="2082"/>
                  </a:lnTo>
                  <a:lnTo>
                    <a:pt x="0" y="3136"/>
                  </a:lnTo>
                  <a:lnTo>
                    <a:pt x="558" y="3936"/>
                  </a:lnTo>
                  <a:lnTo>
                    <a:pt x="1930" y="2882"/>
                  </a:lnTo>
                  <a:lnTo>
                    <a:pt x="3327" y="1828"/>
                  </a:lnTo>
                  <a:lnTo>
                    <a:pt x="4749" y="787"/>
                  </a:lnTo>
                  <a:lnTo>
                    <a:pt x="4203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6" name="object 488">
              <a:extLst>
                <a:ext uri="{FF2B5EF4-FFF2-40B4-BE49-F238E27FC236}">
                  <a16:creationId xmlns:a16="http://schemas.microsoft.com/office/drawing/2014/main" id="{81E1A4AD-6FD2-454D-AFAB-30A353584B6D}"/>
                </a:ext>
              </a:extLst>
            </p:cNvPr>
            <p:cNvSpPr/>
            <p:nvPr/>
          </p:nvSpPr>
          <p:spPr>
            <a:xfrm>
              <a:off x="7949352" y="6154165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90" y="0"/>
                  </a:moveTo>
                  <a:lnTo>
                    <a:pt x="1371" y="2095"/>
                  </a:lnTo>
                  <a:lnTo>
                    <a:pt x="0" y="3149"/>
                  </a:lnTo>
                  <a:lnTo>
                    <a:pt x="558" y="3949"/>
                  </a:lnTo>
                  <a:lnTo>
                    <a:pt x="1930" y="2895"/>
                  </a:lnTo>
                  <a:lnTo>
                    <a:pt x="4737" y="787"/>
                  </a:lnTo>
                  <a:lnTo>
                    <a:pt x="4190" y="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7" name="object 489">
              <a:extLst>
                <a:ext uri="{FF2B5EF4-FFF2-40B4-BE49-F238E27FC236}">
                  <a16:creationId xmlns:a16="http://schemas.microsoft.com/office/drawing/2014/main" id="{B2669F04-1CF2-4FB4-B0BB-2C90FA7D8F1F}"/>
                </a:ext>
              </a:extLst>
            </p:cNvPr>
            <p:cNvSpPr/>
            <p:nvPr/>
          </p:nvSpPr>
          <p:spPr>
            <a:xfrm>
              <a:off x="7949913" y="6154957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78" y="0"/>
                  </a:moveTo>
                  <a:lnTo>
                    <a:pt x="1371" y="2108"/>
                  </a:lnTo>
                  <a:lnTo>
                    <a:pt x="0" y="3162"/>
                  </a:lnTo>
                  <a:lnTo>
                    <a:pt x="558" y="3962"/>
                  </a:lnTo>
                  <a:lnTo>
                    <a:pt x="1930" y="2895"/>
                  </a:lnTo>
                  <a:lnTo>
                    <a:pt x="4737" y="787"/>
                  </a:lnTo>
                  <a:lnTo>
                    <a:pt x="4178" y="0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8" name="object 490">
              <a:extLst>
                <a:ext uri="{FF2B5EF4-FFF2-40B4-BE49-F238E27FC236}">
                  <a16:creationId xmlns:a16="http://schemas.microsoft.com/office/drawing/2014/main" id="{DF444D8C-249F-481A-A213-86ADDAFC2B1D}"/>
                </a:ext>
              </a:extLst>
            </p:cNvPr>
            <p:cNvSpPr/>
            <p:nvPr/>
          </p:nvSpPr>
          <p:spPr>
            <a:xfrm>
              <a:off x="7950478" y="6155743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78" y="0"/>
                  </a:moveTo>
                  <a:lnTo>
                    <a:pt x="2755" y="1054"/>
                  </a:lnTo>
                  <a:lnTo>
                    <a:pt x="1358" y="2108"/>
                  </a:lnTo>
                  <a:lnTo>
                    <a:pt x="0" y="3174"/>
                  </a:lnTo>
                  <a:lnTo>
                    <a:pt x="558" y="3975"/>
                  </a:lnTo>
                  <a:lnTo>
                    <a:pt x="3314" y="1854"/>
                  </a:lnTo>
                  <a:lnTo>
                    <a:pt x="4737" y="787"/>
                  </a:lnTo>
                  <a:lnTo>
                    <a:pt x="4178" y="0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99" name="object 491">
              <a:extLst>
                <a:ext uri="{FF2B5EF4-FFF2-40B4-BE49-F238E27FC236}">
                  <a16:creationId xmlns:a16="http://schemas.microsoft.com/office/drawing/2014/main" id="{7C4852C4-387B-4241-82B0-9DA7E42385EF}"/>
                </a:ext>
              </a:extLst>
            </p:cNvPr>
            <p:cNvSpPr/>
            <p:nvPr/>
          </p:nvSpPr>
          <p:spPr>
            <a:xfrm>
              <a:off x="7951039" y="6156530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65" y="0"/>
                  </a:moveTo>
                  <a:lnTo>
                    <a:pt x="1358" y="2120"/>
                  </a:lnTo>
                  <a:lnTo>
                    <a:pt x="0" y="3187"/>
                  </a:lnTo>
                  <a:lnTo>
                    <a:pt x="558" y="3987"/>
                  </a:lnTo>
                  <a:lnTo>
                    <a:pt x="1917" y="2920"/>
                  </a:lnTo>
                  <a:lnTo>
                    <a:pt x="3314" y="1854"/>
                  </a:lnTo>
                  <a:lnTo>
                    <a:pt x="4724" y="800"/>
                  </a:lnTo>
                  <a:lnTo>
                    <a:pt x="4165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0" name="object 492">
              <a:extLst>
                <a:ext uri="{FF2B5EF4-FFF2-40B4-BE49-F238E27FC236}">
                  <a16:creationId xmlns:a16="http://schemas.microsoft.com/office/drawing/2014/main" id="{B7B70B8F-B7E2-421E-9C94-F7250B497AD5}"/>
                </a:ext>
              </a:extLst>
            </p:cNvPr>
            <p:cNvSpPr/>
            <p:nvPr/>
          </p:nvSpPr>
          <p:spPr>
            <a:xfrm>
              <a:off x="7951602" y="6157332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65" y="0"/>
                  </a:moveTo>
                  <a:lnTo>
                    <a:pt x="2755" y="1054"/>
                  </a:lnTo>
                  <a:lnTo>
                    <a:pt x="1358" y="2120"/>
                  </a:lnTo>
                  <a:lnTo>
                    <a:pt x="0" y="3187"/>
                  </a:lnTo>
                  <a:lnTo>
                    <a:pt x="558" y="3987"/>
                  </a:lnTo>
                  <a:lnTo>
                    <a:pt x="3314" y="1854"/>
                  </a:lnTo>
                  <a:lnTo>
                    <a:pt x="4724" y="787"/>
                  </a:lnTo>
                  <a:lnTo>
                    <a:pt x="4165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1" name="object 493">
              <a:extLst>
                <a:ext uri="{FF2B5EF4-FFF2-40B4-BE49-F238E27FC236}">
                  <a16:creationId xmlns:a16="http://schemas.microsoft.com/office/drawing/2014/main" id="{D29F3EA2-54F0-472D-B1F0-DBF983412E42}"/>
                </a:ext>
              </a:extLst>
            </p:cNvPr>
            <p:cNvSpPr/>
            <p:nvPr/>
          </p:nvSpPr>
          <p:spPr>
            <a:xfrm>
              <a:off x="7952158" y="6158122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65" y="0"/>
                  </a:moveTo>
                  <a:lnTo>
                    <a:pt x="2755" y="1054"/>
                  </a:lnTo>
                  <a:lnTo>
                    <a:pt x="1371" y="2120"/>
                  </a:lnTo>
                  <a:lnTo>
                    <a:pt x="0" y="3200"/>
                  </a:lnTo>
                  <a:lnTo>
                    <a:pt x="571" y="4000"/>
                  </a:lnTo>
                  <a:lnTo>
                    <a:pt x="1930" y="2920"/>
                  </a:lnTo>
                  <a:lnTo>
                    <a:pt x="3314" y="1854"/>
                  </a:lnTo>
                  <a:lnTo>
                    <a:pt x="4724" y="800"/>
                  </a:lnTo>
                  <a:lnTo>
                    <a:pt x="4165" y="0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2" name="object 494">
              <a:extLst>
                <a:ext uri="{FF2B5EF4-FFF2-40B4-BE49-F238E27FC236}">
                  <a16:creationId xmlns:a16="http://schemas.microsoft.com/office/drawing/2014/main" id="{11BC3ABD-C372-47D6-9D51-1B287F3FA6FB}"/>
                </a:ext>
              </a:extLst>
            </p:cNvPr>
            <p:cNvSpPr/>
            <p:nvPr/>
          </p:nvSpPr>
          <p:spPr>
            <a:xfrm>
              <a:off x="7952733" y="6158914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52" y="0"/>
                  </a:moveTo>
                  <a:lnTo>
                    <a:pt x="2743" y="1066"/>
                  </a:lnTo>
                  <a:lnTo>
                    <a:pt x="1358" y="2133"/>
                  </a:lnTo>
                  <a:lnTo>
                    <a:pt x="0" y="3213"/>
                  </a:lnTo>
                  <a:lnTo>
                    <a:pt x="558" y="4013"/>
                  </a:lnTo>
                  <a:lnTo>
                    <a:pt x="1917" y="2933"/>
                  </a:lnTo>
                  <a:lnTo>
                    <a:pt x="3301" y="1866"/>
                  </a:lnTo>
                  <a:lnTo>
                    <a:pt x="4711" y="800"/>
                  </a:lnTo>
                  <a:lnTo>
                    <a:pt x="4152" y="0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3" name="object 495">
              <a:extLst>
                <a:ext uri="{FF2B5EF4-FFF2-40B4-BE49-F238E27FC236}">
                  <a16:creationId xmlns:a16="http://schemas.microsoft.com/office/drawing/2014/main" id="{3C9ACEE7-54C5-4790-BD12-7980F6596B4A}"/>
                </a:ext>
              </a:extLst>
            </p:cNvPr>
            <p:cNvSpPr/>
            <p:nvPr/>
          </p:nvSpPr>
          <p:spPr>
            <a:xfrm>
              <a:off x="7953287" y="6159715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52" y="0"/>
                  </a:moveTo>
                  <a:lnTo>
                    <a:pt x="2743" y="1066"/>
                  </a:lnTo>
                  <a:lnTo>
                    <a:pt x="1371" y="2133"/>
                  </a:lnTo>
                  <a:lnTo>
                    <a:pt x="0" y="3213"/>
                  </a:lnTo>
                  <a:lnTo>
                    <a:pt x="571" y="4013"/>
                  </a:lnTo>
                  <a:lnTo>
                    <a:pt x="1930" y="2933"/>
                  </a:lnTo>
                  <a:lnTo>
                    <a:pt x="3314" y="1854"/>
                  </a:lnTo>
                  <a:lnTo>
                    <a:pt x="4711" y="787"/>
                  </a:lnTo>
                  <a:lnTo>
                    <a:pt x="4152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4" name="object 496">
              <a:extLst>
                <a:ext uri="{FF2B5EF4-FFF2-40B4-BE49-F238E27FC236}">
                  <a16:creationId xmlns:a16="http://schemas.microsoft.com/office/drawing/2014/main" id="{86085975-0939-4933-8131-23A15C662047}"/>
                </a:ext>
              </a:extLst>
            </p:cNvPr>
            <p:cNvSpPr/>
            <p:nvPr/>
          </p:nvSpPr>
          <p:spPr>
            <a:xfrm>
              <a:off x="7953852" y="6160509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52" y="0"/>
                  </a:moveTo>
                  <a:lnTo>
                    <a:pt x="2743" y="1066"/>
                  </a:lnTo>
                  <a:lnTo>
                    <a:pt x="1358" y="2133"/>
                  </a:lnTo>
                  <a:lnTo>
                    <a:pt x="0" y="3213"/>
                  </a:lnTo>
                  <a:lnTo>
                    <a:pt x="571" y="4025"/>
                  </a:lnTo>
                  <a:lnTo>
                    <a:pt x="3301" y="1866"/>
                  </a:lnTo>
                  <a:lnTo>
                    <a:pt x="4711" y="787"/>
                  </a:lnTo>
                  <a:lnTo>
                    <a:pt x="4152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5" name="object 497">
              <a:extLst>
                <a:ext uri="{FF2B5EF4-FFF2-40B4-BE49-F238E27FC236}">
                  <a16:creationId xmlns:a16="http://schemas.microsoft.com/office/drawing/2014/main" id="{984DB0DE-C728-4172-8900-4ED0C3D6E556}"/>
                </a:ext>
              </a:extLst>
            </p:cNvPr>
            <p:cNvSpPr/>
            <p:nvPr/>
          </p:nvSpPr>
          <p:spPr>
            <a:xfrm>
              <a:off x="7954421" y="6161298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40" y="0"/>
                  </a:moveTo>
                  <a:lnTo>
                    <a:pt x="1358" y="2146"/>
                  </a:lnTo>
                  <a:lnTo>
                    <a:pt x="0" y="3238"/>
                  </a:lnTo>
                  <a:lnTo>
                    <a:pt x="279" y="3632"/>
                  </a:lnTo>
                  <a:lnTo>
                    <a:pt x="558" y="4051"/>
                  </a:lnTo>
                  <a:lnTo>
                    <a:pt x="1917" y="2959"/>
                  </a:lnTo>
                  <a:lnTo>
                    <a:pt x="4699" y="800"/>
                  </a:lnTo>
                  <a:lnTo>
                    <a:pt x="4572" y="609"/>
                  </a:lnTo>
                  <a:lnTo>
                    <a:pt x="4140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6" name="object 498">
              <a:extLst>
                <a:ext uri="{FF2B5EF4-FFF2-40B4-BE49-F238E27FC236}">
                  <a16:creationId xmlns:a16="http://schemas.microsoft.com/office/drawing/2014/main" id="{87E7FC08-2658-4331-A81B-D164367E6D58}"/>
                </a:ext>
              </a:extLst>
            </p:cNvPr>
            <p:cNvSpPr/>
            <p:nvPr/>
          </p:nvSpPr>
          <p:spPr>
            <a:xfrm>
              <a:off x="7954984" y="6162095"/>
              <a:ext cx="5080" cy="4445"/>
            </a:xfrm>
            <a:custGeom>
              <a:avLst/>
              <a:gdLst/>
              <a:ahLst/>
              <a:cxnLst/>
              <a:rect l="l" t="t" r="r" b="b"/>
              <a:pathLst>
                <a:path w="5079" h="4445">
                  <a:moveTo>
                    <a:pt x="4140" y="0"/>
                  </a:moveTo>
                  <a:lnTo>
                    <a:pt x="2743" y="1079"/>
                  </a:lnTo>
                  <a:lnTo>
                    <a:pt x="1358" y="2171"/>
                  </a:lnTo>
                  <a:lnTo>
                    <a:pt x="0" y="3263"/>
                  </a:lnTo>
                  <a:lnTo>
                    <a:pt x="190" y="3581"/>
                  </a:lnTo>
                  <a:lnTo>
                    <a:pt x="330" y="3886"/>
                  </a:lnTo>
                  <a:lnTo>
                    <a:pt x="419" y="4178"/>
                  </a:lnTo>
                  <a:lnTo>
                    <a:pt x="1854" y="3022"/>
                  </a:lnTo>
                  <a:lnTo>
                    <a:pt x="3302" y="1879"/>
                  </a:lnTo>
                  <a:lnTo>
                    <a:pt x="4787" y="736"/>
                  </a:lnTo>
                  <a:lnTo>
                    <a:pt x="4572" y="546"/>
                  </a:lnTo>
                  <a:lnTo>
                    <a:pt x="4356" y="292"/>
                  </a:lnTo>
                  <a:lnTo>
                    <a:pt x="4140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7" name="object 499">
              <a:extLst>
                <a:ext uri="{FF2B5EF4-FFF2-40B4-BE49-F238E27FC236}">
                  <a16:creationId xmlns:a16="http://schemas.microsoft.com/office/drawing/2014/main" id="{BB2FB176-AF59-4C72-9481-3C9B442062A2}"/>
                </a:ext>
              </a:extLst>
            </p:cNvPr>
            <p:cNvSpPr/>
            <p:nvPr/>
          </p:nvSpPr>
          <p:spPr>
            <a:xfrm>
              <a:off x="7955336" y="6162834"/>
              <a:ext cx="5715" cy="5080"/>
            </a:xfrm>
            <a:custGeom>
              <a:avLst/>
              <a:gdLst/>
              <a:ahLst/>
              <a:cxnLst/>
              <a:rect l="l" t="t" r="r" b="b"/>
              <a:pathLst>
                <a:path w="5715" h="5079">
                  <a:moveTo>
                    <a:pt x="4432" y="0"/>
                  </a:moveTo>
                  <a:lnTo>
                    <a:pt x="2959" y="1130"/>
                  </a:lnTo>
                  <a:lnTo>
                    <a:pt x="1498" y="2285"/>
                  </a:lnTo>
                  <a:lnTo>
                    <a:pt x="63" y="3441"/>
                  </a:lnTo>
                  <a:lnTo>
                    <a:pt x="215" y="3924"/>
                  </a:lnTo>
                  <a:lnTo>
                    <a:pt x="190" y="4356"/>
                  </a:lnTo>
                  <a:lnTo>
                    <a:pt x="0" y="4762"/>
                  </a:lnTo>
                  <a:lnTo>
                    <a:pt x="1739" y="3340"/>
                  </a:lnTo>
                  <a:lnTo>
                    <a:pt x="3530" y="1930"/>
                  </a:lnTo>
                  <a:lnTo>
                    <a:pt x="5334" y="533"/>
                  </a:lnTo>
                  <a:lnTo>
                    <a:pt x="5029" y="444"/>
                  </a:lnTo>
                  <a:lnTo>
                    <a:pt x="4737" y="266"/>
                  </a:lnTo>
                  <a:lnTo>
                    <a:pt x="4432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8" name="object 500">
              <a:extLst>
                <a:ext uri="{FF2B5EF4-FFF2-40B4-BE49-F238E27FC236}">
                  <a16:creationId xmlns:a16="http://schemas.microsoft.com/office/drawing/2014/main" id="{CBA01D0F-270A-4963-8DD2-1E92486D4F7B}"/>
                </a:ext>
              </a:extLst>
            </p:cNvPr>
            <p:cNvSpPr/>
            <p:nvPr/>
          </p:nvSpPr>
          <p:spPr>
            <a:xfrm>
              <a:off x="7953854" y="6162530"/>
              <a:ext cx="9525" cy="7620"/>
            </a:xfrm>
            <a:custGeom>
              <a:avLst/>
              <a:gdLst/>
              <a:ahLst/>
              <a:cxnLst/>
              <a:rect l="l" t="t" r="r" b="b"/>
              <a:pathLst>
                <a:path w="9525" h="7620">
                  <a:moveTo>
                    <a:pt x="9359" y="0"/>
                  </a:moveTo>
                  <a:lnTo>
                    <a:pt x="8318" y="736"/>
                  </a:lnTo>
                  <a:lnTo>
                    <a:pt x="7531" y="1028"/>
                  </a:lnTo>
                  <a:lnTo>
                    <a:pt x="6819" y="838"/>
                  </a:lnTo>
                  <a:lnTo>
                    <a:pt x="5003" y="2235"/>
                  </a:lnTo>
                  <a:lnTo>
                    <a:pt x="3225" y="3644"/>
                  </a:lnTo>
                  <a:lnTo>
                    <a:pt x="1485" y="5067"/>
                  </a:lnTo>
                  <a:lnTo>
                    <a:pt x="1244" y="5575"/>
                  </a:lnTo>
                  <a:lnTo>
                    <a:pt x="762" y="6057"/>
                  </a:lnTo>
                  <a:lnTo>
                    <a:pt x="0" y="6591"/>
                  </a:lnTo>
                  <a:lnTo>
                    <a:pt x="431" y="7213"/>
                  </a:lnTo>
                  <a:lnTo>
                    <a:pt x="3340" y="4800"/>
                  </a:lnTo>
                  <a:lnTo>
                    <a:pt x="6337" y="2412"/>
                  </a:lnTo>
                  <a:lnTo>
                    <a:pt x="9410" y="76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09" name="object 501">
              <a:extLst>
                <a:ext uri="{FF2B5EF4-FFF2-40B4-BE49-F238E27FC236}">
                  <a16:creationId xmlns:a16="http://schemas.microsoft.com/office/drawing/2014/main" id="{5DCFF80B-F6B6-4A63-9F35-77D6328A4CAD}"/>
                </a:ext>
              </a:extLst>
            </p:cNvPr>
            <p:cNvSpPr/>
            <p:nvPr/>
          </p:nvSpPr>
          <p:spPr>
            <a:xfrm>
              <a:off x="7954294" y="6162607"/>
              <a:ext cx="10160" cy="7620"/>
            </a:xfrm>
            <a:custGeom>
              <a:avLst/>
              <a:gdLst/>
              <a:ahLst/>
              <a:cxnLst/>
              <a:rect l="l" t="t" r="r" b="b"/>
              <a:pathLst>
                <a:path w="10159" h="7620">
                  <a:moveTo>
                    <a:pt x="8966" y="0"/>
                  </a:moveTo>
                  <a:lnTo>
                    <a:pt x="5892" y="2336"/>
                  </a:lnTo>
                  <a:lnTo>
                    <a:pt x="2895" y="4724"/>
                  </a:lnTo>
                  <a:lnTo>
                    <a:pt x="0" y="7137"/>
                  </a:lnTo>
                  <a:lnTo>
                    <a:pt x="165" y="7378"/>
                  </a:lnTo>
                  <a:lnTo>
                    <a:pt x="9537" y="787"/>
                  </a:lnTo>
                  <a:lnTo>
                    <a:pt x="8966" y="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0" name="object 502">
              <a:extLst>
                <a:ext uri="{FF2B5EF4-FFF2-40B4-BE49-F238E27FC236}">
                  <a16:creationId xmlns:a16="http://schemas.microsoft.com/office/drawing/2014/main" id="{0EE41339-18E6-46DE-841C-1187839A4377}"/>
                </a:ext>
              </a:extLst>
            </p:cNvPr>
            <p:cNvSpPr/>
            <p:nvPr/>
          </p:nvSpPr>
          <p:spPr>
            <a:xfrm>
              <a:off x="7956183" y="6140105"/>
              <a:ext cx="1270" cy="635"/>
            </a:xfrm>
            <a:custGeom>
              <a:avLst/>
              <a:gdLst/>
              <a:ahLst/>
              <a:cxnLst/>
              <a:rect l="l" t="t" r="r" b="b"/>
              <a:pathLst>
                <a:path w="1270" h="634">
                  <a:moveTo>
                    <a:pt x="1041" y="0"/>
                  </a:moveTo>
                  <a:lnTo>
                    <a:pt x="0" y="508"/>
                  </a:lnTo>
                  <a:lnTo>
                    <a:pt x="63" y="635"/>
                  </a:lnTo>
                  <a:lnTo>
                    <a:pt x="393" y="431"/>
                  </a:lnTo>
                  <a:lnTo>
                    <a:pt x="711" y="215"/>
                  </a:lnTo>
                  <a:lnTo>
                    <a:pt x="1041" y="0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1" name="object 503">
              <a:extLst>
                <a:ext uri="{FF2B5EF4-FFF2-40B4-BE49-F238E27FC236}">
                  <a16:creationId xmlns:a16="http://schemas.microsoft.com/office/drawing/2014/main" id="{A50D1B65-1E11-46FC-8F18-9B214FF2E46D}"/>
                </a:ext>
              </a:extLst>
            </p:cNvPr>
            <p:cNvSpPr/>
            <p:nvPr/>
          </p:nvSpPr>
          <p:spPr>
            <a:xfrm>
              <a:off x="7956243" y="6136519"/>
              <a:ext cx="8890" cy="5080"/>
            </a:xfrm>
            <a:custGeom>
              <a:avLst/>
              <a:gdLst/>
              <a:ahLst/>
              <a:cxnLst/>
              <a:rect l="l" t="t" r="r" b="b"/>
              <a:pathLst>
                <a:path w="8890" h="5079">
                  <a:moveTo>
                    <a:pt x="8369" y="0"/>
                  </a:moveTo>
                  <a:lnTo>
                    <a:pt x="977" y="3581"/>
                  </a:lnTo>
                  <a:lnTo>
                    <a:pt x="0" y="4229"/>
                  </a:lnTo>
                  <a:lnTo>
                    <a:pt x="406" y="5041"/>
                  </a:lnTo>
                  <a:lnTo>
                    <a:pt x="596" y="4952"/>
                  </a:lnTo>
                  <a:lnTo>
                    <a:pt x="3124" y="3289"/>
                  </a:lnTo>
                  <a:lnTo>
                    <a:pt x="5727" y="1650"/>
                  </a:lnTo>
                  <a:lnTo>
                    <a:pt x="8382" y="12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2" name="object 504">
              <a:extLst>
                <a:ext uri="{FF2B5EF4-FFF2-40B4-BE49-F238E27FC236}">
                  <a16:creationId xmlns:a16="http://schemas.microsoft.com/office/drawing/2014/main" id="{CF2B585A-A4F5-458F-B1A3-915CE6CE5844}"/>
                </a:ext>
              </a:extLst>
            </p:cNvPr>
            <p:cNvSpPr/>
            <p:nvPr/>
          </p:nvSpPr>
          <p:spPr>
            <a:xfrm>
              <a:off x="7956842" y="6131347"/>
              <a:ext cx="19050" cy="10160"/>
            </a:xfrm>
            <a:custGeom>
              <a:avLst/>
              <a:gdLst/>
              <a:ahLst/>
              <a:cxnLst/>
              <a:rect l="l" t="t" r="r" b="b"/>
              <a:pathLst>
                <a:path w="19050" h="10159">
                  <a:moveTo>
                    <a:pt x="8445" y="5867"/>
                  </a:moveTo>
                  <a:lnTo>
                    <a:pt x="7785" y="5194"/>
                  </a:lnTo>
                  <a:lnTo>
                    <a:pt x="5130" y="6832"/>
                  </a:lnTo>
                  <a:lnTo>
                    <a:pt x="2527" y="8470"/>
                  </a:lnTo>
                  <a:lnTo>
                    <a:pt x="0" y="10134"/>
                  </a:lnTo>
                  <a:lnTo>
                    <a:pt x="927" y="9702"/>
                  </a:lnTo>
                  <a:lnTo>
                    <a:pt x="1651" y="9537"/>
                  </a:lnTo>
                  <a:lnTo>
                    <a:pt x="2286" y="9753"/>
                  </a:lnTo>
                  <a:lnTo>
                    <a:pt x="4292" y="8445"/>
                  </a:lnTo>
                  <a:lnTo>
                    <a:pt x="6350" y="7150"/>
                  </a:lnTo>
                  <a:lnTo>
                    <a:pt x="8445" y="5867"/>
                  </a:lnTo>
                  <a:close/>
                </a:path>
                <a:path w="19050" h="10159">
                  <a:moveTo>
                    <a:pt x="18427" y="0"/>
                  </a:moveTo>
                  <a:lnTo>
                    <a:pt x="17081" y="647"/>
                  </a:lnTo>
                  <a:lnTo>
                    <a:pt x="17983" y="241"/>
                  </a:lnTo>
                  <a:lnTo>
                    <a:pt x="18427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3" name="object 505">
              <a:extLst>
                <a:ext uri="{FF2B5EF4-FFF2-40B4-BE49-F238E27FC236}">
                  <a16:creationId xmlns:a16="http://schemas.microsoft.com/office/drawing/2014/main" id="{35B78EB3-81E3-4DFB-9576-FF05C992FAF0}"/>
                </a:ext>
              </a:extLst>
            </p:cNvPr>
            <p:cNvSpPr/>
            <p:nvPr/>
          </p:nvSpPr>
          <p:spPr>
            <a:xfrm>
              <a:off x="7959128" y="6128020"/>
              <a:ext cx="23495" cy="14604"/>
            </a:xfrm>
            <a:custGeom>
              <a:avLst/>
              <a:gdLst/>
              <a:ahLst/>
              <a:cxnLst/>
              <a:rect l="l" t="t" r="r" b="b"/>
              <a:pathLst>
                <a:path w="23495" h="14604">
                  <a:moveTo>
                    <a:pt x="7493" y="10515"/>
                  </a:moveTo>
                  <a:lnTo>
                    <a:pt x="6832" y="9855"/>
                  </a:lnTo>
                  <a:lnTo>
                    <a:pt x="6159" y="9194"/>
                  </a:lnTo>
                  <a:lnTo>
                    <a:pt x="4076" y="10477"/>
                  </a:lnTo>
                  <a:lnTo>
                    <a:pt x="2019" y="11772"/>
                  </a:lnTo>
                  <a:lnTo>
                    <a:pt x="0" y="13081"/>
                  </a:lnTo>
                  <a:lnTo>
                    <a:pt x="292" y="13182"/>
                  </a:lnTo>
                  <a:lnTo>
                    <a:pt x="558" y="13373"/>
                  </a:lnTo>
                  <a:lnTo>
                    <a:pt x="825" y="13652"/>
                  </a:lnTo>
                  <a:lnTo>
                    <a:pt x="1003" y="13855"/>
                  </a:lnTo>
                  <a:lnTo>
                    <a:pt x="1181" y="14109"/>
                  </a:lnTo>
                  <a:lnTo>
                    <a:pt x="1358" y="14414"/>
                  </a:lnTo>
                  <a:lnTo>
                    <a:pt x="5918" y="11493"/>
                  </a:lnTo>
                  <a:lnTo>
                    <a:pt x="7493" y="10515"/>
                  </a:lnTo>
                  <a:close/>
                </a:path>
                <a:path w="23495" h="14604">
                  <a:moveTo>
                    <a:pt x="23444" y="939"/>
                  </a:moveTo>
                  <a:lnTo>
                    <a:pt x="23215" y="469"/>
                  </a:lnTo>
                  <a:lnTo>
                    <a:pt x="22987" y="0"/>
                  </a:lnTo>
                  <a:lnTo>
                    <a:pt x="16141" y="3327"/>
                  </a:lnTo>
                  <a:lnTo>
                    <a:pt x="14808" y="4089"/>
                  </a:lnTo>
                  <a:lnTo>
                    <a:pt x="14897" y="5041"/>
                  </a:lnTo>
                  <a:lnTo>
                    <a:pt x="15011" y="6007"/>
                  </a:lnTo>
                  <a:lnTo>
                    <a:pt x="17221" y="4737"/>
                  </a:lnTo>
                  <a:lnTo>
                    <a:pt x="19456" y="3479"/>
                  </a:lnTo>
                  <a:lnTo>
                    <a:pt x="21729" y="2247"/>
                  </a:lnTo>
                  <a:lnTo>
                    <a:pt x="22059" y="1803"/>
                  </a:lnTo>
                  <a:lnTo>
                    <a:pt x="22631" y="1409"/>
                  </a:lnTo>
                  <a:lnTo>
                    <a:pt x="23444" y="939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4" name="object 506">
              <a:extLst>
                <a:ext uri="{FF2B5EF4-FFF2-40B4-BE49-F238E27FC236}">
                  <a16:creationId xmlns:a16="http://schemas.microsoft.com/office/drawing/2014/main" id="{5BC65C87-58C7-4C91-BAF3-DA6A5C1FD00B}"/>
                </a:ext>
              </a:extLst>
            </p:cNvPr>
            <p:cNvSpPr/>
            <p:nvPr/>
          </p:nvSpPr>
          <p:spPr>
            <a:xfrm>
              <a:off x="7960487" y="6130268"/>
              <a:ext cx="20955" cy="13970"/>
            </a:xfrm>
            <a:custGeom>
              <a:avLst/>
              <a:gdLst/>
              <a:ahLst/>
              <a:cxnLst/>
              <a:rect l="l" t="t" r="r" b="b"/>
              <a:pathLst>
                <a:path w="20954" h="13970">
                  <a:moveTo>
                    <a:pt x="2235" y="12928"/>
                  </a:moveTo>
                  <a:lnTo>
                    <a:pt x="1828" y="12090"/>
                  </a:lnTo>
                  <a:lnTo>
                    <a:pt x="1422" y="11252"/>
                  </a:lnTo>
                  <a:lnTo>
                    <a:pt x="952" y="11557"/>
                  </a:lnTo>
                  <a:lnTo>
                    <a:pt x="469" y="11861"/>
                  </a:lnTo>
                  <a:lnTo>
                    <a:pt x="0" y="12166"/>
                  </a:lnTo>
                  <a:lnTo>
                    <a:pt x="76" y="12293"/>
                  </a:lnTo>
                  <a:lnTo>
                    <a:pt x="228" y="12598"/>
                  </a:lnTo>
                  <a:lnTo>
                    <a:pt x="431" y="13004"/>
                  </a:lnTo>
                  <a:lnTo>
                    <a:pt x="838" y="13843"/>
                  </a:lnTo>
                  <a:lnTo>
                    <a:pt x="1308" y="13538"/>
                  </a:lnTo>
                  <a:lnTo>
                    <a:pt x="1765" y="13233"/>
                  </a:lnTo>
                  <a:lnTo>
                    <a:pt x="2235" y="12928"/>
                  </a:lnTo>
                  <a:close/>
                </a:path>
                <a:path w="20954" h="13970">
                  <a:moveTo>
                    <a:pt x="7454" y="9588"/>
                  </a:moveTo>
                  <a:lnTo>
                    <a:pt x="6807" y="8940"/>
                  </a:lnTo>
                  <a:lnTo>
                    <a:pt x="6134" y="8267"/>
                  </a:lnTo>
                  <a:lnTo>
                    <a:pt x="4559" y="9245"/>
                  </a:lnTo>
                  <a:lnTo>
                    <a:pt x="3009" y="10223"/>
                  </a:lnTo>
                  <a:lnTo>
                    <a:pt x="1473" y="11214"/>
                  </a:lnTo>
                  <a:lnTo>
                    <a:pt x="2146" y="11874"/>
                  </a:lnTo>
                  <a:lnTo>
                    <a:pt x="2832" y="12534"/>
                  </a:lnTo>
                  <a:lnTo>
                    <a:pt x="4356" y="11544"/>
                  </a:lnTo>
                  <a:lnTo>
                    <a:pt x="5892" y="10566"/>
                  </a:lnTo>
                  <a:lnTo>
                    <a:pt x="7454" y="9588"/>
                  </a:lnTo>
                  <a:close/>
                </a:path>
                <a:path w="20954" h="13970">
                  <a:moveTo>
                    <a:pt x="20307" y="2057"/>
                  </a:moveTo>
                  <a:lnTo>
                    <a:pt x="20180" y="1727"/>
                  </a:lnTo>
                  <a:lnTo>
                    <a:pt x="20104" y="1435"/>
                  </a:lnTo>
                  <a:lnTo>
                    <a:pt x="20078" y="1181"/>
                  </a:lnTo>
                  <a:lnTo>
                    <a:pt x="18478" y="2057"/>
                  </a:lnTo>
                  <a:lnTo>
                    <a:pt x="16891" y="2946"/>
                  </a:lnTo>
                  <a:lnTo>
                    <a:pt x="15316" y="3848"/>
                  </a:lnTo>
                  <a:lnTo>
                    <a:pt x="15709" y="4660"/>
                  </a:lnTo>
                  <a:lnTo>
                    <a:pt x="17221" y="3784"/>
                  </a:lnTo>
                  <a:lnTo>
                    <a:pt x="18757" y="2908"/>
                  </a:lnTo>
                  <a:lnTo>
                    <a:pt x="20307" y="2057"/>
                  </a:lnTo>
                  <a:close/>
                </a:path>
                <a:path w="20954" h="13970">
                  <a:moveTo>
                    <a:pt x="20383" y="0"/>
                  </a:moveTo>
                  <a:lnTo>
                    <a:pt x="18110" y="1231"/>
                  </a:lnTo>
                  <a:lnTo>
                    <a:pt x="15875" y="2489"/>
                  </a:lnTo>
                  <a:lnTo>
                    <a:pt x="13665" y="3759"/>
                  </a:lnTo>
                  <a:lnTo>
                    <a:pt x="13766" y="4737"/>
                  </a:lnTo>
                  <a:lnTo>
                    <a:pt x="13881" y="5715"/>
                  </a:lnTo>
                  <a:lnTo>
                    <a:pt x="14363" y="5422"/>
                  </a:lnTo>
                  <a:lnTo>
                    <a:pt x="14859" y="5143"/>
                  </a:lnTo>
                  <a:lnTo>
                    <a:pt x="15354" y="4851"/>
                  </a:lnTo>
                  <a:lnTo>
                    <a:pt x="15240" y="3886"/>
                  </a:lnTo>
                  <a:lnTo>
                    <a:pt x="16891" y="2933"/>
                  </a:lnTo>
                  <a:lnTo>
                    <a:pt x="18478" y="2044"/>
                  </a:lnTo>
                  <a:lnTo>
                    <a:pt x="20078" y="1168"/>
                  </a:lnTo>
                  <a:lnTo>
                    <a:pt x="20040" y="711"/>
                  </a:lnTo>
                  <a:lnTo>
                    <a:pt x="20129" y="330"/>
                  </a:lnTo>
                  <a:lnTo>
                    <a:pt x="20383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5" name="object 507">
              <a:extLst>
                <a:ext uri="{FF2B5EF4-FFF2-40B4-BE49-F238E27FC236}">
                  <a16:creationId xmlns:a16="http://schemas.microsoft.com/office/drawing/2014/main" id="{53E7F348-D34F-4722-89C3-96B46CB7BCC6}"/>
                </a:ext>
              </a:extLst>
            </p:cNvPr>
            <p:cNvSpPr/>
            <p:nvPr/>
          </p:nvSpPr>
          <p:spPr>
            <a:xfrm>
              <a:off x="7961325" y="6132313"/>
              <a:ext cx="20320" cy="12700"/>
            </a:xfrm>
            <a:custGeom>
              <a:avLst/>
              <a:gdLst/>
              <a:ahLst/>
              <a:cxnLst/>
              <a:rect l="l" t="t" r="r" b="b"/>
              <a:pathLst>
                <a:path w="20320" h="12700">
                  <a:moveTo>
                    <a:pt x="1803" y="11734"/>
                  </a:moveTo>
                  <a:lnTo>
                    <a:pt x="1397" y="10883"/>
                  </a:lnTo>
                  <a:lnTo>
                    <a:pt x="457" y="11493"/>
                  </a:lnTo>
                  <a:lnTo>
                    <a:pt x="0" y="11798"/>
                  </a:lnTo>
                  <a:lnTo>
                    <a:pt x="406" y="12649"/>
                  </a:lnTo>
                  <a:lnTo>
                    <a:pt x="876" y="12344"/>
                  </a:lnTo>
                  <a:lnTo>
                    <a:pt x="1333" y="12039"/>
                  </a:lnTo>
                  <a:lnTo>
                    <a:pt x="1803" y="11734"/>
                  </a:lnTo>
                  <a:close/>
                </a:path>
                <a:path w="20320" h="12700">
                  <a:moveTo>
                    <a:pt x="7302" y="8216"/>
                  </a:moveTo>
                  <a:lnTo>
                    <a:pt x="6629" y="7543"/>
                  </a:lnTo>
                  <a:lnTo>
                    <a:pt x="3517" y="9499"/>
                  </a:lnTo>
                  <a:lnTo>
                    <a:pt x="1993" y="10490"/>
                  </a:lnTo>
                  <a:lnTo>
                    <a:pt x="2679" y="11150"/>
                  </a:lnTo>
                  <a:lnTo>
                    <a:pt x="4203" y="10160"/>
                  </a:lnTo>
                  <a:lnTo>
                    <a:pt x="5740" y="9182"/>
                  </a:lnTo>
                  <a:lnTo>
                    <a:pt x="7302" y="8216"/>
                  </a:lnTo>
                  <a:close/>
                </a:path>
                <a:path w="20320" h="12700">
                  <a:moveTo>
                    <a:pt x="14630" y="3784"/>
                  </a:moveTo>
                  <a:lnTo>
                    <a:pt x="14516" y="2819"/>
                  </a:lnTo>
                  <a:lnTo>
                    <a:pt x="14020" y="3111"/>
                  </a:lnTo>
                  <a:lnTo>
                    <a:pt x="13525" y="3390"/>
                  </a:lnTo>
                  <a:lnTo>
                    <a:pt x="13030" y="3683"/>
                  </a:lnTo>
                  <a:lnTo>
                    <a:pt x="13144" y="4660"/>
                  </a:lnTo>
                  <a:lnTo>
                    <a:pt x="13627" y="4381"/>
                  </a:lnTo>
                  <a:lnTo>
                    <a:pt x="14135" y="4076"/>
                  </a:lnTo>
                  <a:lnTo>
                    <a:pt x="14630" y="3784"/>
                  </a:lnTo>
                  <a:close/>
                </a:path>
                <a:path w="20320" h="12700">
                  <a:moveTo>
                    <a:pt x="19837" y="812"/>
                  </a:moveTo>
                  <a:lnTo>
                    <a:pt x="19748" y="647"/>
                  </a:lnTo>
                  <a:lnTo>
                    <a:pt x="19545" y="203"/>
                  </a:lnTo>
                  <a:lnTo>
                    <a:pt x="19469" y="0"/>
                  </a:lnTo>
                  <a:lnTo>
                    <a:pt x="17919" y="863"/>
                  </a:lnTo>
                  <a:lnTo>
                    <a:pt x="16395" y="1727"/>
                  </a:lnTo>
                  <a:lnTo>
                    <a:pt x="14871" y="2603"/>
                  </a:lnTo>
                  <a:lnTo>
                    <a:pt x="15265" y="3416"/>
                  </a:lnTo>
                  <a:lnTo>
                    <a:pt x="16776" y="2540"/>
                  </a:lnTo>
                  <a:lnTo>
                    <a:pt x="19837" y="812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6" name="object 508">
              <a:extLst>
                <a:ext uri="{FF2B5EF4-FFF2-40B4-BE49-F238E27FC236}">
                  <a16:creationId xmlns:a16="http://schemas.microsoft.com/office/drawing/2014/main" id="{0C94D5F8-6DC6-4109-A464-D522E718B5AA}"/>
                </a:ext>
              </a:extLst>
            </p:cNvPr>
            <p:cNvSpPr/>
            <p:nvPr/>
          </p:nvSpPr>
          <p:spPr>
            <a:xfrm>
              <a:off x="7961731" y="6133125"/>
              <a:ext cx="20320" cy="12700"/>
            </a:xfrm>
            <a:custGeom>
              <a:avLst/>
              <a:gdLst/>
              <a:ahLst/>
              <a:cxnLst/>
              <a:rect l="l" t="t" r="r" b="b"/>
              <a:pathLst>
                <a:path w="20320" h="12700">
                  <a:moveTo>
                    <a:pt x="1816" y="11760"/>
                  </a:moveTo>
                  <a:lnTo>
                    <a:pt x="1409" y="10909"/>
                  </a:lnTo>
                  <a:lnTo>
                    <a:pt x="939" y="11226"/>
                  </a:lnTo>
                  <a:lnTo>
                    <a:pt x="0" y="11836"/>
                  </a:lnTo>
                  <a:lnTo>
                    <a:pt x="419" y="12687"/>
                  </a:lnTo>
                  <a:lnTo>
                    <a:pt x="1346" y="12065"/>
                  </a:lnTo>
                  <a:lnTo>
                    <a:pt x="1816" y="11760"/>
                  </a:lnTo>
                  <a:close/>
                </a:path>
                <a:path w="20320" h="12700">
                  <a:moveTo>
                    <a:pt x="7556" y="8077"/>
                  </a:moveTo>
                  <a:lnTo>
                    <a:pt x="6896" y="7404"/>
                  </a:lnTo>
                  <a:lnTo>
                    <a:pt x="5334" y="8382"/>
                  </a:lnTo>
                  <a:lnTo>
                    <a:pt x="3797" y="9359"/>
                  </a:lnTo>
                  <a:lnTo>
                    <a:pt x="2273" y="10350"/>
                  </a:lnTo>
                  <a:lnTo>
                    <a:pt x="2959" y="11010"/>
                  </a:lnTo>
                  <a:lnTo>
                    <a:pt x="4470" y="10020"/>
                  </a:lnTo>
                  <a:lnTo>
                    <a:pt x="6007" y="9042"/>
                  </a:lnTo>
                  <a:lnTo>
                    <a:pt x="7556" y="8077"/>
                  </a:lnTo>
                  <a:close/>
                </a:path>
                <a:path w="20320" h="12700">
                  <a:moveTo>
                    <a:pt x="14338" y="3949"/>
                  </a:moveTo>
                  <a:lnTo>
                    <a:pt x="14224" y="2971"/>
                  </a:lnTo>
                  <a:lnTo>
                    <a:pt x="12738" y="3848"/>
                  </a:lnTo>
                  <a:lnTo>
                    <a:pt x="12852" y="4838"/>
                  </a:lnTo>
                  <a:lnTo>
                    <a:pt x="13347" y="4546"/>
                  </a:lnTo>
                  <a:lnTo>
                    <a:pt x="13843" y="4241"/>
                  </a:lnTo>
                  <a:lnTo>
                    <a:pt x="14338" y="3949"/>
                  </a:lnTo>
                  <a:close/>
                </a:path>
                <a:path w="20320" h="12700">
                  <a:moveTo>
                    <a:pt x="19799" y="812"/>
                  </a:moveTo>
                  <a:lnTo>
                    <a:pt x="19418" y="0"/>
                  </a:lnTo>
                  <a:lnTo>
                    <a:pt x="16357" y="1727"/>
                  </a:lnTo>
                  <a:lnTo>
                    <a:pt x="14846" y="2603"/>
                  </a:lnTo>
                  <a:lnTo>
                    <a:pt x="15240" y="3416"/>
                  </a:lnTo>
                  <a:lnTo>
                    <a:pt x="18262" y="1663"/>
                  </a:lnTo>
                  <a:lnTo>
                    <a:pt x="19799" y="812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7" name="object 509">
              <a:extLst>
                <a:ext uri="{FF2B5EF4-FFF2-40B4-BE49-F238E27FC236}">
                  <a16:creationId xmlns:a16="http://schemas.microsoft.com/office/drawing/2014/main" id="{2ED7BCC7-3F79-4F05-964A-26BEE60CC1C7}"/>
                </a:ext>
              </a:extLst>
            </p:cNvPr>
            <p:cNvSpPr/>
            <p:nvPr/>
          </p:nvSpPr>
          <p:spPr>
            <a:xfrm>
              <a:off x="7962138" y="6133925"/>
              <a:ext cx="20320" cy="13335"/>
            </a:xfrm>
            <a:custGeom>
              <a:avLst/>
              <a:gdLst/>
              <a:ahLst/>
              <a:cxnLst/>
              <a:rect l="l" t="t" r="r" b="b"/>
              <a:pathLst>
                <a:path w="20320" h="13334">
                  <a:moveTo>
                    <a:pt x="1816" y="11811"/>
                  </a:moveTo>
                  <a:lnTo>
                    <a:pt x="1397" y="10960"/>
                  </a:lnTo>
                  <a:lnTo>
                    <a:pt x="469" y="11582"/>
                  </a:lnTo>
                  <a:lnTo>
                    <a:pt x="0" y="11887"/>
                  </a:lnTo>
                  <a:lnTo>
                    <a:pt x="419" y="12738"/>
                  </a:lnTo>
                  <a:lnTo>
                    <a:pt x="1346" y="12115"/>
                  </a:lnTo>
                  <a:lnTo>
                    <a:pt x="1816" y="11811"/>
                  </a:lnTo>
                  <a:close/>
                </a:path>
                <a:path w="20320" h="13334">
                  <a:moveTo>
                    <a:pt x="7823" y="7937"/>
                  </a:moveTo>
                  <a:lnTo>
                    <a:pt x="7162" y="7264"/>
                  </a:lnTo>
                  <a:lnTo>
                    <a:pt x="5600" y="8242"/>
                  </a:lnTo>
                  <a:lnTo>
                    <a:pt x="4076" y="9220"/>
                  </a:lnTo>
                  <a:lnTo>
                    <a:pt x="2552" y="10210"/>
                  </a:lnTo>
                  <a:lnTo>
                    <a:pt x="3238" y="10871"/>
                  </a:lnTo>
                  <a:lnTo>
                    <a:pt x="6273" y="8902"/>
                  </a:lnTo>
                  <a:lnTo>
                    <a:pt x="7823" y="7937"/>
                  </a:lnTo>
                  <a:close/>
                </a:path>
                <a:path w="20320" h="13334">
                  <a:moveTo>
                    <a:pt x="14058" y="4127"/>
                  </a:moveTo>
                  <a:lnTo>
                    <a:pt x="13931" y="3149"/>
                  </a:lnTo>
                  <a:lnTo>
                    <a:pt x="13436" y="3441"/>
                  </a:lnTo>
                  <a:lnTo>
                    <a:pt x="12941" y="3746"/>
                  </a:lnTo>
                  <a:lnTo>
                    <a:pt x="12446" y="4038"/>
                  </a:lnTo>
                  <a:lnTo>
                    <a:pt x="12547" y="5029"/>
                  </a:lnTo>
                  <a:lnTo>
                    <a:pt x="13042" y="4724"/>
                  </a:lnTo>
                  <a:lnTo>
                    <a:pt x="13550" y="4419"/>
                  </a:lnTo>
                  <a:lnTo>
                    <a:pt x="14058" y="4127"/>
                  </a:lnTo>
                  <a:close/>
                </a:path>
                <a:path w="20320" h="13334">
                  <a:moveTo>
                    <a:pt x="19799" y="800"/>
                  </a:moveTo>
                  <a:lnTo>
                    <a:pt x="19405" y="0"/>
                  </a:lnTo>
                  <a:lnTo>
                    <a:pt x="17868" y="863"/>
                  </a:lnTo>
                  <a:lnTo>
                    <a:pt x="16344" y="1739"/>
                  </a:lnTo>
                  <a:lnTo>
                    <a:pt x="14846" y="2616"/>
                  </a:lnTo>
                  <a:lnTo>
                    <a:pt x="15240" y="3429"/>
                  </a:lnTo>
                  <a:lnTo>
                    <a:pt x="16738" y="2540"/>
                  </a:lnTo>
                  <a:lnTo>
                    <a:pt x="18262" y="1663"/>
                  </a:lnTo>
                  <a:lnTo>
                    <a:pt x="19799" y="800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8" name="object 510">
              <a:extLst>
                <a:ext uri="{FF2B5EF4-FFF2-40B4-BE49-F238E27FC236}">
                  <a16:creationId xmlns:a16="http://schemas.microsoft.com/office/drawing/2014/main" id="{09077FF4-A5B4-45BA-94CD-984836C5DAE6}"/>
                </a:ext>
              </a:extLst>
            </p:cNvPr>
            <p:cNvSpPr/>
            <p:nvPr/>
          </p:nvSpPr>
          <p:spPr>
            <a:xfrm>
              <a:off x="7962557" y="6134726"/>
              <a:ext cx="20320" cy="13335"/>
            </a:xfrm>
            <a:custGeom>
              <a:avLst/>
              <a:gdLst/>
              <a:ahLst/>
              <a:cxnLst/>
              <a:rect l="l" t="t" r="r" b="b"/>
              <a:pathLst>
                <a:path w="20320" h="13334">
                  <a:moveTo>
                    <a:pt x="1816" y="11861"/>
                  </a:moveTo>
                  <a:lnTo>
                    <a:pt x="1409" y="11010"/>
                  </a:lnTo>
                  <a:lnTo>
                    <a:pt x="927" y="11315"/>
                  </a:lnTo>
                  <a:lnTo>
                    <a:pt x="469" y="11633"/>
                  </a:lnTo>
                  <a:lnTo>
                    <a:pt x="0" y="11938"/>
                  </a:lnTo>
                  <a:lnTo>
                    <a:pt x="419" y="12788"/>
                  </a:lnTo>
                  <a:lnTo>
                    <a:pt x="889" y="12484"/>
                  </a:lnTo>
                  <a:lnTo>
                    <a:pt x="1346" y="12166"/>
                  </a:lnTo>
                  <a:lnTo>
                    <a:pt x="1816" y="11861"/>
                  </a:lnTo>
                  <a:close/>
                </a:path>
                <a:path w="20320" h="13334">
                  <a:moveTo>
                    <a:pt x="8077" y="7797"/>
                  </a:moveTo>
                  <a:lnTo>
                    <a:pt x="7404" y="7137"/>
                  </a:lnTo>
                  <a:lnTo>
                    <a:pt x="5854" y="8102"/>
                  </a:lnTo>
                  <a:lnTo>
                    <a:pt x="2819" y="10071"/>
                  </a:lnTo>
                  <a:lnTo>
                    <a:pt x="3505" y="10744"/>
                  </a:lnTo>
                  <a:lnTo>
                    <a:pt x="5016" y="9753"/>
                  </a:lnTo>
                  <a:lnTo>
                    <a:pt x="8077" y="7797"/>
                  </a:lnTo>
                  <a:close/>
                </a:path>
                <a:path w="20320" h="13334">
                  <a:moveTo>
                    <a:pt x="13741" y="4318"/>
                  </a:moveTo>
                  <a:lnTo>
                    <a:pt x="13627" y="3327"/>
                  </a:lnTo>
                  <a:lnTo>
                    <a:pt x="13119" y="3619"/>
                  </a:lnTo>
                  <a:lnTo>
                    <a:pt x="12623" y="3924"/>
                  </a:lnTo>
                  <a:lnTo>
                    <a:pt x="12115" y="4229"/>
                  </a:lnTo>
                  <a:lnTo>
                    <a:pt x="12230" y="5219"/>
                  </a:lnTo>
                  <a:lnTo>
                    <a:pt x="12725" y="4914"/>
                  </a:lnTo>
                  <a:lnTo>
                    <a:pt x="13233" y="4622"/>
                  </a:lnTo>
                  <a:lnTo>
                    <a:pt x="13741" y="4318"/>
                  </a:lnTo>
                  <a:close/>
                </a:path>
                <a:path w="20320" h="13334">
                  <a:moveTo>
                    <a:pt x="19761" y="800"/>
                  </a:moveTo>
                  <a:lnTo>
                    <a:pt x="19380" y="0"/>
                  </a:lnTo>
                  <a:lnTo>
                    <a:pt x="17843" y="863"/>
                  </a:lnTo>
                  <a:lnTo>
                    <a:pt x="16319" y="1739"/>
                  </a:lnTo>
                  <a:lnTo>
                    <a:pt x="14820" y="2628"/>
                  </a:lnTo>
                  <a:lnTo>
                    <a:pt x="15214" y="3441"/>
                  </a:lnTo>
                  <a:lnTo>
                    <a:pt x="16713" y="2552"/>
                  </a:lnTo>
                  <a:lnTo>
                    <a:pt x="19761" y="80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19" name="object 511">
              <a:extLst>
                <a:ext uri="{FF2B5EF4-FFF2-40B4-BE49-F238E27FC236}">
                  <a16:creationId xmlns:a16="http://schemas.microsoft.com/office/drawing/2014/main" id="{0B85E08F-B8C8-4E1F-AC6B-64D3ABA096B2}"/>
                </a:ext>
              </a:extLst>
            </p:cNvPr>
            <p:cNvSpPr/>
            <p:nvPr/>
          </p:nvSpPr>
          <p:spPr>
            <a:xfrm>
              <a:off x="7962976" y="6135526"/>
              <a:ext cx="20320" cy="13335"/>
            </a:xfrm>
            <a:custGeom>
              <a:avLst/>
              <a:gdLst/>
              <a:ahLst/>
              <a:cxnLst/>
              <a:rect l="l" t="t" r="r" b="b"/>
              <a:pathLst>
                <a:path w="20320" h="13334">
                  <a:moveTo>
                    <a:pt x="1803" y="11912"/>
                  </a:moveTo>
                  <a:lnTo>
                    <a:pt x="1397" y="11061"/>
                  </a:lnTo>
                  <a:lnTo>
                    <a:pt x="927" y="11366"/>
                  </a:lnTo>
                  <a:lnTo>
                    <a:pt x="469" y="11684"/>
                  </a:lnTo>
                  <a:lnTo>
                    <a:pt x="0" y="11988"/>
                  </a:lnTo>
                  <a:lnTo>
                    <a:pt x="419" y="12852"/>
                  </a:lnTo>
                  <a:lnTo>
                    <a:pt x="876" y="12534"/>
                  </a:lnTo>
                  <a:lnTo>
                    <a:pt x="1346" y="12230"/>
                  </a:lnTo>
                  <a:lnTo>
                    <a:pt x="1803" y="11912"/>
                  </a:lnTo>
                  <a:close/>
                </a:path>
                <a:path w="20320" h="13334">
                  <a:moveTo>
                    <a:pt x="8331" y="7658"/>
                  </a:moveTo>
                  <a:lnTo>
                    <a:pt x="7658" y="6997"/>
                  </a:lnTo>
                  <a:lnTo>
                    <a:pt x="4584" y="8953"/>
                  </a:lnTo>
                  <a:lnTo>
                    <a:pt x="3086" y="9944"/>
                  </a:lnTo>
                  <a:lnTo>
                    <a:pt x="3771" y="10604"/>
                  </a:lnTo>
                  <a:lnTo>
                    <a:pt x="5270" y="9613"/>
                  </a:lnTo>
                  <a:lnTo>
                    <a:pt x="8331" y="7658"/>
                  </a:lnTo>
                  <a:close/>
                </a:path>
                <a:path w="20320" h="13334">
                  <a:moveTo>
                    <a:pt x="13436" y="4508"/>
                  </a:moveTo>
                  <a:lnTo>
                    <a:pt x="13322" y="3517"/>
                  </a:lnTo>
                  <a:lnTo>
                    <a:pt x="12306" y="4127"/>
                  </a:lnTo>
                  <a:lnTo>
                    <a:pt x="11811" y="4432"/>
                  </a:lnTo>
                  <a:lnTo>
                    <a:pt x="11912" y="5422"/>
                  </a:lnTo>
                  <a:lnTo>
                    <a:pt x="13436" y="4508"/>
                  </a:lnTo>
                  <a:close/>
                </a:path>
                <a:path w="20320" h="13334">
                  <a:moveTo>
                    <a:pt x="19723" y="800"/>
                  </a:moveTo>
                  <a:lnTo>
                    <a:pt x="19342" y="0"/>
                  </a:lnTo>
                  <a:lnTo>
                    <a:pt x="16294" y="1752"/>
                  </a:lnTo>
                  <a:lnTo>
                    <a:pt x="14795" y="2641"/>
                  </a:lnTo>
                  <a:lnTo>
                    <a:pt x="15189" y="3454"/>
                  </a:lnTo>
                  <a:lnTo>
                    <a:pt x="16687" y="2565"/>
                  </a:lnTo>
                  <a:lnTo>
                    <a:pt x="19723" y="80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0" name="object 512">
              <a:extLst>
                <a:ext uri="{FF2B5EF4-FFF2-40B4-BE49-F238E27FC236}">
                  <a16:creationId xmlns:a16="http://schemas.microsoft.com/office/drawing/2014/main" id="{52843B1B-F08D-429C-8D1E-C167841E5856}"/>
                </a:ext>
              </a:extLst>
            </p:cNvPr>
            <p:cNvSpPr/>
            <p:nvPr/>
          </p:nvSpPr>
          <p:spPr>
            <a:xfrm>
              <a:off x="7963382" y="6136326"/>
              <a:ext cx="20320" cy="13335"/>
            </a:xfrm>
            <a:custGeom>
              <a:avLst/>
              <a:gdLst/>
              <a:ahLst/>
              <a:cxnLst/>
              <a:rect l="l" t="t" r="r" b="b"/>
              <a:pathLst>
                <a:path w="20320" h="13334">
                  <a:moveTo>
                    <a:pt x="1803" y="11963"/>
                  </a:moveTo>
                  <a:lnTo>
                    <a:pt x="1397" y="11112"/>
                  </a:lnTo>
                  <a:lnTo>
                    <a:pt x="927" y="11417"/>
                  </a:lnTo>
                  <a:lnTo>
                    <a:pt x="469" y="11734"/>
                  </a:lnTo>
                  <a:lnTo>
                    <a:pt x="0" y="12052"/>
                  </a:lnTo>
                  <a:lnTo>
                    <a:pt x="419" y="12903"/>
                  </a:lnTo>
                  <a:lnTo>
                    <a:pt x="889" y="12585"/>
                  </a:lnTo>
                  <a:lnTo>
                    <a:pt x="1346" y="12268"/>
                  </a:lnTo>
                  <a:lnTo>
                    <a:pt x="1803" y="11963"/>
                  </a:lnTo>
                  <a:close/>
                </a:path>
                <a:path w="20320" h="13334">
                  <a:moveTo>
                    <a:pt x="8585" y="7543"/>
                  </a:moveTo>
                  <a:lnTo>
                    <a:pt x="7924" y="6870"/>
                  </a:lnTo>
                  <a:lnTo>
                    <a:pt x="4864" y="8826"/>
                  </a:lnTo>
                  <a:lnTo>
                    <a:pt x="3365" y="9817"/>
                  </a:lnTo>
                  <a:lnTo>
                    <a:pt x="4051" y="10477"/>
                  </a:lnTo>
                  <a:lnTo>
                    <a:pt x="5549" y="9486"/>
                  </a:lnTo>
                  <a:lnTo>
                    <a:pt x="7061" y="8509"/>
                  </a:lnTo>
                  <a:lnTo>
                    <a:pt x="8585" y="7543"/>
                  </a:lnTo>
                  <a:close/>
                </a:path>
                <a:path w="20320" h="13334">
                  <a:moveTo>
                    <a:pt x="13157" y="4686"/>
                  </a:moveTo>
                  <a:lnTo>
                    <a:pt x="13042" y="3695"/>
                  </a:lnTo>
                  <a:lnTo>
                    <a:pt x="12534" y="4000"/>
                  </a:lnTo>
                  <a:lnTo>
                    <a:pt x="12026" y="4318"/>
                  </a:lnTo>
                  <a:lnTo>
                    <a:pt x="11518" y="4622"/>
                  </a:lnTo>
                  <a:lnTo>
                    <a:pt x="11633" y="5626"/>
                  </a:lnTo>
                  <a:lnTo>
                    <a:pt x="12141" y="5308"/>
                  </a:lnTo>
                  <a:lnTo>
                    <a:pt x="12649" y="5003"/>
                  </a:lnTo>
                  <a:lnTo>
                    <a:pt x="13157" y="4686"/>
                  </a:lnTo>
                  <a:close/>
                </a:path>
                <a:path w="20320" h="13334">
                  <a:moveTo>
                    <a:pt x="19723" y="800"/>
                  </a:moveTo>
                  <a:lnTo>
                    <a:pt x="19316" y="0"/>
                  </a:lnTo>
                  <a:lnTo>
                    <a:pt x="16281" y="1752"/>
                  </a:lnTo>
                  <a:lnTo>
                    <a:pt x="14782" y="2654"/>
                  </a:lnTo>
                  <a:lnTo>
                    <a:pt x="15176" y="3467"/>
                  </a:lnTo>
                  <a:lnTo>
                    <a:pt x="18186" y="1676"/>
                  </a:lnTo>
                  <a:lnTo>
                    <a:pt x="19723" y="800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1" name="object 513">
              <a:extLst>
                <a:ext uri="{FF2B5EF4-FFF2-40B4-BE49-F238E27FC236}">
                  <a16:creationId xmlns:a16="http://schemas.microsoft.com/office/drawing/2014/main" id="{77806755-C221-4AB2-8F15-3CA653F6F41F}"/>
                </a:ext>
              </a:extLst>
            </p:cNvPr>
            <p:cNvSpPr/>
            <p:nvPr/>
          </p:nvSpPr>
          <p:spPr>
            <a:xfrm>
              <a:off x="7963802" y="6137139"/>
              <a:ext cx="20320" cy="13335"/>
            </a:xfrm>
            <a:custGeom>
              <a:avLst/>
              <a:gdLst/>
              <a:ahLst/>
              <a:cxnLst/>
              <a:rect l="l" t="t" r="r" b="b"/>
              <a:pathLst>
                <a:path w="20320" h="13334">
                  <a:moveTo>
                    <a:pt x="1803" y="12014"/>
                  </a:moveTo>
                  <a:lnTo>
                    <a:pt x="1384" y="11150"/>
                  </a:lnTo>
                  <a:lnTo>
                    <a:pt x="927" y="11468"/>
                  </a:lnTo>
                  <a:lnTo>
                    <a:pt x="0" y="12090"/>
                  </a:lnTo>
                  <a:lnTo>
                    <a:pt x="419" y="12954"/>
                  </a:lnTo>
                  <a:lnTo>
                    <a:pt x="876" y="12636"/>
                  </a:lnTo>
                  <a:lnTo>
                    <a:pt x="1803" y="12014"/>
                  </a:lnTo>
                  <a:close/>
                </a:path>
                <a:path w="20320" h="13334">
                  <a:moveTo>
                    <a:pt x="8839" y="7391"/>
                  </a:moveTo>
                  <a:lnTo>
                    <a:pt x="8166" y="6718"/>
                  </a:lnTo>
                  <a:lnTo>
                    <a:pt x="6629" y="7696"/>
                  </a:lnTo>
                  <a:lnTo>
                    <a:pt x="5118" y="8674"/>
                  </a:lnTo>
                  <a:lnTo>
                    <a:pt x="3619" y="9664"/>
                  </a:lnTo>
                  <a:lnTo>
                    <a:pt x="4305" y="10325"/>
                  </a:lnTo>
                  <a:lnTo>
                    <a:pt x="5803" y="9334"/>
                  </a:lnTo>
                  <a:lnTo>
                    <a:pt x="7315" y="8356"/>
                  </a:lnTo>
                  <a:lnTo>
                    <a:pt x="8839" y="7391"/>
                  </a:lnTo>
                  <a:close/>
                </a:path>
                <a:path w="20320" h="13334">
                  <a:moveTo>
                    <a:pt x="12852" y="4864"/>
                  </a:moveTo>
                  <a:lnTo>
                    <a:pt x="12738" y="3873"/>
                  </a:lnTo>
                  <a:lnTo>
                    <a:pt x="12230" y="4191"/>
                  </a:lnTo>
                  <a:lnTo>
                    <a:pt x="11722" y="4495"/>
                  </a:lnTo>
                  <a:lnTo>
                    <a:pt x="11214" y="4813"/>
                  </a:lnTo>
                  <a:lnTo>
                    <a:pt x="11315" y="5816"/>
                  </a:lnTo>
                  <a:lnTo>
                    <a:pt x="11836" y="5499"/>
                  </a:lnTo>
                  <a:lnTo>
                    <a:pt x="12344" y="5194"/>
                  </a:lnTo>
                  <a:lnTo>
                    <a:pt x="12852" y="4864"/>
                  </a:lnTo>
                  <a:close/>
                </a:path>
                <a:path w="20320" h="13334">
                  <a:moveTo>
                    <a:pt x="19697" y="812"/>
                  </a:moveTo>
                  <a:lnTo>
                    <a:pt x="19304" y="0"/>
                  </a:lnTo>
                  <a:lnTo>
                    <a:pt x="17780" y="876"/>
                  </a:lnTo>
                  <a:lnTo>
                    <a:pt x="16268" y="1765"/>
                  </a:lnTo>
                  <a:lnTo>
                    <a:pt x="14757" y="2667"/>
                  </a:lnTo>
                  <a:lnTo>
                    <a:pt x="15163" y="3479"/>
                  </a:lnTo>
                  <a:lnTo>
                    <a:pt x="16662" y="2578"/>
                  </a:lnTo>
                  <a:lnTo>
                    <a:pt x="18173" y="1689"/>
                  </a:lnTo>
                  <a:lnTo>
                    <a:pt x="19697" y="812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2" name="object 514">
              <a:extLst>
                <a:ext uri="{FF2B5EF4-FFF2-40B4-BE49-F238E27FC236}">
                  <a16:creationId xmlns:a16="http://schemas.microsoft.com/office/drawing/2014/main" id="{45D7EA4B-2DFE-4291-9FE5-C1FE487BFAC1}"/>
                </a:ext>
              </a:extLst>
            </p:cNvPr>
            <p:cNvSpPr/>
            <p:nvPr/>
          </p:nvSpPr>
          <p:spPr>
            <a:xfrm>
              <a:off x="7964220" y="6137939"/>
              <a:ext cx="19685" cy="13335"/>
            </a:xfrm>
            <a:custGeom>
              <a:avLst/>
              <a:gdLst/>
              <a:ahLst/>
              <a:cxnLst/>
              <a:rect l="l" t="t" r="r" b="b"/>
              <a:pathLst>
                <a:path w="19684" h="13334">
                  <a:moveTo>
                    <a:pt x="1803" y="12052"/>
                  </a:moveTo>
                  <a:lnTo>
                    <a:pt x="1384" y="11201"/>
                  </a:lnTo>
                  <a:lnTo>
                    <a:pt x="457" y="11823"/>
                  </a:lnTo>
                  <a:lnTo>
                    <a:pt x="0" y="12141"/>
                  </a:lnTo>
                  <a:lnTo>
                    <a:pt x="419" y="13004"/>
                  </a:lnTo>
                  <a:lnTo>
                    <a:pt x="1333" y="12369"/>
                  </a:lnTo>
                  <a:lnTo>
                    <a:pt x="1803" y="12052"/>
                  </a:lnTo>
                  <a:close/>
                </a:path>
                <a:path w="19684" h="13334">
                  <a:moveTo>
                    <a:pt x="9080" y="7264"/>
                  </a:moveTo>
                  <a:lnTo>
                    <a:pt x="8407" y="6591"/>
                  </a:lnTo>
                  <a:lnTo>
                    <a:pt x="6883" y="7569"/>
                  </a:lnTo>
                  <a:lnTo>
                    <a:pt x="3886" y="9525"/>
                  </a:lnTo>
                  <a:lnTo>
                    <a:pt x="4572" y="10198"/>
                  </a:lnTo>
                  <a:lnTo>
                    <a:pt x="6057" y="9207"/>
                  </a:lnTo>
                  <a:lnTo>
                    <a:pt x="7569" y="8229"/>
                  </a:lnTo>
                  <a:lnTo>
                    <a:pt x="9080" y="7264"/>
                  </a:lnTo>
                  <a:close/>
                </a:path>
                <a:path w="19684" h="13334">
                  <a:moveTo>
                    <a:pt x="12560" y="5080"/>
                  </a:moveTo>
                  <a:lnTo>
                    <a:pt x="12433" y="4076"/>
                  </a:lnTo>
                  <a:lnTo>
                    <a:pt x="11925" y="4394"/>
                  </a:lnTo>
                  <a:lnTo>
                    <a:pt x="11404" y="4711"/>
                  </a:lnTo>
                  <a:lnTo>
                    <a:pt x="10896" y="5029"/>
                  </a:lnTo>
                  <a:lnTo>
                    <a:pt x="11010" y="6045"/>
                  </a:lnTo>
                  <a:lnTo>
                    <a:pt x="11518" y="5715"/>
                  </a:lnTo>
                  <a:lnTo>
                    <a:pt x="12560" y="5080"/>
                  </a:lnTo>
                  <a:close/>
                </a:path>
                <a:path w="19684" h="13334">
                  <a:moveTo>
                    <a:pt x="19659" y="812"/>
                  </a:moveTo>
                  <a:lnTo>
                    <a:pt x="19265" y="0"/>
                  </a:lnTo>
                  <a:lnTo>
                    <a:pt x="17741" y="876"/>
                  </a:lnTo>
                  <a:lnTo>
                    <a:pt x="16243" y="1765"/>
                  </a:lnTo>
                  <a:lnTo>
                    <a:pt x="14744" y="2667"/>
                  </a:lnTo>
                  <a:lnTo>
                    <a:pt x="15138" y="3492"/>
                  </a:lnTo>
                  <a:lnTo>
                    <a:pt x="16624" y="2590"/>
                  </a:lnTo>
                  <a:lnTo>
                    <a:pt x="18148" y="1689"/>
                  </a:lnTo>
                  <a:lnTo>
                    <a:pt x="19659" y="812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3" name="object 515">
              <a:extLst>
                <a:ext uri="{FF2B5EF4-FFF2-40B4-BE49-F238E27FC236}">
                  <a16:creationId xmlns:a16="http://schemas.microsoft.com/office/drawing/2014/main" id="{5069FE34-6B3D-410D-82E2-75E1C38E6D6A}"/>
                </a:ext>
              </a:extLst>
            </p:cNvPr>
            <p:cNvSpPr/>
            <p:nvPr/>
          </p:nvSpPr>
          <p:spPr>
            <a:xfrm>
              <a:off x="7964640" y="6138751"/>
              <a:ext cx="19685" cy="13335"/>
            </a:xfrm>
            <a:custGeom>
              <a:avLst/>
              <a:gdLst/>
              <a:ahLst/>
              <a:cxnLst/>
              <a:rect l="l" t="t" r="r" b="b"/>
              <a:pathLst>
                <a:path w="19684" h="13334">
                  <a:moveTo>
                    <a:pt x="1803" y="12103"/>
                  </a:moveTo>
                  <a:lnTo>
                    <a:pt x="1397" y="11239"/>
                  </a:lnTo>
                  <a:lnTo>
                    <a:pt x="457" y="11874"/>
                  </a:lnTo>
                  <a:lnTo>
                    <a:pt x="0" y="12192"/>
                  </a:lnTo>
                  <a:lnTo>
                    <a:pt x="419" y="13055"/>
                  </a:lnTo>
                  <a:lnTo>
                    <a:pt x="876" y="12738"/>
                  </a:lnTo>
                  <a:lnTo>
                    <a:pt x="1346" y="12420"/>
                  </a:lnTo>
                  <a:lnTo>
                    <a:pt x="1803" y="12103"/>
                  </a:lnTo>
                  <a:close/>
                </a:path>
                <a:path w="19684" h="13334">
                  <a:moveTo>
                    <a:pt x="9347" y="7112"/>
                  </a:moveTo>
                  <a:lnTo>
                    <a:pt x="8674" y="6438"/>
                  </a:lnTo>
                  <a:lnTo>
                    <a:pt x="7150" y="7416"/>
                  </a:lnTo>
                  <a:lnTo>
                    <a:pt x="4165" y="9372"/>
                  </a:lnTo>
                  <a:lnTo>
                    <a:pt x="4851" y="10045"/>
                  </a:lnTo>
                  <a:lnTo>
                    <a:pt x="6337" y="9055"/>
                  </a:lnTo>
                  <a:lnTo>
                    <a:pt x="7835" y="8077"/>
                  </a:lnTo>
                  <a:lnTo>
                    <a:pt x="9347" y="7112"/>
                  </a:lnTo>
                  <a:close/>
                </a:path>
                <a:path w="19684" h="13334">
                  <a:moveTo>
                    <a:pt x="12268" y="5270"/>
                  </a:moveTo>
                  <a:lnTo>
                    <a:pt x="12141" y="4267"/>
                  </a:lnTo>
                  <a:lnTo>
                    <a:pt x="11620" y="4584"/>
                  </a:lnTo>
                  <a:lnTo>
                    <a:pt x="10604" y="5219"/>
                  </a:lnTo>
                  <a:lnTo>
                    <a:pt x="10706" y="6248"/>
                  </a:lnTo>
                  <a:lnTo>
                    <a:pt x="11226" y="5918"/>
                  </a:lnTo>
                  <a:lnTo>
                    <a:pt x="11747" y="5600"/>
                  </a:lnTo>
                  <a:lnTo>
                    <a:pt x="12268" y="5270"/>
                  </a:lnTo>
                  <a:close/>
                </a:path>
                <a:path w="19684" h="13334">
                  <a:moveTo>
                    <a:pt x="19634" y="812"/>
                  </a:moveTo>
                  <a:lnTo>
                    <a:pt x="19240" y="0"/>
                  </a:lnTo>
                  <a:lnTo>
                    <a:pt x="16205" y="1778"/>
                  </a:lnTo>
                  <a:lnTo>
                    <a:pt x="14719" y="2679"/>
                  </a:lnTo>
                  <a:lnTo>
                    <a:pt x="15113" y="3505"/>
                  </a:lnTo>
                  <a:lnTo>
                    <a:pt x="16598" y="2590"/>
                  </a:lnTo>
                  <a:lnTo>
                    <a:pt x="19634" y="812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4" name="object 516">
              <a:extLst>
                <a:ext uri="{FF2B5EF4-FFF2-40B4-BE49-F238E27FC236}">
                  <a16:creationId xmlns:a16="http://schemas.microsoft.com/office/drawing/2014/main" id="{BC5EAF1D-9DD2-44E3-86CA-6A6AF7AFD7C5}"/>
                </a:ext>
              </a:extLst>
            </p:cNvPr>
            <p:cNvSpPr/>
            <p:nvPr/>
          </p:nvSpPr>
          <p:spPr>
            <a:xfrm>
              <a:off x="7965059" y="6139564"/>
              <a:ext cx="19685" cy="13335"/>
            </a:xfrm>
            <a:custGeom>
              <a:avLst/>
              <a:gdLst/>
              <a:ahLst/>
              <a:cxnLst/>
              <a:rect l="l" t="t" r="r" b="b"/>
              <a:pathLst>
                <a:path w="19684" h="13334">
                  <a:moveTo>
                    <a:pt x="1803" y="12153"/>
                  </a:moveTo>
                  <a:lnTo>
                    <a:pt x="1384" y="11290"/>
                  </a:lnTo>
                  <a:lnTo>
                    <a:pt x="914" y="11607"/>
                  </a:lnTo>
                  <a:lnTo>
                    <a:pt x="0" y="12242"/>
                  </a:lnTo>
                  <a:lnTo>
                    <a:pt x="419" y="13106"/>
                  </a:lnTo>
                  <a:lnTo>
                    <a:pt x="1333" y="12471"/>
                  </a:lnTo>
                  <a:lnTo>
                    <a:pt x="1803" y="12153"/>
                  </a:lnTo>
                  <a:close/>
                </a:path>
                <a:path w="19684" h="13334">
                  <a:moveTo>
                    <a:pt x="9601" y="6972"/>
                  </a:moveTo>
                  <a:lnTo>
                    <a:pt x="8928" y="6299"/>
                  </a:lnTo>
                  <a:lnTo>
                    <a:pt x="7404" y="7264"/>
                  </a:lnTo>
                  <a:lnTo>
                    <a:pt x="5918" y="8242"/>
                  </a:lnTo>
                  <a:lnTo>
                    <a:pt x="4432" y="9232"/>
                  </a:lnTo>
                  <a:lnTo>
                    <a:pt x="5118" y="9906"/>
                  </a:lnTo>
                  <a:lnTo>
                    <a:pt x="6591" y="8915"/>
                  </a:lnTo>
                  <a:lnTo>
                    <a:pt x="8089" y="7937"/>
                  </a:lnTo>
                  <a:lnTo>
                    <a:pt x="9601" y="6972"/>
                  </a:lnTo>
                  <a:close/>
                </a:path>
                <a:path w="19684" h="13334">
                  <a:moveTo>
                    <a:pt x="11950" y="5473"/>
                  </a:moveTo>
                  <a:lnTo>
                    <a:pt x="11836" y="4457"/>
                  </a:lnTo>
                  <a:lnTo>
                    <a:pt x="11315" y="4787"/>
                  </a:lnTo>
                  <a:lnTo>
                    <a:pt x="10795" y="5105"/>
                  </a:lnTo>
                  <a:lnTo>
                    <a:pt x="10287" y="5435"/>
                  </a:lnTo>
                  <a:lnTo>
                    <a:pt x="10388" y="6451"/>
                  </a:lnTo>
                  <a:lnTo>
                    <a:pt x="11430" y="5791"/>
                  </a:lnTo>
                  <a:lnTo>
                    <a:pt x="11950" y="5473"/>
                  </a:lnTo>
                  <a:close/>
                </a:path>
                <a:path w="19684" h="13334">
                  <a:moveTo>
                    <a:pt x="19608" y="812"/>
                  </a:moveTo>
                  <a:lnTo>
                    <a:pt x="19215" y="0"/>
                  </a:lnTo>
                  <a:lnTo>
                    <a:pt x="16192" y="1778"/>
                  </a:lnTo>
                  <a:lnTo>
                    <a:pt x="14693" y="2692"/>
                  </a:lnTo>
                  <a:lnTo>
                    <a:pt x="15100" y="3517"/>
                  </a:lnTo>
                  <a:lnTo>
                    <a:pt x="16598" y="2603"/>
                  </a:lnTo>
                  <a:lnTo>
                    <a:pt x="18097" y="1701"/>
                  </a:lnTo>
                  <a:lnTo>
                    <a:pt x="19608" y="812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5" name="object 517">
              <a:extLst>
                <a:ext uri="{FF2B5EF4-FFF2-40B4-BE49-F238E27FC236}">
                  <a16:creationId xmlns:a16="http://schemas.microsoft.com/office/drawing/2014/main" id="{1DBBC085-9D93-400D-A186-9815F0BC6A31}"/>
                </a:ext>
              </a:extLst>
            </p:cNvPr>
            <p:cNvSpPr/>
            <p:nvPr/>
          </p:nvSpPr>
          <p:spPr>
            <a:xfrm>
              <a:off x="7965478" y="6140377"/>
              <a:ext cx="19685" cy="13335"/>
            </a:xfrm>
            <a:custGeom>
              <a:avLst/>
              <a:gdLst/>
              <a:ahLst/>
              <a:cxnLst/>
              <a:rect l="l" t="t" r="r" b="b"/>
              <a:pathLst>
                <a:path w="19684" h="13334">
                  <a:moveTo>
                    <a:pt x="1803" y="12204"/>
                  </a:moveTo>
                  <a:lnTo>
                    <a:pt x="1384" y="11341"/>
                  </a:lnTo>
                  <a:lnTo>
                    <a:pt x="914" y="11658"/>
                  </a:lnTo>
                  <a:lnTo>
                    <a:pt x="457" y="11976"/>
                  </a:lnTo>
                  <a:lnTo>
                    <a:pt x="0" y="12306"/>
                  </a:lnTo>
                  <a:lnTo>
                    <a:pt x="419" y="13169"/>
                  </a:lnTo>
                  <a:lnTo>
                    <a:pt x="1803" y="12204"/>
                  </a:lnTo>
                  <a:close/>
                </a:path>
                <a:path w="19684" h="13334">
                  <a:moveTo>
                    <a:pt x="9855" y="6819"/>
                  </a:moveTo>
                  <a:lnTo>
                    <a:pt x="9182" y="6159"/>
                  </a:lnTo>
                  <a:lnTo>
                    <a:pt x="7670" y="7124"/>
                  </a:lnTo>
                  <a:lnTo>
                    <a:pt x="6172" y="8102"/>
                  </a:lnTo>
                  <a:lnTo>
                    <a:pt x="4699" y="9093"/>
                  </a:lnTo>
                  <a:lnTo>
                    <a:pt x="5384" y="9766"/>
                  </a:lnTo>
                  <a:lnTo>
                    <a:pt x="6858" y="8775"/>
                  </a:lnTo>
                  <a:lnTo>
                    <a:pt x="8343" y="7797"/>
                  </a:lnTo>
                  <a:lnTo>
                    <a:pt x="9855" y="6819"/>
                  </a:lnTo>
                  <a:close/>
                </a:path>
                <a:path w="19684" h="13334">
                  <a:moveTo>
                    <a:pt x="11658" y="5676"/>
                  </a:moveTo>
                  <a:lnTo>
                    <a:pt x="11544" y="4660"/>
                  </a:lnTo>
                  <a:lnTo>
                    <a:pt x="11023" y="4978"/>
                  </a:lnTo>
                  <a:lnTo>
                    <a:pt x="10502" y="5321"/>
                  </a:lnTo>
                  <a:lnTo>
                    <a:pt x="9982" y="5651"/>
                  </a:lnTo>
                  <a:lnTo>
                    <a:pt x="10096" y="6680"/>
                  </a:lnTo>
                  <a:lnTo>
                    <a:pt x="10617" y="6337"/>
                  </a:lnTo>
                  <a:lnTo>
                    <a:pt x="11658" y="5676"/>
                  </a:lnTo>
                  <a:close/>
                </a:path>
                <a:path w="19684" h="13334">
                  <a:moveTo>
                    <a:pt x="19583" y="812"/>
                  </a:moveTo>
                  <a:lnTo>
                    <a:pt x="19189" y="0"/>
                  </a:lnTo>
                  <a:lnTo>
                    <a:pt x="17665" y="889"/>
                  </a:lnTo>
                  <a:lnTo>
                    <a:pt x="16167" y="1790"/>
                  </a:lnTo>
                  <a:lnTo>
                    <a:pt x="14681" y="2705"/>
                  </a:lnTo>
                  <a:lnTo>
                    <a:pt x="15074" y="3530"/>
                  </a:lnTo>
                  <a:lnTo>
                    <a:pt x="16573" y="2616"/>
                  </a:lnTo>
                  <a:lnTo>
                    <a:pt x="19583" y="812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6" name="object 518">
              <a:extLst>
                <a:ext uri="{FF2B5EF4-FFF2-40B4-BE49-F238E27FC236}">
                  <a16:creationId xmlns:a16="http://schemas.microsoft.com/office/drawing/2014/main" id="{02DB574A-2323-4042-BC5E-2C0A5CF82D4B}"/>
                </a:ext>
              </a:extLst>
            </p:cNvPr>
            <p:cNvSpPr/>
            <p:nvPr/>
          </p:nvSpPr>
          <p:spPr>
            <a:xfrm>
              <a:off x="7965897" y="6141190"/>
              <a:ext cx="19685" cy="13335"/>
            </a:xfrm>
            <a:custGeom>
              <a:avLst/>
              <a:gdLst/>
              <a:ahLst/>
              <a:cxnLst/>
              <a:rect l="l" t="t" r="r" b="b"/>
              <a:pathLst>
                <a:path w="19684" h="13334">
                  <a:moveTo>
                    <a:pt x="1803" y="12242"/>
                  </a:moveTo>
                  <a:lnTo>
                    <a:pt x="1727" y="12090"/>
                  </a:lnTo>
                  <a:lnTo>
                    <a:pt x="1384" y="11379"/>
                  </a:lnTo>
                  <a:lnTo>
                    <a:pt x="0" y="12344"/>
                  </a:lnTo>
                  <a:lnTo>
                    <a:pt x="190" y="12738"/>
                  </a:lnTo>
                  <a:lnTo>
                    <a:pt x="266" y="12903"/>
                  </a:lnTo>
                  <a:lnTo>
                    <a:pt x="342" y="13055"/>
                  </a:lnTo>
                  <a:lnTo>
                    <a:pt x="419" y="13220"/>
                  </a:lnTo>
                  <a:lnTo>
                    <a:pt x="876" y="12890"/>
                  </a:lnTo>
                  <a:lnTo>
                    <a:pt x="1803" y="12242"/>
                  </a:lnTo>
                  <a:close/>
                </a:path>
                <a:path w="19684" h="13334">
                  <a:moveTo>
                    <a:pt x="11366" y="5867"/>
                  </a:moveTo>
                  <a:lnTo>
                    <a:pt x="11239" y="4851"/>
                  </a:lnTo>
                  <a:lnTo>
                    <a:pt x="9677" y="5854"/>
                  </a:lnTo>
                  <a:lnTo>
                    <a:pt x="9728" y="6299"/>
                  </a:lnTo>
                  <a:lnTo>
                    <a:pt x="9436" y="6007"/>
                  </a:lnTo>
                  <a:lnTo>
                    <a:pt x="7924" y="6972"/>
                  </a:lnTo>
                  <a:lnTo>
                    <a:pt x="6438" y="7950"/>
                  </a:lnTo>
                  <a:lnTo>
                    <a:pt x="4965" y="8953"/>
                  </a:lnTo>
                  <a:lnTo>
                    <a:pt x="5651" y="9613"/>
                  </a:lnTo>
                  <a:lnTo>
                    <a:pt x="7531" y="8356"/>
                  </a:lnTo>
                  <a:lnTo>
                    <a:pt x="9436" y="7099"/>
                  </a:lnTo>
                  <a:lnTo>
                    <a:pt x="11366" y="5867"/>
                  </a:lnTo>
                  <a:close/>
                </a:path>
                <a:path w="19684" h="13334">
                  <a:moveTo>
                    <a:pt x="19558" y="812"/>
                  </a:moveTo>
                  <a:lnTo>
                    <a:pt x="19164" y="0"/>
                  </a:lnTo>
                  <a:lnTo>
                    <a:pt x="17653" y="889"/>
                  </a:lnTo>
                  <a:lnTo>
                    <a:pt x="14655" y="2717"/>
                  </a:lnTo>
                  <a:lnTo>
                    <a:pt x="15062" y="3543"/>
                  </a:lnTo>
                  <a:lnTo>
                    <a:pt x="16548" y="2628"/>
                  </a:lnTo>
                  <a:lnTo>
                    <a:pt x="19558" y="812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7" name="object 519">
              <a:extLst>
                <a:ext uri="{FF2B5EF4-FFF2-40B4-BE49-F238E27FC236}">
                  <a16:creationId xmlns:a16="http://schemas.microsoft.com/office/drawing/2014/main" id="{F9F2907D-9483-462D-8459-F058FB4AB346}"/>
                </a:ext>
              </a:extLst>
            </p:cNvPr>
            <p:cNvSpPr/>
            <p:nvPr/>
          </p:nvSpPr>
          <p:spPr>
            <a:xfrm>
              <a:off x="7966316" y="6142003"/>
              <a:ext cx="19685" cy="13335"/>
            </a:xfrm>
            <a:custGeom>
              <a:avLst/>
              <a:gdLst/>
              <a:ahLst/>
              <a:cxnLst/>
              <a:rect l="l" t="t" r="r" b="b"/>
              <a:pathLst>
                <a:path w="19684" h="13334">
                  <a:moveTo>
                    <a:pt x="1803" y="12293"/>
                  </a:moveTo>
                  <a:lnTo>
                    <a:pt x="1536" y="11734"/>
                  </a:lnTo>
                  <a:lnTo>
                    <a:pt x="1384" y="11430"/>
                  </a:lnTo>
                  <a:lnTo>
                    <a:pt x="457" y="12077"/>
                  </a:lnTo>
                  <a:lnTo>
                    <a:pt x="0" y="12407"/>
                  </a:lnTo>
                  <a:lnTo>
                    <a:pt x="139" y="12712"/>
                  </a:lnTo>
                  <a:lnTo>
                    <a:pt x="279" y="13004"/>
                  </a:lnTo>
                  <a:lnTo>
                    <a:pt x="406" y="13284"/>
                  </a:lnTo>
                  <a:lnTo>
                    <a:pt x="876" y="12954"/>
                  </a:lnTo>
                  <a:lnTo>
                    <a:pt x="1333" y="12623"/>
                  </a:lnTo>
                  <a:lnTo>
                    <a:pt x="1803" y="12293"/>
                  </a:lnTo>
                  <a:close/>
                </a:path>
                <a:path w="19684" h="13334">
                  <a:moveTo>
                    <a:pt x="11061" y="6083"/>
                  </a:moveTo>
                  <a:lnTo>
                    <a:pt x="10947" y="5054"/>
                  </a:lnTo>
                  <a:lnTo>
                    <a:pt x="9017" y="6286"/>
                  </a:lnTo>
                  <a:lnTo>
                    <a:pt x="7112" y="7543"/>
                  </a:lnTo>
                  <a:lnTo>
                    <a:pt x="5232" y="8801"/>
                  </a:lnTo>
                  <a:lnTo>
                    <a:pt x="5918" y="9474"/>
                  </a:lnTo>
                  <a:lnTo>
                    <a:pt x="7620" y="8331"/>
                  </a:lnTo>
                  <a:lnTo>
                    <a:pt x="9334" y="7200"/>
                  </a:lnTo>
                  <a:lnTo>
                    <a:pt x="11061" y="6083"/>
                  </a:lnTo>
                  <a:close/>
                </a:path>
                <a:path w="19684" h="13334">
                  <a:moveTo>
                    <a:pt x="19545" y="812"/>
                  </a:moveTo>
                  <a:lnTo>
                    <a:pt x="19151" y="0"/>
                  </a:lnTo>
                  <a:lnTo>
                    <a:pt x="17640" y="889"/>
                  </a:lnTo>
                  <a:lnTo>
                    <a:pt x="16141" y="1803"/>
                  </a:lnTo>
                  <a:lnTo>
                    <a:pt x="14655" y="2730"/>
                  </a:lnTo>
                  <a:lnTo>
                    <a:pt x="15049" y="3556"/>
                  </a:lnTo>
                  <a:lnTo>
                    <a:pt x="16535" y="2628"/>
                  </a:lnTo>
                  <a:lnTo>
                    <a:pt x="18034" y="1714"/>
                  </a:lnTo>
                  <a:lnTo>
                    <a:pt x="19545" y="812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8" name="object 520">
              <a:extLst>
                <a:ext uri="{FF2B5EF4-FFF2-40B4-BE49-F238E27FC236}">
                  <a16:creationId xmlns:a16="http://schemas.microsoft.com/office/drawing/2014/main" id="{8E0C6411-3409-4600-8A60-1FFBD7B47977}"/>
                </a:ext>
              </a:extLst>
            </p:cNvPr>
            <p:cNvSpPr/>
            <p:nvPr/>
          </p:nvSpPr>
          <p:spPr>
            <a:xfrm>
              <a:off x="7966723" y="6142828"/>
              <a:ext cx="19685" cy="13970"/>
            </a:xfrm>
            <a:custGeom>
              <a:avLst/>
              <a:gdLst/>
              <a:ahLst/>
              <a:cxnLst/>
              <a:rect l="l" t="t" r="r" b="b"/>
              <a:pathLst>
                <a:path w="19684" h="13970">
                  <a:moveTo>
                    <a:pt x="1841" y="12331"/>
                  </a:moveTo>
                  <a:lnTo>
                    <a:pt x="1701" y="12065"/>
                  </a:lnTo>
                  <a:lnTo>
                    <a:pt x="1549" y="11785"/>
                  </a:lnTo>
                  <a:lnTo>
                    <a:pt x="1397" y="11480"/>
                  </a:lnTo>
                  <a:lnTo>
                    <a:pt x="927" y="11811"/>
                  </a:lnTo>
                  <a:lnTo>
                    <a:pt x="469" y="12141"/>
                  </a:lnTo>
                  <a:lnTo>
                    <a:pt x="0" y="12471"/>
                  </a:lnTo>
                  <a:lnTo>
                    <a:pt x="139" y="12788"/>
                  </a:lnTo>
                  <a:lnTo>
                    <a:pt x="381" y="13360"/>
                  </a:lnTo>
                  <a:lnTo>
                    <a:pt x="863" y="13017"/>
                  </a:lnTo>
                  <a:lnTo>
                    <a:pt x="1358" y="12674"/>
                  </a:lnTo>
                  <a:lnTo>
                    <a:pt x="1841" y="12331"/>
                  </a:lnTo>
                  <a:close/>
                </a:path>
                <a:path w="19684" h="13970">
                  <a:moveTo>
                    <a:pt x="10782" y="6286"/>
                  </a:moveTo>
                  <a:lnTo>
                    <a:pt x="10655" y="5257"/>
                  </a:lnTo>
                  <a:lnTo>
                    <a:pt x="8928" y="6375"/>
                  </a:lnTo>
                  <a:lnTo>
                    <a:pt x="7200" y="7505"/>
                  </a:lnTo>
                  <a:lnTo>
                    <a:pt x="5511" y="8648"/>
                  </a:lnTo>
                  <a:lnTo>
                    <a:pt x="6197" y="9321"/>
                  </a:lnTo>
                  <a:lnTo>
                    <a:pt x="7708" y="8293"/>
                  </a:lnTo>
                  <a:lnTo>
                    <a:pt x="9232" y="7289"/>
                  </a:lnTo>
                  <a:lnTo>
                    <a:pt x="10782" y="6286"/>
                  </a:lnTo>
                  <a:close/>
                </a:path>
                <a:path w="19684" h="13970">
                  <a:moveTo>
                    <a:pt x="19545" y="812"/>
                  </a:moveTo>
                  <a:lnTo>
                    <a:pt x="19138" y="0"/>
                  </a:lnTo>
                  <a:lnTo>
                    <a:pt x="17627" y="901"/>
                  </a:lnTo>
                  <a:lnTo>
                    <a:pt x="16129" y="1816"/>
                  </a:lnTo>
                  <a:lnTo>
                    <a:pt x="14643" y="2743"/>
                  </a:lnTo>
                  <a:lnTo>
                    <a:pt x="15049" y="3568"/>
                  </a:lnTo>
                  <a:lnTo>
                    <a:pt x="16535" y="2641"/>
                  </a:lnTo>
                  <a:lnTo>
                    <a:pt x="19545" y="812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29" name="object 521">
              <a:extLst>
                <a:ext uri="{FF2B5EF4-FFF2-40B4-BE49-F238E27FC236}">
                  <a16:creationId xmlns:a16="http://schemas.microsoft.com/office/drawing/2014/main" id="{430DB7BD-5B1C-4E7E-84A6-7303532FB3D7}"/>
                </a:ext>
              </a:extLst>
            </p:cNvPr>
            <p:cNvSpPr/>
            <p:nvPr/>
          </p:nvSpPr>
          <p:spPr>
            <a:xfrm>
              <a:off x="7967104" y="6143628"/>
              <a:ext cx="19685" cy="13970"/>
            </a:xfrm>
            <a:custGeom>
              <a:avLst/>
              <a:gdLst/>
              <a:ahLst/>
              <a:cxnLst/>
              <a:rect l="l" t="t" r="r" b="b"/>
              <a:pathLst>
                <a:path w="19684" h="13970">
                  <a:moveTo>
                    <a:pt x="1943" y="12357"/>
                  </a:moveTo>
                  <a:lnTo>
                    <a:pt x="1778" y="12115"/>
                  </a:lnTo>
                  <a:lnTo>
                    <a:pt x="1625" y="11823"/>
                  </a:lnTo>
                  <a:lnTo>
                    <a:pt x="1460" y="11531"/>
                  </a:lnTo>
                  <a:lnTo>
                    <a:pt x="977" y="11874"/>
                  </a:lnTo>
                  <a:lnTo>
                    <a:pt x="482" y="12217"/>
                  </a:lnTo>
                  <a:lnTo>
                    <a:pt x="0" y="12560"/>
                  </a:lnTo>
                  <a:lnTo>
                    <a:pt x="139" y="12915"/>
                  </a:lnTo>
                  <a:lnTo>
                    <a:pt x="241" y="13220"/>
                  </a:lnTo>
                  <a:lnTo>
                    <a:pt x="330" y="13500"/>
                  </a:lnTo>
                  <a:lnTo>
                    <a:pt x="1397" y="12738"/>
                  </a:lnTo>
                  <a:lnTo>
                    <a:pt x="1943" y="12357"/>
                  </a:lnTo>
                  <a:close/>
                </a:path>
                <a:path w="19684" h="13970">
                  <a:moveTo>
                    <a:pt x="10515" y="6515"/>
                  </a:moveTo>
                  <a:lnTo>
                    <a:pt x="10388" y="5486"/>
                  </a:lnTo>
                  <a:lnTo>
                    <a:pt x="7327" y="7493"/>
                  </a:lnTo>
                  <a:lnTo>
                    <a:pt x="5803" y="8521"/>
                  </a:lnTo>
                  <a:lnTo>
                    <a:pt x="6502" y="9194"/>
                  </a:lnTo>
                  <a:lnTo>
                    <a:pt x="7823" y="8293"/>
                  </a:lnTo>
                  <a:lnTo>
                    <a:pt x="10515" y="6515"/>
                  </a:lnTo>
                  <a:close/>
                </a:path>
                <a:path w="19684" h="13970">
                  <a:moveTo>
                    <a:pt x="19545" y="825"/>
                  </a:moveTo>
                  <a:lnTo>
                    <a:pt x="19151" y="0"/>
                  </a:lnTo>
                  <a:lnTo>
                    <a:pt x="16141" y="1828"/>
                  </a:lnTo>
                  <a:lnTo>
                    <a:pt x="14655" y="2755"/>
                  </a:lnTo>
                  <a:lnTo>
                    <a:pt x="15062" y="3594"/>
                  </a:lnTo>
                  <a:lnTo>
                    <a:pt x="16548" y="2654"/>
                  </a:lnTo>
                  <a:lnTo>
                    <a:pt x="19545" y="825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0" name="object 522">
              <a:extLst>
                <a:ext uri="{FF2B5EF4-FFF2-40B4-BE49-F238E27FC236}">
                  <a16:creationId xmlns:a16="http://schemas.microsoft.com/office/drawing/2014/main" id="{9220E8E2-82C3-4EE0-BCF1-5C38E54D34A6}"/>
                </a:ext>
              </a:extLst>
            </p:cNvPr>
            <p:cNvSpPr/>
            <p:nvPr/>
          </p:nvSpPr>
          <p:spPr>
            <a:xfrm>
              <a:off x="7967447" y="6144454"/>
              <a:ext cx="19685" cy="13970"/>
            </a:xfrm>
            <a:custGeom>
              <a:avLst/>
              <a:gdLst/>
              <a:ahLst/>
              <a:cxnLst/>
              <a:rect l="l" t="t" r="r" b="b"/>
              <a:pathLst>
                <a:path w="19684" h="13970">
                  <a:moveTo>
                    <a:pt x="2146" y="12319"/>
                  </a:moveTo>
                  <a:lnTo>
                    <a:pt x="1968" y="12103"/>
                  </a:lnTo>
                  <a:lnTo>
                    <a:pt x="1790" y="11836"/>
                  </a:lnTo>
                  <a:lnTo>
                    <a:pt x="1600" y="11531"/>
                  </a:lnTo>
                  <a:lnTo>
                    <a:pt x="0" y="12674"/>
                  </a:lnTo>
                  <a:lnTo>
                    <a:pt x="114" y="13068"/>
                  </a:lnTo>
                  <a:lnTo>
                    <a:pt x="177" y="13411"/>
                  </a:lnTo>
                  <a:lnTo>
                    <a:pt x="190" y="13716"/>
                  </a:lnTo>
                  <a:lnTo>
                    <a:pt x="838" y="13246"/>
                  </a:lnTo>
                  <a:lnTo>
                    <a:pt x="2146" y="12319"/>
                  </a:lnTo>
                  <a:close/>
                </a:path>
                <a:path w="19684" h="13970">
                  <a:moveTo>
                    <a:pt x="10299" y="6731"/>
                  </a:moveTo>
                  <a:lnTo>
                    <a:pt x="10172" y="5689"/>
                  </a:lnTo>
                  <a:lnTo>
                    <a:pt x="7480" y="7467"/>
                  </a:lnTo>
                  <a:lnTo>
                    <a:pt x="6159" y="8369"/>
                  </a:lnTo>
                  <a:lnTo>
                    <a:pt x="6845" y="9042"/>
                  </a:lnTo>
                  <a:lnTo>
                    <a:pt x="9144" y="7493"/>
                  </a:lnTo>
                  <a:lnTo>
                    <a:pt x="10299" y="6731"/>
                  </a:lnTo>
                  <a:close/>
                </a:path>
                <a:path w="19684" h="13970">
                  <a:moveTo>
                    <a:pt x="19608" y="825"/>
                  </a:moveTo>
                  <a:lnTo>
                    <a:pt x="19202" y="0"/>
                  </a:lnTo>
                  <a:lnTo>
                    <a:pt x="17703" y="914"/>
                  </a:lnTo>
                  <a:lnTo>
                    <a:pt x="14719" y="2768"/>
                  </a:lnTo>
                  <a:lnTo>
                    <a:pt x="15125" y="3606"/>
                  </a:lnTo>
                  <a:lnTo>
                    <a:pt x="16611" y="2667"/>
                  </a:lnTo>
                  <a:lnTo>
                    <a:pt x="18097" y="1739"/>
                  </a:lnTo>
                  <a:lnTo>
                    <a:pt x="19608" y="825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1" name="object 523">
              <a:extLst>
                <a:ext uri="{FF2B5EF4-FFF2-40B4-BE49-F238E27FC236}">
                  <a16:creationId xmlns:a16="http://schemas.microsoft.com/office/drawing/2014/main" id="{1EA42496-F3A4-4D50-A795-448356FEBC51}"/>
                </a:ext>
              </a:extLst>
            </p:cNvPr>
            <p:cNvSpPr/>
            <p:nvPr/>
          </p:nvSpPr>
          <p:spPr>
            <a:xfrm>
              <a:off x="7966837" y="6145267"/>
              <a:ext cx="20955" cy="15240"/>
            </a:xfrm>
            <a:custGeom>
              <a:avLst/>
              <a:gdLst/>
              <a:ahLst/>
              <a:cxnLst/>
              <a:rect l="l" t="t" r="r" b="b"/>
              <a:pathLst>
                <a:path w="20954" h="15240">
                  <a:moveTo>
                    <a:pt x="3467" y="12166"/>
                  </a:moveTo>
                  <a:lnTo>
                    <a:pt x="3213" y="12014"/>
                  </a:lnTo>
                  <a:lnTo>
                    <a:pt x="2984" y="11811"/>
                  </a:lnTo>
                  <a:lnTo>
                    <a:pt x="2743" y="11506"/>
                  </a:lnTo>
                  <a:lnTo>
                    <a:pt x="1435" y="12433"/>
                  </a:lnTo>
                  <a:lnTo>
                    <a:pt x="787" y="12903"/>
                  </a:lnTo>
                  <a:lnTo>
                    <a:pt x="825" y="13627"/>
                  </a:lnTo>
                  <a:lnTo>
                    <a:pt x="558" y="14135"/>
                  </a:lnTo>
                  <a:lnTo>
                    <a:pt x="0" y="14668"/>
                  </a:lnTo>
                  <a:lnTo>
                    <a:pt x="1143" y="13830"/>
                  </a:lnTo>
                  <a:lnTo>
                    <a:pt x="2298" y="12992"/>
                  </a:lnTo>
                  <a:lnTo>
                    <a:pt x="3467" y="12166"/>
                  </a:lnTo>
                  <a:close/>
                </a:path>
                <a:path w="20954" h="15240">
                  <a:moveTo>
                    <a:pt x="11036" y="6959"/>
                  </a:moveTo>
                  <a:lnTo>
                    <a:pt x="10909" y="5918"/>
                  </a:lnTo>
                  <a:lnTo>
                    <a:pt x="9753" y="6680"/>
                  </a:lnTo>
                  <a:lnTo>
                    <a:pt x="8597" y="7454"/>
                  </a:lnTo>
                  <a:lnTo>
                    <a:pt x="7467" y="8229"/>
                  </a:lnTo>
                  <a:lnTo>
                    <a:pt x="8153" y="8902"/>
                  </a:lnTo>
                  <a:lnTo>
                    <a:pt x="11036" y="6959"/>
                  </a:lnTo>
                  <a:close/>
                </a:path>
                <a:path w="20954" h="15240">
                  <a:moveTo>
                    <a:pt x="20612" y="825"/>
                  </a:moveTo>
                  <a:lnTo>
                    <a:pt x="20218" y="0"/>
                  </a:lnTo>
                  <a:lnTo>
                    <a:pt x="17208" y="1854"/>
                  </a:lnTo>
                  <a:lnTo>
                    <a:pt x="15735" y="2781"/>
                  </a:lnTo>
                  <a:lnTo>
                    <a:pt x="16141" y="3619"/>
                  </a:lnTo>
                  <a:lnTo>
                    <a:pt x="17614" y="2679"/>
                  </a:lnTo>
                  <a:lnTo>
                    <a:pt x="20612" y="825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2" name="object 524">
              <a:extLst>
                <a:ext uri="{FF2B5EF4-FFF2-40B4-BE49-F238E27FC236}">
                  <a16:creationId xmlns:a16="http://schemas.microsoft.com/office/drawing/2014/main" id="{30B08A78-373A-4161-922F-90FC5F7FB477}"/>
                </a:ext>
              </a:extLst>
            </p:cNvPr>
            <p:cNvSpPr/>
            <p:nvPr/>
          </p:nvSpPr>
          <p:spPr>
            <a:xfrm>
              <a:off x="7965770" y="6146105"/>
              <a:ext cx="22225" cy="15875"/>
            </a:xfrm>
            <a:custGeom>
              <a:avLst/>
              <a:gdLst/>
              <a:ahLst/>
              <a:cxnLst/>
              <a:rect l="l" t="t" r="r" b="b"/>
              <a:pathLst>
                <a:path w="22225" h="15875">
                  <a:moveTo>
                    <a:pt x="5842" y="11569"/>
                  </a:moveTo>
                  <a:lnTo>
                    <a:pt x="5334" y="11633"/>
                  </a:lnTo>
                  <a:lnTo>
                    <a:pt x="4914" y="11569"/>
                  </a:lnTo>
                  <a:lnTo>
                    <a:pt x="4533" y="11328"/>
                  </a:lnTo>
                  <a:lnTo>
                    <a:pt x="3365" y="12153"/>
                  </a:lnTo>
                  <a:lnTo>
                    <a:pt x="1066" y="13830"/>
                  </a:lnTo>
                  <a:lnTo>
                    <a:pt x="787" y="14109"/>
                  </a:lnTo>
                  <a:lnTo>
                    <a:pt x="431" y="14389"/>
                  </a:lnTo>
                  <a:lnTo>
                    <a:pt x="0" y="14706"/>
                  </a:lnTo>
                  <a:lnTo>
                    <a:pt x="406" y="15532"/>
                  </a:lnTo>
                  <a:lnTo>
                    <a:pt x="2184" y="14198"/>
                  </a:lnTo>
                  <a:lnTo>
                    <a:pt x="4000" y="12877"/>
                  </a:lnTo>
                  <a:lnTo>
                    <a:pt x="5842" y="11569"/>
                  </a:lnTo>
                  <a:close/>
                </a:path>
                <a:path w="22225" h="15875">
                  <a:moveTo>
                    <a:pt x="12230" y="7150"/>
                  </a:moveTo>
                  <a:lnTo>
                    <a:pt x="12103" y="6108"/>
                  </a:lnTo>
                  <a:lnTo>
                    <a:pt x="11125" y="6756"/>
                  </a:lnTo>
                  <a:lnTo>
                    <a:pt x="10172" y="7404"/>
                  </a:lnTo>
                  <a:lnTo>
                    <a:pt x="9207" y="8051"/>
                  </a:lnTo>
                  <a:lnTo>
                    <a:pt x="9906" y="8724"/>
                  </a:lnTo>
                  <a:lnTo>
                    <a:pt x="10680" y="8204"/>
                  </a:lnTo>
                  <a:lnTo>
                    <a:pt x="11442" y="7670"/>
                  </a:lnTo>
                  <a:lnTo>
                    <a:pt x="12230" y="7150"/>
                  </a:lnTo>
                  <a:close/>
                </a:path>
                <a:path w="22225" h="15875">
                  <a:moveTo>
                    <a:pt x="22085" y="825"/>
                  </a:moveTo>
                  <a:lnTo>
                    <a:pt x="21691" y="0"/>
                  </a:lnTo>
                  <a:lnTo>
                    <a:pt x="20180" y="927"/>
                  </a:lnTo>
                  <a:lnTo>
                    <a:pt x="18694" y="1854"/>
                  </a:lnTo>
                  <a:lnTo>
                    <a:pt x="17208" y="2794"/>
                  </a:lnTo>
                  <a:lnTo>
                    <a:pt x="17322" y="3022"/>
                  </a:lnTo>
                  <a:lnTo>
                    <a:pt x="17437" y="3238"/>
                  </a:lnTo>
                  <a:lnTo>
                    <a:pt x="17589" y="3644"/>
                  </a:lnTo>
                  <a:lnTo>
                    <a:pt x="19075" y="2692"/>
                  </a:lnTo>
                  <a:lnTo>
                    <a:pt x="20574" y="1752"/>
                  </a:lnTo>
                  <a:lnTo>
                    <a:pt x="22085" y="825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3" name="object 525">
              <a:extLst>
                <a:ext uri="{FF2B5EF4-FFF2-40B4-BE49-F238E27FC236}">
                  <a16:creationId xmlns:a16="http://schemas.microsoft.com/office/drawing/2014/main" id="{1836A155-75AE-4801-A8EF-8E19796945AA}"/>
                </a:ext>
              </a:extLst>
            </p:cNvPr>
            <p:cNvSpPr/>
            <p:nvPr/>
          </p:nvSpPr>
          <p:spPr>
            <a:xfrm>
              <a:off x="7966177" y="6146918"/>
              <a:ext cx="22225" cy="15240"/>
            </a:xfrm>
            <a:custGeom>
              <a:avLst/>
              <a:gdLst/>
              <a:ahLst/>
              <a:cxnLst/>
              <a:rect l="l" t="t" r="r" b="b"/>
              <a:pathLst>
                <a:path w="22225" h="15240">
                  <a:moveTo>
                    <a:pt x="7061" y="10756"/>
                  </a:moveTo>
                  <a:lnTo>
                    <a:pt x="6870" y="10350"/>
                  </a:lnTo>
                  <a:lnTo>
                    <a:pt x="6299" y="10553"/>
                  </a:lnTo>
                  <a:lnTo>
                    <a:pt x="5842" y="10693"/>
                  </a:lnTo>
                  <a:lnTo>
                    <a:pt x="5422" y="10744"/>
                  </a:lnTo>
                  <a:lnTo>
                    <a:pt x="3594" y="12052"/>
                  </a:lnTo>
                  <a:lnTo>
                    <a:pt x="1778" y="13373"/>
                  </a:lnTo>
                  <a:lnTo>
                    <a:pt x="0" y="14706"/>
                  </a:lnTo>
                  <a:lnTo>
                    <a:pt x="50" y="14833"/>
                  </a:lnTo>
                  <a:lnTo>
                    <a:pt x="4165" y="12839"/>
                  </a:lnTo>
                  <a:lnTo>
                    <a:pt x="7061" y="10756"/>
                  </a:lnTo>
                  <a:close/>
                </a:path>
                <a:path w="22225" h="15240">
                  <a:moveTo>
                    <a:pt x="11950" y="7404"/>
                  </a:moveTo>
                  <a:lnTo>
                    <a:pt x="11836" y="6350"/>
                  </a:lnTo>
                  <a:lnTo>
                    <a:pt x="11049" y="6870"/>
                  </a:lnTo>
                  <a:lnTo>
                    <a:pt x="10274" y="7391"/>
                  </a:lnTo>
                  <a:lnTo>
                    <a:pt x="9512" y="7912"/>
                  </a:lnTo>
                  <a:lnTo>
                    <a:pt x="10198" y="8585"/>
                  </a:lnTo>
                  <a:lnTo>
                    <a:pt x="10782" y="8191"/>
                  </a:lnTo>
                  <a:lnTo>
                    <a:pt x="11366" y="7785"/>
                  </a:lnTo>
                  <a:lnTo>
                    <a:pt x="11950" y="7404"/>
                  </a:lnTo>
                  <a:close/>
                </a:path>
                <a:path w="22225" h="15240">
                  <a:moveTo>
                    <a:pt x="22148" y="787"/>
                  </a:moveTo>
                  <a:lnTo>
                    <a:pt x="21983" y="571"/>
                  </a:lnTo>
                  <a:lnTo>
                    <a:pt x="21831" y="304"/>
                  </a:lnTo>
                  <a:lnTo>
                    <a:pt x="21678" y="0"/>
                  </a:lnTo>
                  <a:lnTo>
                    <a:pt x="18669" y="1879"/>
                  </a:lnTo>
                  <a:lnTo>
                    <a:pt x="17183" y="2832"/>
                  </a:lnTo>
                  <a:lnTo>
                    <a:pt x="17310" y="3175"/>
                  </a:lnTo>
                  <a:lnTo>
                    <a:pt x="17386" y="3492"/>
                  </a:lnTo>
                  <a:lnTo>
                    <a:pt x="17411" y="3784"/>
                  </a:lnTo>
                  <a:lnTo>
                    <a:pt x="18973" y="2768"/>
                  </a:lnTo>
                  <a:lnTo>
                    <a:pt x="20548" y="1778"/>
                  </a:lnTo>
                  <a:lnTo>
                    <a:pt x="22148" y="787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4" name="object 526">
              <a:extLst>
                <a:ext uri="{FF2B5EF4-FFF2-40B4-BE49-F238E27FC236}">
                  <a16:creationId xmlns:a16="http://schemas.microsoft.com/office/drawing/2014/main" id="{310F9B1F-9583-480B-B017-328949C5F47B}"/>
                </a:ext>
              </a:extLst>
            </p:cNvPr>
            <p:cNvSpPr/>
            <p:nvPr/>
          </p:nvSpPr>
          <p:spPr>
            <a:xfrm>
              <a:off x="7970342" y="6147705"/>
              <a:ext cx="19050" cy="12065"/>
            </a:xfrm>
            <a:custGeom>
              <a:avLst/>
              <a:gdLst/>
              <a:ahLst/>
              <a:cxnLst/>
              <a:rect l="l" t="t" r="r" b="b"/>
              <a:pathLst>
                <a:path w="19050" h="12065">
                  <a:moveTo>
                    <a:pt x="3162" y="10515"/>
                  </a:moveTo>
                  <a:lnTo>
                    <a:pt x="2895" y="9982"/>
                  </a:lnTo>
                  <a:lnTo>
                    <a:pt x="1930" y="10668"/>
                  </a:lnTo>
                  <a:lnTo>
                    <a:pt x="965" y="11366"/>
                  </a:lnTo>
                  <a:lnTo>
                    <a:pt x="0" y="12052"/>
                  </a:lnTo>
                  <a:lnTo>
                    <a:pt x="3162" y="10515"/>
                  </a:lnTo>
                  <a:close/>
                </a:path>
                <a:path w="19050" h="12065">
                  <a:moveTo>
                    <a:pt x="7912" y="7658"/>
                  </a:moveTo>
                  <a:lnTo>
                    <a:pt x="7785" y="6604"/>
                  </a:lnTo>
                  <a:lnTo>
                    <a:pt x="7188" y="6997"/>
                  </a:lnTo>
                  <a:lnTo>
                    <a:pt x="6616" y="7404"/>
                  </a:lnTo>
                  <a:lnTo>
                    <a:pt x="6032" y="7797"/>
                  </a:lnTo>
                  <a:lnTo>
                    <a:pt x="6718" y="8470"/>
                  </a:lnTo>
                  <a:lnTo>
                    <a:pt x="7112" y="8191"/>
                  </a:lnTo>
                  <a:lnTo>
                    <a:pt x="7518" y="7924"/>
                  </a:lnTo>
                  <a:lnTo>
                    <a:pt x="7912" y="7658"/>
                  </a:lnTo>
                  <a:close/>
                </a:path>
                <a:path w="19050" h="12065">
                  <a:moveTo>
                    <a:pt x="18643" y="673"/>
                  </a:moveTo>
                  <a:lnTo>
                    <a:pt x="18415" y="520"/>
                  </a:lnTo>
                  <a:lnTo>
                    <a:pt x="18199" y="292"/>
                  </a:lnTo>
                  <a:lnTo>
                    <a:pt x="17983" y="0"/>
                  </a:lnTo>
                  <a:lnTo>
                    <a:pt x="14820" y="1981"/>
                  </a:lnTo>
                  <a:lnTo>
                    <a:pt x="13258" y="2997"/>
                  </a:lnTo>
                  <a:lnTo>
                    <a:pt x="13296" y="3581"/>
                  </a:lnTo>
                  <a:lnTo>
                    <a:pt x="13119" y="4038"/>
                  </a:lnTo>
                  <a:lnTo>
                    <a:pt x="12687" y="4470"/>
                  </a:lnTo>
                  <a:lnTo>
                    <a:pt x="14655" y="3187"/>
                  </a:lnTo>
                  <a:lnTo>
                    <a:pt x="16637" y="1917"/>
                  </a:lnTo>
                  <a:lnTo>
                    <a:pt x="18643" y="673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5" name="object 527">
              <a:extLst>
                <a:ext uri="{FF2B5EF4-FFF2-40B4-BE49-F238E27FC236}">
                  <a16:creationId xmlns:a16="http://schemas.microsoft.com/office/drawing/2014/main" id="{4CAF5AFC-95E6-428E-86C2-8BAB405D1638}"/>
                </a:ext>
              </a:extLst>
            </p:cNvPr>
            <p:cNvSpPr/>
            <p:nvPr/>
          </p:nvSpPr>
          <p:spPr>
            <a:xfrm>
              <a:off x="7977061" y="6148391"/>
              <a:ext cx="13335" cy="8255"/>
            </a:xfrm>
            <a:custGeom>
              <a:avLst/>
              <a:gdLst/>
              <a:ahLst/>
              <a:cxnLst/>
              <a:rect l="l" t="t" r="r" b="b"/>
              <a:pathLst>
                <a:path w="13334" h="8254">
                  <a:moveTo>
                    <a:pt x="1244" y="7493"/>
                  </a:moveTo>
                  <a:lnTo>
                    <a:pt x="1181" y="6972"/>
                  </a:lnTo>
                  <a:lnTo>
                    <a:pt x="787" y="7239"/>
                  </a:lnTo>
                  <a:lnTo>
                    <a:pt x="393" y="7518"/>
                  </a:lnTo>
                  <a:lnTo>
                    <a:pt x="0" y="7785"/>
                  </a:lnTo>
                  <a:lnTo>
                    <a:pt x="215" y="8001"/>
                  </a:lnTo>
                  <a:lnTo>
                    <a:pt x="1244" y="7493"/>
                  </a:lnTo>
                  <a:close/>
                </a:path>
                <a:path w="13334" h="8254">
                  <a:moveTo>
                    <a:pt x="13208" y="279"/>
                  </a:moveTo>
                  <a:lnTo>
                    <a:pt x="12712" y="342"/>
                  </a:lnTo>
                  <a:lnTo>
                    <a:pt x="12293" y="254"/>
                  </a:lnTo>
                  <a:lnTo>
                    <a:pt x="11925" y="0"/>
                  </a:lnTo>
                  <a:lnTo>
                    <a:pt x="9918" y="1244"/>
                  </a:lnTo>
                  <a:lnTo>
                    <a:pt x="7924" y="2514"/>
                  </a:lnTo>
                  <a:lnTo>
                    <a:pt x="5969" y="3797"/>
                  </a:lnTo>
                  <a:lnTo>
                    <a:pt x="5638" y="4127"/>
                  </a:lnTo>
                  <a:lnTo>
                    <a:pt x="5156" y="4432"/>
                  </a:lnTo>
                  <a:lnTo>
                    <a:pt x="4533" y="4737"/>
                  </a:lnTo>
                  <a:lnTo>
                    <a:pt x="4940" y="5588"/>
                  </a:lnTo>
                  <a:lnTo>
                    <a:pt x="7658" y="3784"/>
                  </a:lnTo>
                  <a:lnTo>
                    <a:pt x="10426" y="2006"/>
                  </a:lnTo>
                  <a:lnTo>
                    <a:pt x="13208" y="279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6" name="object 528">
              <a:extLst>
                <a:ext uri="{FF2B5EF4-FFF2-40B4-BE49-F238E27FC236}">
                  <a16:creationId xmlns:a16="http://schemas.microsoft.com/office/drawing/2014/main" id="{1B666504-8E20-43C1-A7C6-558C46467048}"/>
                </a:ext>
              </a:extLst>
            </p:cNvPr>
            <p:cNvSpPr/>
            <p:nvPr/>
          </p:nvSpPr>
          <p:spPr>
            <a:xfrm>
              <a:off x="7982007" y="6148119"/>
              <a:ext cx="10160" cy="6350"/>
            </a:xfrm>
            <a:custGeom>
              <a:avLst/>
              <a:gdLst/>
              <a:ahLst/>
              <a:cxnLst/>
              <a:rect l="l" t="t" r="r" b="b"/>
              <a:pathLst>
                <a:path w="10159" h="6350">
                  <a:moveTo>
                    <a:pt x="9880" y="0"/>
                  </a:moveTo>
                  <a:lnTo>
                    <a:pt x="9258" y="304"/>
                  </a:lnTo>
                  <a:lnTo>
                    <a:pt x="8724" y="482"/>
                  </a:lnTo>
                  <a:lnTo>
                    <a:pt x="8267" y="546"/>
                  </a:lnTo>
                  <a:lnTo>
                    <a:pt x="5473" y="2273"/>
                  </a:lnTo>
                  <a:lnTo>
                    <a:pt x="2717" y="4038"/>
                  </a:lnTo>
                  <a:lnTo>
                    <a:pt x="0" y="5842"/>
                  </a:lnTo>
                  <a:lnTo>
                    <a:pt x="5969" y="3073"/>
                  </a:lnTo>
                  <a:lnTo>
                    <a:pt x="8724" y="1333"/>
                  </a:lnTo>
                  <a:lnTo>
                    <a:pt x="10121" y="469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7" name="object 529">
              <a:extLst>
                <a:ext uri="{FF2B5EF4-FFF2-40B4-BE49-F238E27FC236}">
                  <a16:creationId xmlns:a16="http://schemas.microsoft.com/office/drawing/2014/main" id="{2E92B76A-F218-40F8-BE7B-893070CB5C1E}"/>
                </a:ext>
              </a:extLst>
            </p:cNvPr>
            <p:cNvSpPr/>
            <p:nvPr/>
          </p:nvSpPr>
          <p:spPr>
            <a:xfrm>
              <a:off x="7987981" y="6148594"/>
              <a:ext cx="4445" cy="3175"/>
            </a:xfrm>
            <a:custGeom>
              <a:avLst/>
              <a:gdLst/>
              <a:ahLst/>
              <a:cxnLst/>
              <a:rect l="l" t="t" r="r" b="b"/>
              <a:pathLst>
                <a:path w="4445" h="3175">
                  <a:moveTo>
                    <a:pt x="4140" y="0"/>
                  </a:moveTo>
                  <a:lnTo>
                    <a:pt x="1371" y="1727"/>
                  </a:lnTo>
                  <a:lnTo>
                    <a:pt x="0" y="2590"/>
                  </a:lnTo>
                  <a:lnTo>
                    <a:pt x="4368" y="469"/>
                  </a:lnTo>
                  <a:lnTo>
                    <a:pt x="4140" y="0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8" name="object 530">
              <a:extLst>
                <a:ext uri="{FF2B5EF4-FFF2-40B4-BE49-F238E27FC236}">
                  <a16:creationId xmlns:a16="http://schemas.microsoft.com/office/drawing/2014/main" id="{FFC70A6C-3444-4971-AB06-893850D6AD22}"/>
                </a:ext>
              </a:extLst>
            </p:cNvPr>
            <p:cNvSpPr/>
            <p:nvPr/>
          </p:nvSpPr>
          <p:spPr>
            <a:xfrm>
              <a:off x="7989945" y="6124892"/>
              <a:ext cx="1905" cy="635"/>
            </a:xfrm>
            <a:custGeom>
              <a:avLst/>
              <a:gdLst/>
              <a:ahLst/>
              <a:cxnLst/>
              <a:rect l="l" t="t" r="r" b="b"/>
              <a:pathLst>
                <a:path w="1904" h="634">
                  <a:moveTo>
                    <a:pt x="1308" y="0"/>
                  </a:moveTo>
                  <a:lnTo>
                    <a:pt x="0" y="330"/>
                  </a:lnTo>
                  <a:lnTo>
                    <a:pt x="76" y="609"/>
                  </a:lnTo>
                  <a:lnTo>
                    <a:pt x="889" y="203"/>
                  </a:lnTo>
                  <a:lnTo>
                    <a:pt x="1308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9" name="object 531">
              <a:extLst>
                <a:ext uri="{FF2B5EF4-FFF2-40B4-BE49-F238E27FC236}">
                  <a16:creationId xmlns:a16="http://schemas.microsoft.com/office/drawing/2014/main" id="{65509C78-2F95-4247-91A7-3997F5140257}"/>
                </a:ext>
              </a:extLst>
            </p:cNvPr>
            <p:cNvSpPr/>
            <p:nvPr/>
          </p:nvSpPr>
          <p:spPr>
            <a:xfrm>
              <a:off x="7990002" y="6122724"/>
              <a:ext cx="10160" cy="3810"/>
            </a:xfrm>
            <a:custGeom>
              <a:avLst/>
              <a:gdLst/>
              <a:ahLst/>
              <a:cxnLst/>
              <a:rect l="l" t="t" r="r" b="b"/>
              <a:pathLst>
                <a:path w="10159" h="3809">
                  <a:moveTo>
                    <a:pt x="9677" y="0"/>
                  </a:moveTo>
                  <a:lnTo>
                    <a:pt x="5346" y="1104"/>
                  </a:lnTo>
                  <a:lnTo>
                    <a:pt x="1231" y="2171"/>
                  </a:lnTo>
                  <a:lnTo>
                    <a:pt x="0" y="2781"/>
                  </a:lnTo>
                  <a:lnTo>
                    <a:pt x="190" y="3530"/>
                  </a:lnTo>
                  <a:lnTo>
                    <a:pt x="469" y="3454"/>
                  </a:lnTo>
                  <a:lnTo>
                    <a:pt x="609" y="3429"/>
                  </a:lnTo>
                  <a:lnTo>
                    <a:pt x="2171" y="2641"/>
                  </a:lnTo>
                  <a:lnTo>
                    <a:pt x="3759" y="1866"/>
                  </a:lnTo>
                  <a:lnTo>
                    <a:pt x="4432" y="1549"/>
                  </a:lnTo>
                  <a:lnTo>
                    <a:pt x="2184" y="2641"/>
                  </a:lnTo>
                  <a:lnTo>
                    <a:pt x="609" y="3429"/>
                  </a:lnTo>
                  <a:lnTo>
                    <a:pt x="1397" y="3263"/>
                  </a:lnTo>
                  <a:lnTo>
                    <a:pt x="2006" y="3263"/>
                  </a:lnTo>
                  <a:lnTo>
                    <a:pt x="2489" y="3441"/>
                  </a:lnTo>
                  <a:lnTo>
                    <a:pt x="4864" y="2260"/>
                  </a:lnTo>
                  <a:lnTo>
                    <a:pt x="7251" y="1117"/>
                  </a:lnTo>
                  <a:lnTo>
                    <a:pt x="9677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0" name="object 532">
              <a:extLst>
                <a:ext uri="{FF2B5EF4-FFF2-40B4-BE49-F238E27FC236}">
                  <a16:creationId xmlns:a16="http://schemas.microsoft.com/office/drawing/2014/main" id="{EDAE5C73-C999-4C8C-8D61-67205B8E5211}"/>
                </a:ext>
              </a:extLst>
            </p:cNvPr>
            <p:cNvSpPr/>
            <p:nvPr/>
          </p:nvSpPr>
          <p:spPr>
            <a:xfrm>
              <a:off x="7992493" y="6121529"/>
              <a:ext cx="12065" cy="5715"/>
            </a:xfrm>
            <a:custGeom>
              <a:avLst/>
              <a:gdLst/>
              <a:ahLst/>
              <a:cxnLst/>
              <a:rect l="l" t="t" r="r" b="b"/>
              <a:pathLst>
                <a:path w="12065" h="5715">
                  <a:moveTo>
                    <a:pt x="11798" y="0"/>
                  </a:moveTo>
                  <a:lnTo>
                    <a:pt x="7188" y="1193"/>
                  </a:lnTo>
                  <a:lnTo>
                    <a:pt x="4775" y="2311"/>
                  </a:lnTo>
                  <a:lnTo>
                    <a:pt x="2374" y="3454"/>
                  </a:lnTo>
                  <a:lnTo>
                    <a:pt x="0" y="4635"/>
                  </a:lnTo>
                  <a:lnTo>
                    <a:pt x="304" y="4749"/>
                  </a:lnTo>
                  <a:lnTo>
                    <a:pt x="546" y="4940"/>
                  </a:lnTo>
                  <a:lnTo>
                    <a:pt x="761" y="5206"/>
                  </a:lnTo>
                  <a:lnTo>
                    <a:pt x="4381" y="3403"/>
                  </a:lnTo>
                  <a:lnTo>
                    <a:pt x="8064" y="1663"/>
                  </a:lnTo>
                  <a:lnTo>
                    <a:pt x="11798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1" name="object 533">
              <a:extLst>
                <a:ext uri="{FF2B5EF4-FFF2-40B4-BE49-F238E27FC236}">
                  <a16:creationId xmlns:a16="http://schemas.microsoft.com/office/drawing/2014/main" id="{64667967-CC0A-498B-9A79-1FB023D2A269}"/>
                </a:ext>
              </a:extLst>
            </p:cNvPr>
            <p:cNvSpPr/>
            <p:nvPr/>
          </p:nvSpPr>
          <p:spPr>
            <a:xfrm>
              <a:off x="7993251" y="6120416"/>
              <a:ext cx="15875" cy="7620"/>
            </a:xfrm>
            <a:custGeom>
              <a:avLst/>
              <a:gdLst/>
              <a:ahLst/>
              <a:cxnLst/>
              <a:rect l="l" t="t" r="r" b="b"/>
              <a:pathLst>
                <a:path w="15875" h="7620">
                  <a:moveTo>
                    <a:pt x="15367" y="0"/>
                  </a:moveTo>
                  <a:lnTo>
                    <a:pt x="11036" y="1117"/>
                  </a:lnTo>
                  <a:lnTo>
                    <a:pt x="7302" y="2781"/>
                  </a:lnTo>
                  <a:lnTo>
                    <a:pt x="3632" y="4521"/>
                  </a:lnTo>
                  <a:lnTo>
                    <a:pt x="0" y="6324"/>
                  </a:lnTo>
                  <a:lnTo>
                    <a:pt x="165" y="6515"/>
                  </a:lnTo>
                  <a:lnTo>
                    <a:pt x="419" y="7061"/>
                  </a:lnTo>
                  <a:lnTo>
                    <a:pt x="3911" y="5334"/>
                  </a:lnTo>
                  <a:lnTo>
                    <a:pt x="5664" y="4495"/>
                  </a:lnTo>
                  <a:lnTo>
                    <a:pt x="5918" y="3949"/>
                  </a:lnTo>
                  <a:lnTo>
                    <a:pt x="6540" y="3556"/>
                  </a:lnTo>
                  <a:lnTo>
                    <a:pt x="8140" y="3149"/>
                  </a:lnTo>
                  <a:lnTo>
                    <a:pt x="8763" y="3048"/>
                  </a:lnTo>
                  <a:lnTo>
                    <a:pt x="10960" y="2032"/>
                  </a:lnTo>
                  <a:lnTo>
                    <a:pt x="13182" y="1041"/>
                  </a:lnTo>
                  <a:lnTo>
                    <a:pt x="15417" y="88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2" name="object 534">
              <a:extLst>
                <a:ext uri="{FF2B5EF4-FFF2-40B4-BE49-F238E27FC236}">
                  <a16:creationId xmlns:a16="http://schemas.microsoft.com/office/drawing/2014/main" id="{BF602921-7A67-4640-96D8-8CEAED183D19}"/>
                </a:ext>
              </a:extLst>
            </p:cNvPr>
            <p:cNvSpPr/>
            <p:nvPr/>
          </p:nvSpPr>
          <p:spPr>
            <a:xfrm>
              <a:off x="7993672" y="6120502"/>
              <a:ext cx="15875" cy="8255"/>
            </a:xfrm>
            <a:custGeom>
              <a:avLst/>
              <a:gdLst/>
              <a:ahLst/>
              <a:cxnLst/>
              <a:rect l="l" t="t" r="r" b="b"/>
              <a:pathLst>
                <a:path w="15875" h="8254">
                  <a:moveTo>
                    <a:pt x="5245" y="4432"/>
                  </a:moveTo>
                  <a:lnTo>
                    <a:pt x="3492" y="5257"/>
                  </a:lnTo>
                  <a:lnTo>
                    <a:pt x="0" y="6985"/>
                  </a:lnTo>
                  <a:lnTo>
                    <a:pt x="101" y="7226"/>
                  </a:lnTo>
                  <a:lnTo>
                    <a:pt x="190" y="7493"/>
                  </a:lnTo>
                  <a:lnTo>
                    <a:pt x="266" y="7810"/>
                  </a:lnTo>
                  <a:lnTo>
                    <a:pt x="3505" y="6184"/>
                  </a:lnTo>
                  <a:lnTo>
                    <a:pt x="5143" y="5397"/>
                  </a:lnTo>
                  <a:lnTo>
                    <a:pt x="5092" y="5029"/>
                  </a:lnTo>
                  <a:lnTo>
                    <a:pt x="5118" y="4699"/>
                  </a:lnTo>
                  <a:lnTo>
                    <a:pt x="5245" y="4432"/>
                  </a:lnTo>
                  <a:close/>
                </a:path>
                <a:path w="15875" h="8254">
                  <a:moveTo>
                    <a:pt x="15430" y="685"/>
                  </a:moveTo>
                  <a:lnTo>
                    <a:pt x="14986" y="0"/>
                  </a:lnTo>
                  <a:lnTo>
                    <a:pt x="12750" y="965"/>
                  </a:lnTo>
                  <a:lnTo>
                    <a:pt x="10541" y="1943"/>
                  </a:lnTo>
                  <a:lnTo>
                    <a:pt x="8331" y="2971"/>
                  </a:lnTo>
                  <a:lnTo>
                    <a:pt x="9029" y="2870"/>
                  </a:lnTo>
                  <a:lnTo>
                    <a:pt x="9740" y="2844"/>
                  </a:lnTo>
                  <a:lnTo>
                    <a:pt x="10439" y="2908"/>
                  </a:lnTo>
                  <a:lnTo>
                    <a:pt x="13766" y="1409"/>
                  </a:lnTo>
                  <a:lnTo>
                    <a:pt x="15430" y="685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3" name="object 535">
              <a:extLst>
                <a:ext uri="{FF2B5EF4-FFF2-40B4-BE49-F238E27FC236}">
                  <a16:creationId xmlns:a16="http://schemas.microsoft.com/office/drawing/2014/main" id="{125A5A31-D6E8-4F31-9450-DABE762BFE0F}"/>
                </a:ext>
              </a:extLst>
            </p:cNvPr>
            <p:cNvSpPr/>
            <p:nvPr/>
          </p:nvSpPr>
          <p:spPr>
            <a:xfrm>
              <a:off x="7993926" y="6121187"/>
              <a:ext cx="15875" cy="8255"/>
            </a:xfrm>
            <a:custGeom>
              <a:avLst/>
              <a:gdLst/>
              <a:ahLst/>
              <a:cxnLst/>
              <a:rect l="l" t="t" r="r" b="b"/>
              <a:pathLst>
                <a:path w="15875" h="8254">
                  <a:moveTo>
                    <a:pt x="5029" y="5575"/>
                  </a:moveTo>
                  <a:lnTo>
                    <a:pt x="4953" y="5257"/>
                  </a:lnTo>
                  <a:lnTo>
                    <a:pt x="4902" y="4965"/>
                  </a:lnTo>
                  <a:lnTo>
                    <a:pt x="4876" y="4711"/>
                  </a:lnTo>
                  <a:lnTo>
                    <a:pt x="3238" y="5499"/>
                  </a:lnTo>
                  <a:lnTo>
                    <a:pt x="0" y="7112"/>
                  </a:lnTo>
                  <a:lnTo>
                    <a:pt x="228" y="7962"/>
                  </a:lnTo>
                  <a:lnTo>
                    <a:pt x="1816" y="7150"/>
                  </a:lnTo>
                  <a:lnTo>
                    <a:pt x="5029" y="5575"/>
                  </a:lnTo>
                  <a:close/>
                </a:path>
                <a:path w="15875" h="8254">
                  <a:moveTo>
                    <a:pt x="15633" y="685"/>
                  </a:moveTo>
                  <a:lnTo>
                    <a:pt x="15189" y="0"/>
                  </a:lnTo>
                  <a:lnTo>
                    <a:pt x="13512" y="723"/>
                  </a:lnTo>
                  <a:lnTo>
                    <a:pt x="10185" y="2222"/>
                  </a:lnTo>
                  <a:lnTo>
                    <a:pt x="10680" y="2260"/>
                  </a:lnTo>
                  <a:lnTo>
                    <a:pt x="11176" y="2349"/>
                  </a:lnTo>
                  <a:lnTo>
                    <a:pt x="11671" y="2451"/>
                  </a:lnTo>
                  <a:lnTo>
                    <a:pt x="12992" y="1854"/>
                  </a:lnTo>
                  <a:lnTo>
                    <a:pt x="15633" y="685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4" name="object 536">
              <a:extLst>
                <a:ext uri="{FF2B5EF4-FFF2-40B4-BE49-F238E27FC236}">
                  <a16:creationId xmlns:a16="http://schemas.microsoft.com/office/drawing/2014/main" id="{ADC303F4-39D0-4B56-91C3-272783F75AD7}"/>
                </a:ext>
              </a:extLst>
            </p:cNvPr>
            <p:cNvSpPr/>
            <p:nvPr/>
          </p:nvSpPr>
          <p:spPr>
            <a:xfrm>
              <a:off x="7994155" y="6121873"/>
              <a:ext cx="15875" cy="8255"/>
            </a:xfrm>
            <a:custGeom>
              <a:avLst/>
              <a:gdLst/>
              <a:ahLst/>
              <a:cxnLst/>
              <a:rect l="l" t="t" r="r" b="b"/>
              <a:pathLst>
                <a:path w="15875" h="8254">
                  <a:moveTo>
                    <a:pt x="5016" y="5727"/>
                  </a:moveTo>
                  <a:lnTo>
                    <a:pt x="4800" y="4876"/>
                  </a:lnTo>
                  <a:lnTo>
                    <a:pt x="3187" y="5664"/>
                  </a:lnTo>
                  <a:lnTo>
                    <a:pt x="1587" y="6464"/>
                  </a:lnTo>
                  <a:lnTo>
                    <a:pt x="0" y="7277"/>
                  </a:lnTo>
                  <a:lnTo>
                    <a:pt x="215" y="8128"/>
                  </a:lnTo>
                  <a:lnTo>
                    <a:pt x="1803" y="7315"/>
                  </a:lnTo>
                  <a:lnTo>
                    <a:pt x="3403" y="6515"/>
                  </a:lnTo>
                  <a:lnTo>
                    <a:pt x="5016" y="5727"/>
                  </a:lnTo>
                  <a:close/>
                </a:path>
                <a:path w="15875" h="8254">
                  <a:moveTo>
                    <a:pt x="15849" y="685"/>
                  </a:moveTo>
                  <a:lnTo>
                    <a:pt x="15405" y="0"/>
                  </a:lnTo>
                  <a:lnTo>
                    <a:pt x="14084" y="571"/>
                  </a:lnTo>
                  <a:lnTo>
                    <a:pt x="11442" y="1765"/>
                  </a:lnTo>
                  <a:lnTo>
                    <a:pt x="11861" y="1854"/>
                  </a:lnTo>
                  <a:lnTo>
                    <a:pt x="12268" y="1968"/>
                  </a:lnTo>
                  <a:lnTo>
                    <a:pt x="12674" y="2108"/>
                  </a:lnTo>
                  <a:lnTo>
                    <a:pt x="13728" y="1625"/>
                  </a:lnTo>
                  <a:lnTo>
                    <a:pt x="15849" y="685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5" name="object 537">
              <a:extLst>
                <a:ext uri="{FF2B5EF4-FFF2-40B4-BE49-F238E27FC236}">
                  <a16:creationId xmlns:a16="http://schemas.microsoft.com/office/drawing/2014/main" id="{3F24A932-E083-4241-B6C2-2AE890A4B2F7}"/>
                </a:ext>
              </a:extLst>
            </p:cNvPr>
            <p:cNvSpPr/>
            <p:nvPr/>
          </p:nvSpPr>
          <p:spPr>
            <a:xfrm>
              <a:off x="7994370" y="6122559"/>
              <a:ext cx="16510" cy="8890"/>
            </a:xfrm>
            <a:custGeom>
              <a:avLst/>
              <a:gdLst/>
              <a:ahLst/>
              <a:cxnLst/>
              <a:rect l="l" t="t" r="r" b="b"/>
              <a:pathLst>
                <a:path w="16509" h="8890">
                  <a:moveTo>
                    <a:pt x="5003" y="5880"/>
                  </a:moveTo>
                  <a:lnTo>
                    <a:pt x="4787" y="5041"/>
                  </a:lnTo>
                  <a:lnTo>
                    <a:pt x="3187" y="5829"/>
                  </a:lnTo>
                  <a:lnTo>
                    <a:pt x="1587" y="6629"/>
                  </a:lnTo>
                  <a:lnTo>
                    <a:pt x="0" y="7454"/>
                  </a:lnTo>
                  <a:lnTo>
                    <a:pt x="215" y="8305"/>
                  </a:lnTo>
                  <a:lnTo>
                    <a:pt x="1803" y="7480"/>
                  </a:lnTo>
                  <a:lnTo>
                    <a:pt x="5003" y="5880"/>
                  </a:lnTo>
                  <a:close/>
                </a:path>
                <a:path w="16509" h="8890">
                  <a:moveTo>
                    <a:pt x="16078" y="698"/>
                  </a:moveTo>
                  <a:lnTo>
                    <a:pt x="15633" y="0"/>
                  </a:lnTo>
                  <a:lnTo>
                    <a:pt x="14566" y="469"/>
                  </a:lnTo>
                  <a:lnTo>
                    <a:pt x="13512" y="952"/>
                  </a:lnTo>
                  <a:lnTo>
                    <a:pt x="12458" y="1422"/>
                  </a:lnTo>
                  <a:lnTo>
                    <a:pt x="12814" y="1549"/>
                  </a:lnTo>
                  <a:lnTo>
                    <a:pt x="13169" y="1689"/>
                  </a:lnTo>
                  <a:lnTo>
                    <a:pt x="13525" y="1841"/>
                  </a:lnTo>
                  <a:lnTo>
                    <a:pt x="14376" y="1447"/>
                  </a:lnTo>
                  <a:lnTo>
                    <a:pt x="15227" y="1066"/>
                  </a:lnTo>
                  <a:lnTo>
                    <a:pt x="16078" y="698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6" name="object 538">
              <a:extLst>
                <a:ext uri="{FF2B5EF4-FFF2-40B4-BE49-F238E27FC236}">
                  <a16:creationId xmlns:a16="http://schemas.microsoft.com/office/drawing/2014/main" id="{67BD2CBD-5581-4D43-B4A1-49FA5A8B9A4A}"/>
                </a:ext>
              </a:extLst>
            </p:cNvPr>
            <p:cNvSpPr/>
            <p:nvPr/>
          </p:nvSpPr>
          <p:spPr>
            <a:xfrm>
              <a:off x="7994599" y="6123257"/>
              <a:ext cx="16510" cy="8890"/>
            </a:xfrm>
            <a:custGeom>
              <a:avLst/>
              <a:gdLst/>
              <a:ahLst/>
              <a:cxnLst/>
              <a:rect l="l" t="t" r="r" b="b"/>
              <a:pathLst>
                <a:path w="16509" h="8890">
                  <a:moveTo>
                    <a:pt x="5003" y="6019"/>
                  </a:moveTo>
                  <a:lnTo>
                    <a:pt x="4787" y="5181"/>
                  </a:lnTo>
                  <a:lnTo>
                    <a:pt x="3187" y="5969"/>
                  </a:lnTo>
                  <a:lnTo>
                    <a:pt x="1587" y="6781"/>
                  </a:lnTo>
                  <a:lnTo>
                    <a:pt x="0" y="7607"/>
                  </a:lnTo>
                  <a:lnTo>
                    <a:pt x="215" y="8458"/>
                  </a:lnTo>
                  <a:lnTo>
                    <a:pt x="1803" y="7632"/>
                  </a:lnTo>
                  <a:lnTo>
                    <a:pt x="3403" y="6819"/>
                  </a:lnTo>
                  <a:lnTo>
                    <a:pt x="5003" y="6019"/>
                  </a:lnTo>
                  <a:close/>
                </a:path>
                <a:path w="16509" h="8890">
                  <a:moveTo>
                    <a:pt x="16306" y="685"/>
                  </a:moveTo>
                  <a:lnTo>
                    <a:pt x="15862" y="0"/>
                  </a:lnTo>
                  <a:lnTo>
                    <a:pt x="14160" y="749"/>
                  </a:lnTo>
                  <a:lnTo>
                    <a:pt x="13296" y="1143"/>
                  </a:lnTo>
                  <a:lnTo>
                    <a:pt x="13639" y="1282"/>
                  </a:lnTo>
                  <a:lnTo>
                    <a:pt x="13957" y="1435"/>
                  </a:lnTo>
                  <a:lnTo>
                    <a:pt x="14274" y="1600"/>
                  </a:lnTo>
                  <a:lnTo>
                    <a:pt x="16306" y="685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7" name="object 539">
              <a:extLst>
                <a:ext uri="{FF2B5EF4-FFF2-40B4-BE49-F238E27FC236}">
                  <a16:creationId xmlns:a16="http://schemas.microsoft.com/office/drawing/2014/main" id="{A3DCDE1A-7CCF-471A-9A27-60EC3555AA29}"/>
                </a:ext>
              </a:extLst>
            </p:cNvPr>
            <p:cNvSpPr/>
            <p:nvPr/>
          </p:nvSpPr>
          <p:spPr>
            <a:xfrm>
              <a:off x="7994802" y="6123943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5003" y="6184"/>
                  </a:moveTo>
                  <a:lnTo>
                    <a:pt x="4787" y="5334"/>
                  </a:lnTo>
                  <a:lnTo>
                    <a:pt x="3187" y="6134"/>
                  </a:lnTo>
                  <a:lnTo>
                    <a:pt x="1587" y="6946"/>
                  </a:lnTo>
                  <a:lnTo>
                    <a:pt x="0" y="7772"/>
                  </a:lnTo>
                  <a:lnTo>
                    <a:pt x="228" y="8636"/>
                  </a:lnTo>
                  <a:lnTo>
                    <a:pt x="1816" y="7797"/>
                  </a:lnTo>
                  <a:lnTo>
                    <a:pt x="3403" y="6985"/>
                  </a:lnTo>
                  <a:lnTo>
                    <a:pt x="5003" y="6184"/>
                  </a:lnTo>
                  <a:close/>
                </a:path>
                <a:path w="17145" h="8890">
                  <a:moveTo>
                    <a:pt x="16548" y="698"/>
                  </a:moveTo>
                  <a:lnTo>
                    <a:pt x="16103" y="0"/>
                  </a:lnTo>
                  <a:lnTo>
                    <a:pt x="15417" y="304"/>
                  </a:lnTo>
                  <a:lnTo>
                    <a:pt x="14071" y="914"/>
                  </a:lnTo>
                  <a:lnTo>
                    <a:pt x="14655" y="1244"/>
                  </a:lnTo>
                  <a:lnTo>
                    <a:pt x="14947" y="1422"/>
                  </a:lnTo>
                  <a:lnTo>
                    <a:pt x="16548" y="698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8" name="object 540">
              <a:extLst>
                <a:ext uri="{FF2B5EF4-FFF2-40B4-BE49-F238E27FC236}">
                  <a16:creationId xmlns:a16="http://schemas.microsoft.com/office/drawing/2014/main" id="{B46F190A-AE0B-4F07-96BA-239B126ECFAE}"/>
                </a:ext>
              </a:extLst>
            </p:cNvPr>
            <p:cNvSpPr/>
            <p:nvPr/>
          </p:nvSpPr>
          <p:spPr>
            <a:xfrm>
              <a:off x="7995043" y="6124642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4991" y="6324"/>
                  </a:moveTo>
                  <a:lnTo>
                    <a:pt x="4775" y="5486"/>
                  </a:lnTo>
                  <a:lnTo>
                    <a:pt x="3175" y="6286"/>
                  </a:lnTo>
                  <a:lnTo>
                    <a:pt x="1574" y="7099"/>
                  </a:lnTo>
                  <a:lnTo>
                    <a:pt x="0" y="7937"/>
                  </a:lnTo>
                  <a:lnTo>
                    <a:pt x="215" y="8801"/>
                  </a:lnTo>
                  <a:lnTo>
                    <a:pt x="1803" y="7962"/>
                  </a:lnTo>
                  <a:lnTo>
                    <a:pt x="3390" y="7137"/>
                  </a:lnTo>
                  <a:lnTo>
                    <a:pt x="4991" y="6324"/>
                  </a:lnTo>
                  <a:close/>
                </a:path>
                <a:path w="17145" h="8890">
                  <a:moveTo>
                    <a:pt x="16764" y="685"/>
                  </a:moveTo>
                  <a:lnTo>
                    <a:pt x="16306" y="0"/>
                  </a:lnTo>
                  <a:lnTo>
                    <a:pt x="14706" y="723"/>
                  </a:lnTo>
                  <a:lnTo>
                    <a:pt x="14986" y="889"/>
                  </a:lnTo>
                  <a:lnTo>
                    <a:pt x="15252" y="1066"/>
                  </a:lnTo>
                  <a:lnTo>
                    <a:pt x="15519" y="1257"/>
                  </a:lnTo>
                  <a:lnTo>
                    <a:pt x="15938" y="1066"/>
                  </a:lnTo>
                  <a:lnTo>
                    <a:pt x="16344" y="876"/>
                  </a:lnTo>
                  <a:lnTo>
                    <a:pt x="16764" y="685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9" name="object 541">
              <a:extLst>
                <a:ext uri="{FF2B5EF4-FFF2-40B4-BE49-F238E27FC236}">
                  <a16:creationId xmlns:a16="http://schemas.microsoft.com/office/drawing/2014/main" id="{C98C5A73-8BD9-4C76-839B-99E190BAA96C}"/>
                </a:ext>
              </a:extLst>
            </p:cNvPr>
            <p:cNvSpPr/>
            <p:nvPr/>
          </p:nvSpPr>
          <p:spPr>
            <a:xfrm>
              <a:off x="7995247" y="6125328"/>
              <a:ext cx="17145" cy="9525"/>
            </a:xfrm>
            <a:custGeom>
              <a:avLst/>
              <a:gdLst/>
              <a:ahLst/>
              <a:cxnLst/>
              <a:rect l="l" t="t" r="r" b="b"/>
              <a:pathLst>
                <a:path w="17145" h="9525">
                  <a:moveTo>
                    <a:pt x="5003" y="6489"/>
                  </a:moveTo>
                  <a:lnTo>
                    <a:pt x="4787" y="5638"/>
                  </a:lnTo>
                  <a:lnTo>
                    <a:pt x="3187" y="6451"/>
                  </a:lnTo>
                  <a:lnTo>
                    <a:pt x="1587" y="7277"/>
                  </a:lnTo>
                  <a:lnTo>
                    <a:pt x="0" y="8115"/>
                  </a:lnTo>
                  <a:lnTo>
                    <a:pt x="228" y="8978"/>
                  </a:lnTo>
                  <a:lnTo>
                    <a:pt x="1803" y="8140"/>
                  </a:lnTo>
                  <a:lnTo>
                    <a:pt x="3403" y="7302"/>
                  </a:lnTo>
                  <a:lnTo>
                    <a:pt x="5003" y="6489"/>
                  </a:lnTo>
                  <a:close/>
                </a:path>
                <a:path w="17145" h="9525">
                  <a:moveTo>
                    <a:pt x="11950" y="3060"/>
                  </a:moveTo>
                  <a:lnTo>
                    <a:pt x="11874" y="2743"/>
                  </a:lnTo>
                  <a:lnTo>
                    <a:pt x="10668" y="3060"/>
                  </a:lnTo>
                  <a:lnTo>
                    <a:pt x="10655" y="3289"/>
                  </a:lnTo>
                  <a:lnTo>
                    <a:pt x="10604" y="3708"/>
                  </a:lnTo>
                  <a:lnTo>
                    <a:pt x="11049" y="3492"/>
                  </a:lnTo>
                  <a:lnTo>
                    <a:pt x="11506" y="3276"/>
                  </a:lnTo>
                  <a:lnTo>
                    <a:pt x="11950" y="3060"/>
                  </a:lnTo>
                  <a:close/>
                </a:path>
                <a:path w="17145" h="9525">
                  <a:moveTo>
                    <a:pt x="16802" y="381"/>
                  </a:moveTo>
                  <a:lnTo>
                    <a:pt x="16560" y="0"/>
                  </a:lnTo>
                  <a:lnTo>
                    <a:pt x="16141" y="190"/>
                  </a:lnTo>
                  <a:lnTo>
                    <a:pt x="15735" y="381"/>
                  </a:lnTo>
                  <a:lnTo>
                    <a:pt x="15316" y="571"/>
                  </a:lnTo>
                  <a:lnTo>
                    <a:pt x="15532" y="711"/>
                  </a:lnTo>
                  <a:lnTo>
                    <a:pt x="15951" y="1028"/>
                  </a:lnTo>
                  <a:lnTo>
                    <a:pt x="16802" y="381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0" name="object 542">
              <a:extLst>
                <a:ext uri="{FF2B5EF4-FFF2-40B4-BE49-F238E27FC236}">
                  <a16:creationId xmlns:a16="http://schemas.microsoft.com/office/drawing/2014/main" id="{9672A17C-6A24-4D28-B0E0-E99D619056D5}"/>
                </a:ext>
              </a:extLst>
            </p:cNvPr>
            <p:cNvSpPr/>
            <p:nvPr/>
          </p:nvSpPr>
          <p:spPr>
            <a:xfrm>
              <a:off x="7995475" y="6128388"/>
              <a:ext cx="12065" cy="6985"/>
            </a:xfrm>
            <a:custGeom>
              <a:avLst/>
              <a:gdLst/>
              <a:ahLst/>
              <a:cxnLst/>
              <a:rect l="l" t="t" r="r" b="b"/>
              <a:pathLst>
                <a:path w="12065" h="6984">
                  <a:moveTo>
                    <a:pt x="4991" y="4279"/>
                  </a:moveTo>
                  <a:lnTo>
                    <a:pt x="4775" y="3429"/>
                  </a:lnTo>
                  <a:lnTo>
                    <a:pt x="1587" y="5080"/>
                  </a:lnTo>
                  <a:lnTo>
                    <a:pt x="0" y="5918"/>
                  </a:lnTo>
                  <a:lnTo>
                    <a:pt x="228" y="6794"/>
                  </a:lnTo>
                  <a:lnTo>
                    <a:pt x="1803" y="5943"/>
                  </a:lnTo>
                  <a:lnTo>
                    <a:pt x="4991" y="4279"/>
                  </a:lnTo>
                  <a:close/>
                </a:path>
                <a:path w="12065" h="6984">
                  <a:moveTo>
                    <a:pt x="11938" y="825"/>
                  </a:moveTo>
                  <a:lnTo>
                    <a:pt x="11722" y="0"/>
                  </a:lnTo>
                  <a:lnTo>
                    <a:pt x="11277" y="215"/>
                  </a:lnTo>
                  <a:lnTo>
                    <a:pt x="10820" y="431"/>
                  </a:lnTo>
                  <a:lnTo>
                    <a:pt x="10375" y="660"/>
                  </a:lnTo>
                  <a:lnTo>
                    <a:pt x="10325" y="1041"/>
                  </a:lnTo>
                  <a:lnTo>
                    <a:pt x="10261" y="1371"/>
                  </a:lnTo>
                  <a:lnTo>
                    <a:pt x="10185" y="1689"/>
                  </a:lnTo>
                  <a:lnTo>
                    <a:pt x="11353" y="1104"/>
                  </a:lnTo>
                  <a:lnTo>
                    <a:pt x="11938" y="825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1" name="object 543">
              <a:extLst>
                <a:ext uri="{FF2B5EF4-FFF2-40B4-BE49-F238E27FC236}">
                  <a16:creationId xmlns:a16="http://schemas.microsoft.com/office/drawing/2014/main" id="{82F170F9-914E-4D2A-BCE1-229310DF420C}"/>
                </a:ext>
              </a:extLst>
            </p:cNvPr>
            <p:cNvSpPr/>
            <p:nvPr/>
          </p:nvSpPr>
          <p:spPr>
            <a:xfrm>
              <a:off x="7995704" y="6129214"/>
              <a:ext cx="12065" cy="6985"/>
            </a:xfrm>
            <a:custGeom>
              <a:avLst/>
              <a:gdLst/>
              <a:ahLst/>
              <a:cxnLst/>
              <a:rect l="l" t="t" r="r" b="b"/>
              <a:pathLst>
                <a:path w="12065" h="6984">
                  <a:moveTo>
                    <a:pt x="4991" y="4305"/>
                  </a:moveTo>
                  <a:lnTo>
                    <a:pt x="4775" y="3441"/>
                  </a:lnTo>
                  <a:lnTo>
                    <a:pt x="3175" y="4267"/>
                  </a:lnTo>
                  <a:lnTo>
                    <a:pt x="1574" y="5105"/>
                  </a:lnTo>
                  <a:lnTo>
                    <a:pt x="0" y="5956"/>
                  </a:lnTo>
                  <a:lnTo>
                    <a:pt x="228" y="6832"/>
                  </a:lnTo>
                  <a:lnTo>
                    <a:pt x="1803" y="5969"/>
                  </a:lnTo>
                  <a:lnTo>
                    <a:pt x="4991" y="4305"/>
                  </a:lnTo>
                  <a:close/>
                </a:path>
                <a:path w="12065" h="6984">
                  <a:moveTo>
                    <a:pt x="11925" y="838"/>
                  </a:moveTo>
                  <a:lnTo>
                    <a:pt x="11709" y="0"/>
                  </a:lnTo>
                  <a:lnTo>
                    <a:pt x="11125" y="279"/>
                  </a:lnTo>
                  <a:lnTo>
                    <a:pt x="10541" y="571"/>
                  </a:lnTo>
                  <a:lnTo>
                    <a:pt x="9956" y="850"/>
                  </a:lnTo>
                  <a:lnTo>
                    <a:pt x="9829" y="1308"/>
                  </a:lnTo>
                  <a:lnTo>
                    <a:pt x="9677" y="1689"/>
                  </a:lnTo>
                  <a:lnTo>
                    <a:pt x="9486" y="2032"/>
                  </a:lnTo>
                  <a:lnTo>
                    <a:pt x="10287" y="1625"/>
                  </a:lnTo>
                  <a:lnTo>
                    <a:pt x="11112" y="1231"/>
                  </a:lnTo>
                  <a:lnTo>
                    <a:pt x="11925" y="838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2" name="object 544">
              <a:extLst>
                <a:ext uri="{FF2B5EF4-FFF2-40B4-BE49-F238E27FC236}">
                  <a16:creationId xmlns:a16="http://schemas.microsoft.com/office/drawing/2014/main" id="{83474831-D498-49E2-B498-5161D92B2817}"/>
                </a:ext>
              </a:extLst>
            </p:cNvPr>
            <p:cNvSpPr/>
            <p:nvPr/>
          </p:nvSpPr>
          <p:spPr>
            <a:xfrm>
              <a:off x="7995932" y="6130039"/>
              <a:ext cx="12065" cy="6985"/>
            </a:xfrm>
            <a:custGeom>
              <a:avLst/>
              <a:gdLst/>
              <a:ahLst/>
              <a:cxnLst/>
              <a:rect l="l" t="t" r="r" b="b"/>
              <a:pathLst>
                <a:path w="12065" h="6984">
                  <a:moveTo>
                    <a:pt x="11696" y="0"/>
                  </a:moveTo>
                  <a:lnTo>
                    <a:pt x="9258" y="1193"/>
                  </a:lnTo>
                  <a:lnTo>
                    <a:pt x="8572" y="2374"/>
                  </a:lnTo>
                  <a:lnTo>
                    <a:pt x="7366" y="2908"/>
                  </a:lnTo>
                  <a:lnTo>
                    <a:pt x="4787" y="3568"/>
                  </a:lnTo>
                  <a:lnTo>
                    <a:pt x="1574" y="5143"/>
                  </a:lnTo>
                  <a:lnTo>
                    <a:pt x="0" y="6007"/>
                  </a:lnTo>
                  <a:lnTo>
                    <a:pt x="228" y="6883"/>
                  </a:lnTo>
                  <a:lnTo>
                    <a:pt x="4076" y="4787"/>
                  </a:lnTo>
                  <a:lnTo>
                    <a:pt x="7975" y="2768"/>
                  </a:lnTo>
                  <a:lnTo>
                    <a:pt x="11912" y="825"/>
                  </a:lnTo>
                  <a:lnTo>
                    <a:pt x="11696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3" name="object 545">
              <a:extLst>
                <a:ext uri="{FF2B5EF4-FFF2-40B4-BE49-F238E27FC236}">
                  <a16:creationId xmlns:a16="http://schemas.microsoft.com/office/drawing/2014/main" id="{A0BA1665-C92D-411E-B986-5472B38CCB00}"/>
                </a:ext>
              </a:extLst>
            </p:cNvPr>
            <p:cNvSpPr/>
            <p:nvPr/>
          </p:nvSpPr>
          <p:spPr>
            <a:xfrm>
              <a:off x="7996157" y="6130869"/>
              <a:ext cx="12065" cy="6985"/>
            </a:xfrm>
            <a:custGeom>
              <a:avLst/>
              <a:gdLst/>
              <a:ahLst/>
              <a:cxnLst/>
              <a:rect l="l" t="t" r="r" b="b"/>
              <a:pathLst>
                <a:path w="12065" h="6984">
                  <a:moveTo>
                    <a:pt x="11684" y="0"/>
                  </a:moveTo>
                  <a:lnTo>
                    <a:pt x="7747" y="1930"/>
                  </a:lnTo>
                  <a:lnTo>
                    <a:pt x="3848" y="3949"/>
                  </a:lnTo>
                  <a:lnTo>
                    <a:pt x="0" y="6057"/>
                  </a:lnTo>
                  <a:lnTo>
                    <a:pt x="228" y="6934"/>
                  </a:lnTo>
                  <a:lnTo>
                    <a:pt x="1803" y="6057"/>
                  </a:lnTo>
                  <a:lnTo>
                    <a:pt x="4978" y="4368"/>
                  </a:lnTo>
                  <a:lnTo>
                    <a:pt x="4940" y="4191"/>
                  </a:lnTo>
                  <a:lnTo>
                    <a:pt x="5676" y="4000"/>
                  </a:lnTo>
                  <a:lnTo>
                    <a:pt x="7734" y="2921"/>
                  </a:lnTo>
                  <a:lnTo>
                    <a:pt x="11899" y="838"/>
                  </a:lnTo>
                  <a:lnTo>
                    <a:pt x="11684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4" name="object 546">
              <a:extLst>
                <a:ext uri="{FF2B5EF4-FFF2-40B4-BE49-F238E27FC236}">
                  <a16:creationId xmlns:a16="http://schemas.microsoft.com/office/drawing/2014/main" id="{ED2766CB-C864-4A4F-9720-66CADED3ABFA}"/>
                </a:ext>
              </a:extLst>
            </p:cNvPr>
            <p:cNvSpPr/>
            <p:nvPr/>
          </p:nvSpPr>
          <p:spPr>
            <a:xfrm>
              <a:off x="7996377" y="6131716"/>
              <a:ext cx="12065" cy="6985"/>
            </a:xfrm>
            <a:custGeom>
              <a:avLst/>
              <a:gdLst/>
              <a:ahLst/>
              <a:cxnLst/>
              <a:rect l="l" t="t" r="r" b="b"/>
              <a:pathLst>
                <a:path w="12065" h="6984">
                  <a:moveTo>
                    <a:pt x="4978" y="4394"/>
                  </a:moveTo>
                  <a:lnTo>
                    <a:pt x="4762" y="3530"/>
                  </a:lnTo>
                  <a:lnTo>
                    <a:pt x="3162" y="4368"/>
                  </a:lnTo>
                  <a:lnTo>
                    <a:pt x="1574" y="5219"/>
                  </a:lnTo>
                  <a:lnTo>
                    <a:pt x="0" y="6096"/>
                  </a:lnTo>
                  <a:lnTo>
                    <a:pt x="228" y="6972"/>
                  </a:lnTo>
                  <a:lnTo>
                    <a:pt x="1803" y="6096"/>
                  </a:lnTo>
                  <a:lnTo>
                    <a:pt x="4978" y="4394"/>
                  </a:lnTo>
                  <a:close/>
                </a:path>
                <a:path w="12065" h="6984">
                  <a:moveTo>
                    <a:pt x="11887" y="838"/>
                  </a:moveTo>
                  <a:lnTo>
                    <a:pt x="11671" y="0"/>
                  </a:lnTo>
                  <a:lnTo>
                    <a:pt x="9588" y="1028"/>
                  </a:lnTo>
                  <a:lnTo>
                    <a:pt x="5448" y="3175"/>
                  </a:lnTo>
                  <a:lnTo>
                    <a:pt x="6413" y="2921"/>
                  </a:lnTo>
                  <a:lnTo>
                    <a:pt x="7251" y="2794"/>
                  </a:lnTo>
                  <a:lnTo>
                    <a:pt x="7988" y="2819"/>
                  </a:lnTo>
                  <a:lnTo>
                    <a:pt x="9283" y="2146"/>
                  </a:lnTo>
                  <a:lnTo>
                    <a:pt x="11887" y="838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5" name="object 547">
              <a:extLst>
                <a:ext uri="{FF2B5EF4-FFF2-40B4-BE49-F238E27FC236}">
                  <a16:creationId xmlns:a16="http://schemas.microsoft.com/office/drawing/2014/main" id="{87DCB24E-9C9B-438F-937E-3029C000181F}"/>
                </a:ext>
              </a:extLst>
            </p:cNvPr>
            <p:cNvSpPr/>
            <p:nvPr/>
          </p:nvSpPr>
          <p:spPr>
            <a:xfrm>
              <a:off x="7996606" y="6132554"/>
              <a:ext cx="12065" cy="7620"/>
            </a:xfrm>
            <a:custGeom>
              <a:avLst/>
              <a:gdLst/>
              <a:ahLst/>
              <a:cxnLst/>
              <a:rect l="l" t="t" r="r" b="b"/>
              <a:pathLst>
                <a:path w="12065" h="7620">
                  <a:moveTo>
                    <a:pt x="4978" y="4419"/>
                  </a:moveTo>
                  <a:lnTo>
                    <a:pt x="4749" y="3556"/>
                  </a:lnTo>
                  <a:lnTo>
                    <a:pt x="1574" y="5257"/>
                  </a:lnTo>
                  <a:lnTo>
                    <a:pt x="0" y="6134"/>
                  </a:lnTo>
                  <a:lnTo>
                    <a:pt x="228" y="7023"/>
                  </a:lnTo>
                  <a:lnTo>
                    <a:pt x="3378" y="5270"/>
                  </a:lnTo>
                  <a:lnTo>
                    <a:pt x="4978" y="4419"/>
                  </a:lnTo>
                  <a:close/>
                </a:path>
                <a:path w="12065" h="7620">
                  <a:moveTo>
                    <a:pt x="11874" y="850"/>
                  </a:moveTo>
                  <a:lnTo>
                    <a:pt x="11658" y="0"/>
                  </a:lnTo>
                  <a:lnTo>
                    <a:pt x="9055" y="1308"/>
                  </a:lnTo>
                  <a:lnTo>
                    <a:pt x="7759" y="1981"/>
                  </a:lnTo>
                  <a:lnTo>
                    <a:pt x="8242" y="2006"/>
                  </a:lnTo>
                  <a:lnTo>
                    <a:pt x="8686" y="2095"/>
                  </a:lnTo>
                  <a:lnTo>
                    <a:pt x="9105" y="2260"/>
                  </a:lnTo>
                  <a:lnTo>
                    <a:pt x="10033" y="1778"/>
                  </a:lnTo>
                  <a:lnTo>
                    <a:pt x="11874" y="85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6" name="object 548">
              <a:extLst>
                <a:ext uri="{FF2B5EF4-FFF2-40B4-BE49-F238E27FC236}">
                  <a16:creationId xmlns:a16="http://schemas.microsoft.com/office/drawing/2014/main" id="{42B379C2-F5B9-4AE6-8DC4-9D2BB569F4B3}"/>
                </a:ext>
              </a:extLst>
            </p:cNvPr>
            <p:cNvSpPr/>
            <p:nvPr/>
          </p:nvSpPr>
          <p:spPr>
            <a:xfrm>
              <a:off x="7996835" y="6133405"/>
              <a:ext cx="12065" cy="7620"/>
            </a:xfrm>
            <a:custGeom>
              <a:avLst/>
              <a:gdLst/>
              <a:ahLst/>
              <a:cxnLst/>
              <a:rect l="l" t="t" r="r" b="b"/>
              <a:pathLst>
                <a:path w="12065" h="7620">
                  <a:moveTo>
                    <a:pt x="4965" y="4445"/>
                  </a:moveTo>
                  <a:lnTo>
                    <a:pt x="4737" y="3581"/>
                  </a:lnTo>
                  <a:lnTo>
                    <a:pt x="3149" y="4432"/>
                  </a:lnTo>
                  <a:lnTo>
                    <a:pt x="1574" y="5295"/>
                  </a:lnTo>
                  <a:lnTo>
                    <a:pt x="0" y="6172"/>
                  </a:lnTo>
                  <a:lnTo>
                    <a:pt x="228" y="7061"/>
                  </a:lnTo>
                  <a:lnTo>
                    <a:pt x="1803" y="6172"/>
                  </a:lnTo>
                  <a:lnTo>
                    <a:pt x="4965" y="4445"/>
                  </a:lnTo>
                  <a:close/>
                </a:path>
                <a:path w="12065" h="7620">
                  <a:moveTo>
                    <a:pt x="11874" y="838"/>
                  </a:moveTo>
                  <a:lnTo>
                    <a:pt x="11658" y="0"/>
                  </a:lnTo>
                  <a:lnTo>
                    <a:pt x="10731" y="457"/>
                  </a:lnTo>
                  <a:lnTo>
                    <a:pt x="9804" y="927"/>
                  </a:lnTo>
                  <a:lnTo>
                    <a:pt x="8877" y="1409"/>
                  </a:lnTo>
                  <a:lnTo>
                    <a:pt x="9182" y="1536"/>
                  </a:lnTo>
                  <a:lnTo>
                    <a:pt x="9486" y="1701"/>
                  </a:lnTo>
                  <a:lnTo>
                    <a:pt x="9766" y="1917"/>
                  </a:lnTo>
                  <a:lnTo>
                    <a:pt x="10464" y="1562"/>
                  </a:lnTo>
                  <a:lnTo>
                    <a:pt x="11163" y="1193"/>
                  </a:lnTo>
                  <a:lnTo>
                    <a:pt x="11874" y="838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7" name="object 549">
              <a:extLst>
                <a:ext uri="{FF2B5EF4-FFF2-40B4-BE49-F238E27FC236}">
                  <a16:creationId xmlns:a16="http://schemas.microsoft.com/office/drawing/2014/main" id="{FFA48316-DAF4-4E7D-8C95-59927755AA40}"/>
                </a:ext>
              </a:extLst>
            </p:cNvPr>
            <p:cNvSpPr/>
            <p:nvPr/>
          </p:nvSpPr>
          <p:spPr>
            <a:xfrm>
              <a:off x="7997063" y="6134243"/>
              <a:ext cx="12065" cy="7620"/>
            </a:xfrm>
            <a:custGeom>
              <a:avLst/>
              <a:gdLst/>
              <a:ahLst/>
              <a:cxnLst/>
              <a:rect l="l" t="t" r="r" b="b"/>
              <a:pathLst>
                <a:path w="12065" h="7620">
                  <a:moveTo>
                    <a:pt x="4965" y="4483"/>
                  </a:moveTo>
                  <a:lnTo>
                    <a:pt x="4737" y="3606"/>
                  </a:lnTo>
                  <a:lnTo>
                    <a:pt x="3149" y="4457"/>
                  </a:lnTo>
                  <a:lnTo>
                    <a:pt x="1574" y="5334"/>
                  </a:lnTo>
                  <a:lnTo>
                    <a:pt x="0" y="6223"/>
                  </a:lnTo>
                  <a:lnTo>
                    <a:pt x="228" y="7112"/>
                  </a:lnTo>
                  <a:lnTo>
                    <a:pt x="1803" y="6223"/>
                  </a:lnTo>
                  <a:lnTo>
                    <a:pt x="3378" y="5346"/>
                  </a:lnTo>
                  <a:lnTo>
                    <a:pt x="4965" y="4483"/>
                  </a:lnTo>
                  <a:close/>
                </a:path>
                <a:path w="12065" h="7620">
                  <a:moveTo>
                    <a:pt x="11849" y="850"/>
                  </a:moveTo>
                  <a:lnTo>
                    <a:pt x="11633" y="0"/>
                  </a:lnTo>
                  <a:lnTo>
                    <a:pt x="10934" y="355"/>
                  </a:lnTo>
                  <a:lnTo>
                    <a:pt x="10223" y="711"/>
                  </a:lnTo>
                  <a:lnTo>
                    <a:pt x="9525" y="1079"/>
                  </a:lnTo>
                  <a:lnTo>
                    <a:pt x="9753" y="1257"/>
                  </a:lnTo>
                  <a:lnTo>
                    <a:pt x="9969" y="1460"/>
                  </a:lnTo>
                  <a:lnTo>
                    <a:pt x="10185" y="1701"/>
                  </a:lnTo>
                  <a:lnTo>
                    <a:pt x="10744" y="1422"/>
                  </a:lnTo>
                  <a:lnTo>
                    <a:pt x="11290" y="1130"/>
                  </a:lnTo>
                  <a:lnTo>
                    <a:pt x="11849" y="85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8" name="object 550">
              <a:extLst>
                <a:ext uri="{FF2B5EF4-FFF2-40B4-BE49-F238E27FC236}">
                  <a16:creationId xmlns:a16="http://schemas.microsoft.com/office/drawing/2014/main" id="{F69358ED-757D-4B6F-A068-F42D49D856AE}"/>
                </a:ext>
              </a:extLst>
            </p:cNvPr>
            <p:cNvSpPr/>
            <p:nvPr/>
          </p:nvSpPr>
          <p:spPr>
            <a:xfrm>
              <a:off x="7997291" y="6135094"/>
              <a:ext cx="12065" cy="7620"/>
            </a:xfrm>
            <a:custGeom>
              <a:avLst/>
              <a:gdLst/>
              <a:ahLst/>
              <a:cxnLst/>
              <a:rect l="l" t="t" r="r" b="b"/>
              <a:pathLst>
                <a:path w="12065" h="7620">
                  <a:moveTo>
                    <a:pt x="4965" y="4508"/>
                  </a:moveTo>
                  <a:lnTo>
                    <a:pt x="4737" y="3632"/>
                  </a:lnTo>
                  <a:lnTo>
                    <a:pt x="3149" y="4495"/>
                  </a:lnTo>
                  <a:lnTo>
                    <a:pt x="1574" y="5372"/>
                  </a:lnTo>
                  <a:lnTo>
                    <a:pt x="0" y="6261"/>
                  </a:lnTo>
                  <a:lnTo>
                    <a:pt x="228" y="7150"/>
                  </a:lnTo>
                  <a:lnTo>
                    <a:pt x="1803" y="6248"/>
                  </a:lnTo>
                  <a:lnTo>
                    <a:pt x="3378" y="5372"/>
                  </a:lnTo>
                  <a:lnTo>
                    <a:pt x="4965" y="4508"/>
                  </a:lnTo>
                  <a:close/>
                </a:path>
                <a:path w="12065" h="7620">
                  <a:moveTo>
                    <a:pt x="11849" y="850"/>
                  </a:moveTo>
                  <a:lnTo>
                    <a:pt x="11633" y="0"/>
                  </a:lnTo>
                  <a:lnTo>
                    <a:pt x="10515" y="558"/>
                  </a:lnTo>
                  <a:lnTo>
                    <a:pt x="9956" y="850"/>
                  </a:lnTo>
                  <a:lnTo>
                    <a:pt x="10147" y="1054"/>
                  </a:lnTo>
                  <a:lnTo>
                    <a:pt x="10325" y="1295"/>
                  </a:lnTo>
                  <a:lnTo>
                    <a:pt x="10490" y="1549"/>
                  </a:lnTo>
                  <a:lnTo>
                    <a:pt x="10934" y="1308"/>
                  </a:lnTo>
                  <a:lnTo>
                    <a:pt x="11849" y="85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9" name="object 551">
              <a:extLst>
                <a:ext uri="{FF2B5EF4-FFF2-40B4-BE49-F238E27FC236}">
                  <a16:creationId xmlns:a16="http://schemas.microsoft.com/office/drawing/2014/main" id="{3639E103-3ABE-4A80-B152-BD41E3508838}"/>
                </a:ext>
              </a:extLst>
            </p:cNvPr>
            <p:cNvSpPr/>
            <p:nvPr/>
          </p:nvSpPr>
          <p:spPr>
            <a:xfrm>
              <a:off x="7997520" y="6135945"/>
              <a:ext cx="12065" cy="7620"/>
            </a:xfrm>
            <a:custGeom>
              <a:avLst/>
              <a:gdLst/>
              <a:ahLst/>
              <a:cxnLst/>
              <a:rect l="l" t="t" r="r" b="b"/>
              <a:pathLst>
                <a:path w="12065" h="7620">
                  <a:moveTo>
                    <a:pt x="4965" y="4533"/>
                  </a:moveTo>
                  <a:lnTo>
                    <a:pt x="4724" y="3657"/>
                  </a:lnTo>
                  <a:lnTo>
                    <a:pt x="3149" y="4521"/>
                  </a:lnTo>
                  <a:lnTo>
                    <a:pt x="1562" y="5410"/>
                  </a:lnTo>
                  <a:lnTo>
                    <a:pt x="0" y="6299"/>
                  </a:lnTo>
                  <a:lnTo>
                    <a:pt x="228" y="7200"/>
                  </a:lnTo>
                  <a:lnTo>
                    <a:pt x="1803" y="6299"/>
                  </a:lnTo>
                  <a:lnTo>
                    <a:pt x="3378" y="5410"/>
                  </a:lnTo>
                  <a:lnTo>
                    <a:pt x="4965" y="4533"/>
                  </a:lnTo>
                  <a:close/>
                </a:path>
                <a:path w="12065" h="7620">
                  <a:moveTo>
                    <a:pt x="11849" y="850"/>
                  </a:moveTo>
                  <a:lnTo>
                    <a:pt x="11620" y="0"/>
                  </a:lnTo>
                  <a:lnTo>
                    <a:pt x="11176" y="228"/>
                  </a:lnTo>
                  <a:lnTo>
                    <a:pt x="10718" y="469"/>
                  </a:lnTo>
                  <a:lnTo>
                    <a:pt x="10261" y="698"/>
                  </a:lnTo>
                  <a:lnTo>
                    <a:pt x="10414" y="914"/>
                  </a:lnTo>
                  <a:lnTo>
                    <a:pt x="10553" y="1130"/>
                  </a:lnTo>
                  <a:lnTo>
                    <a:pt x="10693" y="1384"/>
                  </a:lnTo>
                  <a:lnTo>
                    <a:pt x="10947" y="1320"/>
                  </a:lnTo>
                  <a:lnTo>
                    <a:pt x="11239" y="1168"/>
                  </a:lnTo>
                  <a:lnTo>
                    <a:pt x="11544" y="1003"/>
                  </a:lnTo>
                  <a:lnTo>
                    <a:pt x="11849" y="85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0" name="object 552">
              <a:extLst>
                <a:ext uri="{FF2B5EF4-FFF2-40B4-BE49-F238E27FC236}">
                  <a16:creationId xmlns:a16="http://schemas.microsoft.com/office/drawing/2014/main" id="{126086B9-CADF-41C1-B311-7A5DFAE25BD4}"/>
                </a:ext>
              </a:extLst>
            </p:cNvPr>
            <p:cNvSpPr/>
            <p:nvPr/>
          </p:nvSpPr>
          <p:spPr>
            <a:xfrm>
              <a:off x="7997762" y="6136808"/>
              <a:ext cx="12065" cy="7620"/>
            </a:xfrm>
            <a:custGeom>
              <a:avLst/>
              <a:gdLst/>
              <a:ahLst/>
              <a:cxnLst/>
              <a:rect l="l" t="t" r="r" b="b"/>
              <a:pathLst>
                <a:path w="12065" h="7620">
                  <a:moveTo>
                    <a:pt x="4953" y="4546"/>
                  </a:moveTo>
                  <a:lnTo>
                    <a:pt x="4724" y="3657"/>
                  </a:lnTo>
                  <a:lnTo>
                    <a:pt x="1562" y="5422"/>
                  </a:lnTo>
                  <a:lnTo>
                    <a:pt x="0" y="6324"/>
                  </a:lnTo>
                  <a:lnTo>
                    <a:pt x="101" y="6731"/>
                  </a:lnTo>
                  <a:lnTo>
                    <a:pt x="152" y="6997"/>
                  </a:lnTo>
                  <a:lnTo>
                    <a:pt x="190" y="7251"/>
                  </a:lnTo>
                  <a:lnTo>
                    <a:pt x="1765" y="6337"/>
                  </a:lnTo>
                  <a:lnTo>
                    <a:pt x="3352" y="5435"/>
                  </a:lnTo>
                  <a:lnTo>
                    <a:pt x="4953" y="4546"/>
                  </a:lnTo>
                  <a:close/>
                </a:path>
                <a:path w="12065" h="7620">
                  <a:moveTo>
                    <a:pt x="11658" y="215"/>
                  </a:moveTo>
                  <a:lnTo>
                    <a:pt x="11595" y="0"/>
                  </a:lnTo>
                  <a:lnTo>
                    <a:pt x="11303" y="152"/>
                  </a:lnTo>
                  <a:lnTo>
                    <a:pt x="10998" y="304"/>
                  </a:lnTo>
                  <a:lnTo>
                    <a:pt x="10706" y="469"/>
                  </a:lnTo>
                  <a:lnTo>
                    <a:pt x="11658" y="215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1" name="object 553">
              <a:extLst>
                <a:ext uri="{FF2B5EF4-FFF2-40B4-BE49-F238E27FC236}">
                  <a16:creationId xmlns:a16="http://schemas.microsoft.com/office/drawing/2014/main" id="{1CF23702-D9A8-4825-8DB1-68709923DACE}"/>
                </a:ext>
              </a:extLst>
            </p:cNvPr>
            <p:cNvSpPr/>
            <p:nvPr/>
          </p:nvSpPr>
          <p:spPr>
            <a:xfrm>
              <a:off x="7997921" y="6141358"/>
              <a:ext cx="5080" cy="3810"/>
            </a:xfrm>
            <a:custGeom>
              <a:avLst/>
              <a:gdLst/>
              <a:ahLst/>
              <a:cxnLst/>
              <a:rect l="l" t="t" r="r" b="b"/>
              <a:pathLst>
                <a:path w="5079" h="3809">
                  <a:moveTo>
                    <a:pt x="4800" y="0"/>
                  </a:moveTo>
                  <a:lnTo>
                    <a:pt x="3200" y="876"/>
                  </a:lnTo>
                  <a:lnTo>
                    <a:pt x="1612" y="1777"/>
                  </a:lnTo>
                  <a:lnTo>
                    <a:pt x="25" y="2705"/>
                  </a:lnTo>
                  <a:lnTo>
                    <a:pt x="76" y="3111"/>
                  </a:lnTo>
                  <a:lnTo>
                    <a:pt x="76" y="3454"/>
                  </a:lnTo>
                  <a:lnTo>
                    <a:pt x="0" y="3759"/>
                  </a:lnTo>
                  <a:lnTo>
                    <a:pt x="1663" y="2781"/>
                  </a:lnTo>
                  <a:lnTo>
                    <a:pt x="3340" y="1816"/>
                  </a:lnTo>
                  <a:lnTo>
                    <a:pt x="5041" y="876"/>
                  </a:lnTo>
                  <a:lnTo>
                    <a:pt x="4914" y="457"/>
                  </a:lnTo>
                  <a:lnTo>
                    <a:pt x="4800" y="0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2" name="object 554">
              <a:extLst>
                <a:ext uri="{FF2B5EF4-FFF2-40B4-BE49-F238E27FC236}">
                  <a16:creationId xmlns:a16="http://schemas.microsoft.com/office/drawing/2014/main" id="{AF768DB2-97F3-4C7A-B0C0-3BD48D167081}"/>
                </a:ext>
              </a:extLst>
            </p:cNvPr>
            <p:cNvSpPr/>
            <p:nvPr/>
          </p:nvSpPr>
          <p:spPr>
            <a:xfrm>
              <a:off x="7995514" y="6136516"/>
              <a:ext cx="19685" cy="11430"/>
            </a:xfrm>
            <a:custGeom>
              <a:avLst/>
              <a:gdLst/>
              <a:ahLst/>
              <a:cxnLst/>
              <a:rect l="l" t="t" r="r" b="b"/>
              <a:pathLst>
                <a:path w="19684" h="11429">
                  <a:moveTo>
                    <a:pt x="7759" y="6565"/>
                  </a:moveTo>
                  <a:lnTo>
                    <a:pt x="7632" y="6311"/>
                  </a:lnTo>
                  <a:lnTo>
                    <a:pt x="7531" y="6032"/>
                  </a:lnTo>
                  <a:lnTo>
                    <a:pt x="7442" y="5727"/>
                  </a:lnTo>
                  <a:lnTo>
                    <a:pt x="5740" y="6667"/>
                  </a:lnTo>
                  <a:lnTo>
                    <a:pt x="2400" y="8610"/>
                  </a:lnTo>
                  <a:lnTo>
                    <a:pt x="2197" y="9486"/>
                  </a:lnTo>
                  <a:lnTo>
                    <a:pt x="1435" y="9994"/>
                  </a:lnTo>
                  <a:lnTo>
                    <a:pt x="0" y="10363"/>
                  </a:lnTo>
                  <a:lnTo>
                    <a:pt x="165" y="10985"/>
                  </a:lnTo>
                  <a:lnTo>
                    <a:pt x="2679" y="9474"/>
                  </a:lnTo>
                  <a:lnTo>
                    <a:pt x="5207" y="8001"/>
                  </a:lnTo>
                  <a:lnTo>
                    <a:pt x="7759" y="6565"/>
                  </a:lnTo>
                  <a:close/>
                </a:path>
                <a:path w="19684" h="11429">
                  <a:moveTo>
                    <a:pt x="19672" y="190"/>
                  </a:moveTo>
                  <a:lnTo>
                    <a:pt x="18821" y="0"/>
                  </a:lnTo>
                  <a:lnTo>
                    <a:pt x="18681" y="279"/>
                  </a:lnTo>
                  <a:lnTo>
                    <a:pt x="18529" y="571"/>
                  </a:lnTo>
                  <a:lnTo>
                    <a:pt x="18376" y="850"/>
                  </a:lnTo>
                  <a:lnTo>
                    <a:pt x="18796" y="622"/>
                  </a:lnTo>
                  <a:lnTo>
                    <a:pt x="19227" y="406"/>
                  </a:lnTo>
                  <a:lnTo>
                    <a:pt x="19672" y="190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3" name="object 555">
              <a:extLst>
                <a:ext uri="{FF2B5EF4-FFF2-40B4-BE49-F238E27FC236}">
                  <a16:creationId xmlns:a16="http://schemas.microsoft.com/office/drawing/2014/main" id="{9683B836-CF9E-4778-957E-A0260F2FA174}"/>
                </a:ext>
              </a:extLst>
            </p:cNvPr>
            <p:cNvSpPr/>
            <p:nvPr/>
          </p:nvSpPr>
          <p:spPr>
            <a:xfrm>
              <a:off x="7995666" y="6136707"/>
              <a:ext cx="19685" cy="11430"/>
            </a:xfrm>
            <a:custGeom>
              <a:avLst/>
              <a:gdLst/>
              <a:ahLst/>
              <a:cxnLst/>
              <a:rect l="l" t="t" r="r" b="b"/>
              <a:pathLst>
                <a:path w="19684" h="11429">
                  <a:moveTo>
                    <a:pt x="8153" y="7073"/>
                  </a:moveTo>
                  <a:lnTo>
                    <a:pt x="7924" y="6896"/>
                  </a:lnTo>
                  <a:lnTo>
                    <a:pt x="7747" y="6654"/>
                  </a:lnTo>
                  <a:lnTo>
                    <a:pt x="7594" y="6362"/>
                  </a:lnTo>
                  <a:lnTo>
                    <a:pt x="5054" y="7810"/>
                  </a:lnTo>
                  <a:lnTo>
                    <a:pt x="2514" y="9283"/>
                  </a:lnTo>
                  <a:lnTo>
                    <a:pt x="0" y="10795"/>
                  </a:lnTo>
                  <a:lnTo>
                    <a:pt x="101" y="11188"/>
                  </a:lnTo>
                  <a:lnTo>
                    <a:pt x="1854" y="10744"/>
                  </a:lnTo>
                  <a:lnTo>
                    <a:pt x="3937" y="9499"/>
                  </a:lnTo>
                  <a:lnTo>
                    <a:pt x="6032" y="8267"/>
                  </a:lnTo>
                  <a:lnTo>
                    <a:pt x="8153" y="7073"/>
                  </a:lnTo>
                  <a:close/>
                </a:path>
                <a:path w="19684" h="11429">
                  <a:moveTo>
                    <a:pt x="19621" y="25"/>
                  </a:moveTo>
                  <a:lnTo>
                    <a:pt x="19088" y="215"/>
                  </a:lnTo>
                  <a:lnTo>
                    <a:pt x="18656" y="444"/>
                  </a:lnTo>
                  <a:lnTo>
                    <a:pt x="18224" y="660"/>
                  </a:lnTo>
                  <a:lnTo>
                    <a:pt x="17945" y="1155"/>
                  </a:lnTo>
                  <a:lnTo>
                    <a:pt x="17653" y="1638"/>
                  </a:lnTo>
                  <a:lnTo>
                    <a:pt x="17322" y="2095"/>
                  </a:lnTo>
                  <a:lnTo>
                    <a:pt x="18046" y="1714"/>
                  </a:lnTo>
                  <a:lnTo>
                    <a:pt x="19494" y="977"/>
                  </a:lnTo>
                  <a:lnTo>
                    <a:pt x="19621" y="25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4" name="object 556">
              <a:extLst>
                <a:ext uri="{FF2B5EF4-FFF2-40B4-BE49-F238E27FC236}">
                  <a16:creationId xmlns:a16="http://schemas.microsoft.com/office/drawing/2014/main" id="{AE228444-8C10-485A-AB8D-CA3BD8823762}"/>
                </a:ext>
              </a:extLst>
            </p:cNvPr>
            <p:cNvSpPr/>
            <p:nvPr/>
          </p:nvSpPr>
          <p:spPr>
            <a:xfrm>
              <a:off x="7997520" y="6137672"/>
              <a:ext cx="17780" cy="10160"/>
            </a:xfrm>
            <a:custGeom>
              <a:avLst/>
              <a:gdLst/>
              <a:ahLst/>
              <a:cxnLst/>
              <a:rect l="l" t="t" r="r" b="b"/>
              <a:pathLst>
                <a:path w="17779" h="10159">
                  <a:moveTo>
                    <a:pt x="7480" y="6451"/>
                  </a:moveTo>
                  <a:lnTo>
                    <a:pt x="6972" y="6477"/>
                  </a:lnTo>
                  <a:lnTo>
                    <a:pt x="6591" y="6350"/>
                  </a:lnTo>
                  <a:lnTo>
                    <a:pt x="6299" y="6108"/>
                  </a:lnTo>
                  <a:lnTo>
                    <a:pt x="4191" y="7302"/>
                  </a:lnTo>
                  <a:lnTo>
                    <a:pt x="2082" y="8521"/>
                  </a:lnTo>
                  <a:lnTo>
                    <a:pt x="0" y="9766"/>
                  </a:lnTo>
                  <a:lnTo>
                    <a:pt x="3136" y="8966"/>
                  </a:lnTo>
                  <a:lnTo>
                    <a:pt x="6032" y="7277"/>
                  </a:lnTo>
                  <a:lnTo>
                    <a:pt x="7480" y="6451"/>
                  </a:lnTo>
                  <a:close/>
                </a:path>
                <a:path w="17779" h="10159">
                  <a:moveTo>
                    <a:pt x="17640" y="0"/>
                  </a:moveTo>
                  <a:lnTo>
                    <a:pt x="16916" y="368"/>
                  </a:lnTo>
                  <a:lnTo>
                    <a:pt x="16192" y="749"/>
                  </a:lnTo>
                  <a:lnTo>
                    <a:pt x="15468" y="1117"/>
                  </a:lnTo>
                  <a:lnTo>
                    <a:pt x="15036" y="1727"/>
                  </a:lnTo>
                  <a:lnTo>
                    <a:pt x="14579" y="2298"/>
                  </a:lnTo>
                  <a:lnTo>
                    <a:pt x="14071" y="2844"/>
                  </a:lnTo>
                  <a:lnTo>
                    <a:pt x="15214" y="2222"/>
                  </a:lnTo>
                  <a:lnTo>
                    <a:pt x="17500" y="1028"/>
                  </a:lnTo>
                  <a:lnTo>
                    <a:pt x="17640" y="0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5" name="object 557">
              <a:extLst>
                <a:ext uri="{FF2B5EF4-FFF2-40B4-BE49-F238E27FC236}">
                  <a16:creationId xmlns:a16="http://schemas.microsoft.com/office/drawing/2014/main" id="{9FE387D3-195C-47F3-9623-6AB7F5BC07AC}"/>
                </a:ext>
              </a:extLst>
            </p:cNvPr>
            <p:cNvSpPr/>
            <p:nvPr/>
          </p:nvSpPr>
          <p:spPr>
            <a:xfrm>
              <a:off x="8000663" y="6138711"/>
              <a:ext cx="14604" cy="8255"/>
            </a:xfrm>
            <a:custGeom>
              <a:avLst/>
              <a:gdLst/>
              <a:ahLst/>
              <a:cxnLst/>
              <a:rect l="l" t="t" r="r" b="b"/>
              <a:pathLst>
                <a:path w="14604" h="8254">
                  <a:moveTo>
                    <a:pt x="7262" y="4762"/>
                  </a:moveTo>
                  <a:lnTo>
                    <a:pt x="4927" y="5372"/>
                  </a:lnTo>
                  <a:lnTo>
                    <a:pt x="4622" y="5410"/>
                  </a:lnTo>
                  <a:lnTo>
                    <a:pt x="4356" y="5410"/>
                  </a:lnTo>
                  <a:lnTo>
                    <a:pt x="1404" y="7099"/>
                  </a:lnTo>
                  <a:lnTo>
                    <a:pt x="0" y="7924"/>
                  </a:lnTo>
                  <a:lnTo>
                    <a:pt x="3200" y="7099"/>
                  </a:lnTo>
                  <a:lnTo>
                    <a:pt x="7262" y="4762"/>
                  </a:lnTo>
                  <a:close/>
                </a:path>
                <a:path w="14604" h="8254">
                  <a:moveTo>
                    <a:pt x="8075" y="4316"/>
                  </a:moveTo>
                  <a:lnTo>
                    <a:pt x="7262" y="4762"/>
                  </a:lnTo>
                  <a:lnTo>
                    <a:pt x="7505" y="4698"/>
                  </a:lnTo>
                  <a:lnTo>
                    <a:pt x="8075" y="4316"/>
                  </a:lnTo>
                  <a:close/>
                </a:path>
                <a:path w="14604" h="8254">
                  <a:moveTo>
                    <a:pt x="14363" y="0"/>
                  </a:moveTo>
                  <a:lnTo>
                    <a:pt x="12077" y="1181"/>
                  </a:lnTo>
                  <a:lnTo>
                    <a:pt x="10934" y="1803"/>
                  </a:lnTo>
                  <a:lnTo>
                    <a:pt x="9397" y="3428"/>
                  </a:lnTo>
                  <a:lnTo>
                    <a:pt x="8075" y="4316"/>
                  </a:lnTo>
                  <a:lnTo>
                    <a:pt x="10528" y="2971"/>
                  </a:lnTo>
                  <a:lnTo>
                    <a:pt x="14223" y="1041"/>
                  </a:lnTo>
                  <a:lnTo>
                    <a:pt x="14363" y="0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6" name="object 558">
              <a:extLst>
                <a:ext uri="{FF2B5EF4-FFF2-40B4-BE49-F238E27FC236}">
                  <a16:creationId xmlns:a16="http://schemas.microsoft.com/office/drawing/2014/main" id="{D54902BC-ADA7-4ED2-8AB9-D470F3382974}"/>
                </a:ext>
              </a:extLst>
            </p:cNvPr>
            <p:cNvSpPr/>
            <p:nvPr/>
          </p:nvSpPr>
          <p:spPr>
            <a:xfrm>
              <a:off x="8003864" y="6139745"/>
              <a:ext cx="11430" cy="6350"/>
            </a:xfrm>
            <a:custGeom>
              <a:avLst/>
              <a:gdLst/>
              <a:ahLst/>
              <a:cxnLst/>
              <a:rect l="l" t="t" r="r" b="b"/>
              <a:pathLst>
                <a:path w="11429" h="6350">
                  <a:moveTo>
                    <a:pt x="11023" y="0"/>
                  </a:moveTo>
                  <a:lnTo>
                    <a:pt x="7327" y="1943"/>
                  </a:lnTo>
                  <a:lnTo>
                    <a:pt x="3644" y="3962"/>
                  </a:lnTo>
                  <a:lnTo>
                    <a:pt x="0" y="6070"/>
                  </a:lnTo>
                  <a:lnTo>
                    <a:pt x="3276" y="5219"/>
                  </a:lnTo>
                  <a:lnTo>
                    <a:pt x="5803" y="3797"/>
                  </a:lnTo>
                  <a:lnTo>
                    <a:pt x="8343" y="2400"/>
                  </a:lnTo>
                  <a:lnTo>
                    <a:pt x="10883" y="1054"/>
                  </a:lnTo>
                  <a:lnTo>
                    <a:pt x="11023" y="0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7" name="object 559">
              <a:extLst>
                <a:ext uri="{FF2B5EF4-FFF2-40B4-BE49-F238E27FC236}">
                  <a16:creationId xmlns:a16="http://schemas.microsoft.com/office/drawing/2014/main" id="{A56A19D8-CEE7-430A-A015-A62FAB80D299}"/>
                </a:ext>
              </a:extLst>
            </p:cNvPr>
            <p:cNvSpPr/>
            <p:nvPr/>
          </p:nvSpPr>
          <p:spPr>
            <a:xfrm>
              <a:off x="8007144" y="6140797"/>
              <a:ext cx="7620" cy="4445"/>
            </a:xfrm>
            <a:custGeom>
              <a:avLst/>
              <a:gdLst/>
              <a:ahLst/>
              <a:cxnLst/>
              <a:rect l="l" t="t" r="r" b="b"/>
              <a:pathLst>
                <a:path w="7620" h="4445">
                  <a:moveTo>
                    <a:pt x="7607" y="0"/>
                  </a:moveTo>
                  <a:lnTo>
                    <a:pt x="5067" y="1346"/>
                  </a:lnTo>
                  <a:lnTo>
                    <a:pt x="2514" y="2743"/>
                  </a:lnTo>
                  <a:lnTo>
                    <a:pt x="0" y="4165"/>
                  </a:lnTo>
                  <a:lnTo>
                    <a:pt x="3352" y="3301"/>
                  </a:lnTo>
                  <a:lnTo>
                    <a:pt x="6096" y="1790"/>
                  </a:lnTo>
                  <a:lnTo>
                    <a:pt x="7467" y="1066"/>
                  </a:lnTo>
                  <a:lnTo>
                    <a:pt x="7607" y="0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8" name="object 560">
              <a:extLst>
                <a:ext uri="{FF2B5EF4-FFF2-40B4-BE49-F238E27FC236}">
                  <a16:creationId xmlns:a16="http://schemas.microsoft.com/office/drawing/2014/main" id="{51118550-CB47-4154-BBDA-C0B34D238FE4}"/>
                </a:ext>
              </a:extLst>
            </p:cNvPr>
            <p:cNvSpPr/>
            <p:nvPr/>
          </p:nvSpPr>
          <p:spPr>
            <a:xfrm>
              <a:off x="8010493" y="6141857"/>
              <a:ext cx="4445" cy="2540"/>
            </a:xfrm>
            <a:custGeom>
              <a:avLst/>
              <a:gdLst/>
              <a:ahLst/>
              <a:cxnLst/>
              <a:rect l="l" t="t" r="r" b="b"/>
              <a:pathLst>
                <a:path w="4445" h="2540">
                  <a:moveTo>
                    <a:pt x="4127" y="0"/>
                  </a:moveTo>
                  <a:lnTo>
                    <a:pt x="2743" y="736"/>
                  </a:lnTo>
                  <a:lnTo>
                    <a:pt x="1371" y="1485"/>
                  </a:lnTo>
                  <a:lnTo>
                    <a:pt x="0" y="2247"/>
                  </a:lnTo>
                  <a:lnTo>
                    <a:pt x="3441" y="1358"/>
                  </a:lnTo>
                  <a:lnTo>
                    <a:pt x="3619" y="1257"/>
                  </a:lnTo>
                  <a:lnTo>
                    <a:pt x="3987" y="1066"/>
                  </a:lnTo>
                  <a:lnTo>
                    <a:pt x="4127" y="0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9" name="object 561">
              <a:extLst>
                <a:ext uri="{FF2B5EF4-FFF2-40B4-BE49-F238E27FC236}">
                  <a16:creationId xmlns:a16="http://schemas.microsoft.com/office/drawing/2014/main" id="{3E29C6E7-EB57-4781-AD87-F52627FC83D9}"/>
                </a:ext>
              </a:extLst>
            </p:cNvPr>
            <p:cNvSpPr/>
            <p:nvPr/>
          </p:nvSpPr>
          <p:spPr>
            <a:xfrm>
              <a:off x="8013933" y="6142921"/>
              <a:ext cx="635" cy="635"/>
            </a:xfrm>
            <a:custGeom>
              <a:avLst/>
              <a:gdLst/>
              <a:ahLst/>
              <a:cxnLst/>
              <a:rect l="l" t="t" r="r" b="b"/>
              <a:pathLst>
                <a:path w="634" h="634">
                  <a:moveTo>
                    <a:pt x="546" y="0"/>
                  </a:moveTo>
                  <a:lnTo>
                    <a:pt x="355" y="101"/>
                  </a:lnTo>
                  <a:lnTo>
                    <a:pt x="177" y="203"/>
                  </a:lnTo>
                  <a:lnTo>
                    <a:pt x="0" y="292"/>
                  </a:lnTo>
                  <a:lnTo>
                    <a:pt x="520" y="165"/>
                  </a:lnTo>
                  <a:lnTo>
                    <a:pt x="546" y="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0" name="object 562">
              <a:extLst>
                <a:ext uri="{FF2B5EF4-FFF2-40B4-BE49-F238E27FC236}">
                  <a16:creationId xmlns:a16="http://schemas.microsoft.com/office/drawing/2014/main" id="{86FCF4AF-A15A-46D7-8D6B-B18746BB7222}"/>
                </a:ext>
              </a:extLst>
            </p:cNvPr>
            <p:cNvSpPr/>
            <p:nvPr/>
          </p:nvSpPr>
          <p:spPr>
            <a:xfrm>
              <a:off x="8015714" y="6119224"/>
              <a:ext cx="635" cy="635"/>
            </a:xfrm>
            <a:custGeom>
              <a:avLst/>
              <a:gdLst/>
              <a:ahLst/>
              <a:cxnLst/>
              <a:rect l="l" t="t" r="r" b="b"/>
              <a:pathLst>
                <a:path w="634" h="634">
                  <a:moveTo>
                    <a:pt x="127" y="0"/>
                  </a:move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1" name="object 563">
              <a:extLst>
                <a:ext uri="{FF2B5EF4-FFF2-40B4-BE49-F238E27FC236}">
                  <a16:creationId xmlns:a16="http://schemas.microsoft.com/office/drawing/2014/main" id="{39488315-9DC1-4C57-BE26-9B85FB260B19}"/>
                </a:ext>
              </a:extLst>
            </p:cNvPr>
            <p:cNvSpPr/>
            <p:nvPr/>
          </p:nvSpPr>
          <p:spPr>
            <a:xfrm>
              <a:off x="8015717" y="6119003"/>
              <a:ext cx="3175" cy="1270"/>
            </a:xfrm>
            <a:custGeom>
              <a:avLst/>
              <a:gdLst/>
              <a:ahLst/>
              <a:cxnLst/>
              <a:rect l="l" t="t" r="r" b="b"/>
              <a:pathLst>
                <a:path w="3175" h="1270">
                  <a:moveTo>
                    <a:pt x="2781" y="0"/>
                  </a:moveTo>
                  <a:lnTo>
                    <a:pt x="127" y="228"/>
                  </a:lnTo>
                  <a:lnTo>
                    <a:pt x="0" y="279"/>
                  </a:lnTo>
                  <a:lnTo>
                    <a:pt x="63" y="1104"/>
                  </a:lnTo>
                  <a:lnTo>
                    <a:pt x="965" y="736"/>
                  </a:lnTo>
                  <a:lnTo>
                    <a:pt x="1866" y="355"/>
                  </a:lnTo>
                  <a:lnTo>
                    <a:pt x="2781" y="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2" name="object 564">
              <a:extLst>
                <a:ext uri="{FF2B5EF4-FFF2-40B4-BE49-F238E27FC236}">
                  <a16:creationId xmlns:a16="http://schemas.microsoft.com/office/drawing/2014/main" id="{D34D1442-6778-4D66-94F3-8BF199926362}"/>
                </a:ext>
              </a:extLst>
            </p:cNvPr>
            <p:cNvSpPr/>
            <p:nvPr/>
          </p:nvSpPr>
          <p:spPr>
            <a:xfrm>
              <a:off x="8015786" y="6118767"/>
              <a:ext cx="5715" cy="1905"/>
            </a:xfrm>
            <a:custGeom>
              <a:avLst/>
              <a:gdLst/>
              <a:ahLst/>
              <a:cxnLst/>
              <a:rect l="l" t="t" r="r" b="b"/>
              <a:pathLst>
                <a:path w="5715" h="1904">
                  <a:moveTo>
                    <a:pt x="5410" y="0"/>
                  </a:moveTo>
                  <a:lnTo>
                    <a:pt x="2717" y="241"/>
                  </a:lnTo>
                  <a:lnTo>
                    <a:pt x="1803" y="596"/>
                  </a:lnTo>
                  <a:lnTo>
                    <a:pt x="901" y="965"/>
                  </a:lnTo>
                  <a:lnTo>
                    <a:pt x="0" y="1346"/>
                  </a:lnTo>
                  <a:lnTo>
                    <a:pt x="12" y="1524"/>
                  </a:lnTo>
                  <a:lnTo>
                    <a:pt x="368" y="1562"/>
                  </a:lnTo>
                  <a:lnTo>
                    <a:pt x="736" y="1638"/>
                  </a:lnTo>
                  <a:lnTo>
                    <a:pt x="1079" y="1752"/>
                  </a:lnTo>
                  <a:lnTo>
                    <a:pt x="3962" y="571"/>
                  </a:lnTo>
                  <a:lnTo>
                    <a:pt x="5410" y="0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3" name="object 565">
              <a:extLst>
                <a:ext uri="{FF2B5EF4-FFF2-40B4-BE49-F238E27FC236}">
                  <a16:creationId xmlns:a16="http://schemas.microsoft.com/office/drawing/2014/main" id="{026CE196-05DB-4C12-A35F-719C19507797}"/>
                </a:ext>
              </a:extLst>
            </p:cNvPr>
            <p:cNvSpPr/>
            <p:nvPr/>
          </p:nvSpPr>
          <p:spPr>
            <a:xfrm>
              <a:off x="8016867" y="6118558"/>
              <a:ext cx="6985" cy="2540"/>
            </a:xfrm>
            <a:custGeom>
              <a:avLst/>
              <a:gdLst/>
              <a:ahLst/>
              <a:cxnLst/>
              <a:rect l="l" t="t" r="r" b="b"/>
              <a:pathLst>
                <a:path w="6984" h="2540">
                  <a:moveTo>
                    <a:pt x="6934" y="0"/>
                  </a:moveTo>
                  <a:lnTo>
                    <a:pt x="4330" y="215"/>
                  </a:lnTo>
                  <a:lnTo>
                    <a:pt x="1447" y="1358"/>
                  </a:lnTo>
                  <a:lnTo>
                    <a:pt x="0" y="1955"/>
                  </a:lnTo>
                  <a:lnTo>
                    <a:pt x="368" y="2070"/>
                  </a:lnTo>
                  <a:lnTo>
                    <a:pt x="723" y="2209"/>
                  </a:lnTo>
                  <a:lnTo>
                    <a:pt x="1054" y="2374"/>
                  </a:lnTo>
                  <a:lnTo>
                    <a:pt x="3022" y="1562"/>
                  </a:lnTo>
                  <a:lnTo>
                    <a:pt x="6959" y="25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4" name="object 566">
              <a:extLst>
                <a:ext uri="{FF2B5EF4-FFF2-40B4-BE49-F238E27FC236}">
                  <a16:creationId xmlns:a16="http://schemas.microsoft.com/office/drawing/2014/main" id="{F00F7AD4-FA10-4EC5-A219-4A2DDAEEC84D}"/>
                </a:ext>
              </a:extLst>
            </p:cNvPr>
            <p:cNvSpPr/>
            <p:nvPr/>
          </p:nvSpPr>
          <p:spPr>
            <a:xfrm>
              <a:off x="8017916" y="6118585"/>
              <a:ext cx="6985" cy="3175"/>
            </a:xfrm>
            <a:custGeom>
              <a:avLst/>
              <a:gdLst/>
              <a:ahLst/>
              <a:cxnLst/>
              <a:rect l="l" t="t" r="r" b="b"/>
              <a:pathLst>
                <a:path w="6984" h="3175">
                  <a:moveTo>
                    <a:pt x="5918" y="0"/>
                  </a:moveTo>
                  <a:lnTo>
                    <a:pt x="3937" y="761"/>
                  </a:lnTo>
                  <a:lnTo>
                    <a:pt x="1968" y="1536"/>
                  </a:lnTo>
                  <a:lnTo>
                    <a:pt x="0" y="2349"/>
                  </a:lnTo>
                  <a:lnTo>
                    <a:pt x="304" y="2501"/>
                  </a:lnTo>
                  <a:lnTo>
                    <a:pt x="584" y="2666"/>
                  </a:lnTo>
                  <a:lnTo>
                    <a:pt x="850" y="2857"/>
                  </a:lnTo>
                  <a:lnTo>
                    <a:pt x="4559" y="1346"/>
                  </a:lnTo>
                  <a:lnTo>
                    <a:pt x="6438" y="622"/>
                  </a:lnTo>
                  <a:lnTo>
                    <a:pt x="5918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5" name="object 567">
              <a:extLst>
                <a:ext uri="{FF2B5EF4-FFF2-40B4-BE49-F238E27FC236}">
                  <a16:creationId xmlns:a16="http://schemas.microsoft.com/office/drawing/2014/main" id="{BB05FF9F-11E5-49E6-9C06-9307611A8DDC}"/>
                </a:ext>
              </a:extLst>
            </p:cNvPr>
            <p:cNvSpPr/>
            <p:nvPr/>
          </p:nvSpPr>
          <p:spPr>
            <a:xfrm>
              <a:off x="8018762" y="6119213"/>
              <a:ext cx="6350" cy="3175"/>
            </a:xfrm>
            <a:custGeom>
              <a:avLst/>
              <a:gdLst/>
              <a:ahLst/>
              <a:cxnLst/>
              <a:rect l="l" t="t" r="r" b="b"/>
              <a:pathLst>
                <a:path w="6350" h="3175">
                  <a:moveTo>
                    <a:pt x="5587" y="0"/>
                  </a:moveTo>
                  <a:lnTo>
                    <a:pt x="3721" y="723"/>
                  </a:lnTo>
                  <a:lnTo>
                    <a:pt x="1854" y="1473"/>
                  </a:lnTo>
                  <a:lnTo>
                    <a:pt x="0" y="2235"/>
                  </a:lnTo>
                  <a:lnTo>
                    <a:pt x="241" y="2412"/>
                  </a:lnTo>
                  <a:lnTo>
                    <a:pt x="469" y="2603"/>
                  </a:lnTo>
                  <a:lnTo>
                    <a:pt x="685" y="2806"/>
                  </a:lnTo>
                  <a:lnTo>
                    <a:pt x="2489" y="2057"/>
                  </a:lnTo>
                  <a:lnTo>
                    <a:pt x="4292" y="1333"/>
                  </a:lnTo>
                  <a:lnTo>
                    <a:pt x="6108" y="634"/>
                  </a:lnTo>
                  <a:lnTo>
                    <a:pt x="5587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6" name="object 568">
              <a:extLst>
                <a:ext uri="{FF2B5EF4-FFF2-40B4-BE49-F238E27FC236}">
                  <a16:creationId xmlns:a16="http://schemas.microsoft.com/office/drawing/2014/main" id="{C410757E-BCD1-4D86-A50E-73D7E583A338}"/>
                </a:ext>
              </a:extLst>
            </p:cNvPr>
            <p:cNvSpPr/>
            <p:nvPr/>
          </p:nvSpPr>
          <p:spPr>
            <a:xfrm>
              <a:off x="8019453" y="6117835"/>
              <a:ext cx="13335" cy="5080"/>
            </a:xfrm>
            <a:custGeom>
              <a:avLst/>
              <a:gdLst/>
              <a:ahLst/>
              <a:cxnLst/>
              <a:rect l="l" t="t" r="r" b="b"/>
              <a:pathLst>
                <a:path w="13334" h="5079">
                  <a:moveTo>
                    <a:pt x="5930" y="2641"/>
                  </a:moveTo>
                  <a:lnTo>
                    <a:pt x="5410" y="2019"/>
                  </a:lnTo>
                  <a:lnTo>
                    <a:pt x="3606" y="2717"/>
                  </a:lnTo>
                  <a:lnTo>
                    <a:pt x="1790" y="3441"/>
                  </a:lnTo>
                  <a:lnTo>
                    <a:pt x="0" y="4191"/>
                  </a:lnTo>
                  <a:lnTo>
                    <a:pt x="165" y="4356"/>
                  </a:lnTo>
                  <a:lnTo>
                    <a:pt x="215" y="4953"/>
                  </a:lnTo>
                  <a:lnTo>
                    <a:pt x="4013" y="3390"/>
                  </a:lnTo>
                  <a:lnTo>
                    <a:pt x="5930" y="2641"/>
                  </a:lnTo>
                  <a:close/>
                </a:path>
                <a:path w="13334" h="5079">
                  <a:moveTo>
                    <a:pt x="12979" y="0"/>
                  </a:moveTo>
                  <a:lnTo>
                    <a:pt x="12179" y="63"/>
                  </a:lnTo>
                  <a:lnTo>
                    <a:pt x="12204" y="279"/>
                  </a:lnTo>
                  <a:lnTo>
                    <a:pt x="12458" y="190"/>
                  </a:lnTo>
                  <a:lnTo>
                    <a:pt x="12712" y="88"/>
                  </a:lnTo>
                  <a:lnTo>
                    <a:pt x="12979" y="0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7" name="object 569">
              <a:extLst>
                <a:ext uri="{FF2B5EF4-FFF2-40B4-BE49-F238E27FC236}">
                  <a16:creationId xmlns:a16="http://schemas.microsoft.com/office/drawing/2014/main" id="{274E5454-E121-4457-9E98-C549A6BF541B}"/>
                </a:ext>
              </a:extLst>
            </p:cNvPr>
            <p:cNvSpPr/>
            <p:nvPr/>
          </p:nvSpPr>
          <p:spPr>
            <a:xfrm>
              <a:off x="8019657" y="6117593"/>
              <a:ext cx="15875" cy="6350"/>
            </a:xfrm>
            <a:custGeom>
              <a:avLst/>
              <a:gdLst/>
              <a:ahLst/>
              <a:cxnLst/>
              <a:rect l="l" t="t" r="r" b="b"/>
              <a:pathLst>
                <a:path w="15875" h="6350">
                  <a:moveTo>
                    <a:pt x="6248" y="3505"/>
                  </a:moveTo>
                  <a:lnTo>
                    <a:pt x="5727" y="2882"/>
                  </a:lnTo>
                  <a:lnTo>
                    <a:pt x="3810" y="3632"/>
                  </a:lnTo>
                  <a:lnTo>
                    <a:pt x="1905" y="4394"/>
                  </a:lnTo>
                  <a:lnTo>
                    <a:pt x="0" y="5194"/>
                  </a:lnTo>
                  <a:lnTo>
                    <a:pt x="76" y="6032"/>
                  </a:lnTo>
                  <a:lnTo>
                    <a:pt x="2120" y="5156"/>
                  </a:lnTo>
                  <a:lnTo>
                    <a:pt x="4178" y="4318"/>
                  </a:lnTo>
                  <a:lnTo>
                    <a:pt x="6248" y="3505"/>
                  </a:lnTo>
                  <a:close/>
                </a:path>
                <a:path w="15875" h="6350">
                  <a:moveTo>
                    <a:pt x="15709" y="0"/>
                  </a:moveTo>
                  <a:lnTo>
                    <a:pt x="12776" y="241"/>
                  </a:lnTo>
                  <a:lnTo>
                    <a:pt x="12509" y="330"/>
                  </a:lnTo>
                  <a:lnTo>
                    <a:pt x="12255" y="431"/>
                  </a:lnTo>
                  <a:lnTo>
                    <a:pt x="12001" y="520"/>
                  </a:lnTo>
                  <a:lnTo>
                    <a:pt x="12065" y="1295"/>
                  </a:lnTo>
                  <a:lnTo>
                    <a:pt x="13271" y="850"/>
                  </a:lnTo>
                  <a:lnTo>
                    <a:pt x="14490" y="419"/>
                  </a:lnTo>
                  <a:lnTo>
                    <a:pt x="15709" y="0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8" name="object 570">
              <a:extLst>
                <a:ext uri="{FF2B5EF4-FFF2-40B4-BE49-F238E27FC236}">
                  <a16:creationId xmlns:a16="http://schemas.microsoft.com/office/drawing/2014/main" id="{AB7C36CC-8FEF-481E-AEFE-1C50569D89C4}"/>
                </a:ext>
              </a:extLst>
            </p:cNvPr>
            <p:cNvSpPr/>
            <p:nvPr/>
          </p:nvSpPr>
          <p:spPr>
            <a:xfrm>
              <a:off x="8019745" y="6117327"/>
              <a:ext cx="19050" cy="7620"/>
            </a:xfrm>
            <a:custGeom>
              <a:avLst/>
              <a:gdLst/>
              <a:ahLst/>
              <a:cxnLst/>
              <a:rect l="l" t="t" r="r" b="b"/>
              <a:pathLst>
                <a:path w="19050" h="7620">
                  <a:moveTo>
                    <a:pt x="6680" y="4419"/>
                  </a:moveTo>
                  <a:lnTo>
                    <a:pt x="6159" y="3784"/>
                  </a:lnTo>
                  <a:lnTo>
                    <a:pt x="4102" y="4597"/>
                  </a:lnTo>
                  <a:lnTo>
                    <a:pt x="2044" y="5435"/>
                  </a:lnTo>
                  <a:lnTo>
                    <a:pt x="0" y="6311"/>
                  </a:lnTo>
                  <a:lnTo>
                    <a:pt x="63" y="7150"/>
                  </a:lnTo>
                  <a:lnTo>
                    <a:pt x="2260" y="6210"/>
                  </a:lnTo>
                  <a:lnTo>
                    <a:pt x="4470" y="5295"/>
                  </a:lnTo>
                  <a:lnTo>
                    <a:pt x="6680" y="4419"/>
                  </a:lnTo>
                  <a:close/>
                </a:path>
                <a:path w="19050" h="7620">
                  <a:moveTo>
                    <a:pt x="18618" y="0"/>
                  </a:moveTo>
                  <a:lnTo>
                    <a:pt x="15621" y="254"/>
                  </a:lnTo>
                  <a:lnTo>
                    <a:pt x="13182" y="1117"/>
                  </a:lnTo>
                  <a:lnTo>
                    <a:pt x="11976" y="1562"/>
                  </a:lnTo>
                  <a:lnTo>
                    <a:pt x="12585" y="1625"/>
                  </a:lnTo>
                  <a:lnTo>
                    <a:pt x="13093" y="1689"/>
                  </a:lnTo>
                  <a:lnTo>
                    <a:pt x="13525" y="1790"/>
                  </a:lnTo>
                  <a:lnTo>
                    <a:pt x="16916" y="571"/>
                  </a:lnTo>
                  <a:lnTo>
                    <a:pt x="18618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9" name="object 571">
              <a:extLst>
                <a:ext uri="{FF2B5EF4-FFF2-40B4-BE49-F238E27FC236}">
                  <a16:creationId xmlns:a16="http://schemas.microsoft.com/office/drawing/2014/main" id="{249CDFD2-EB48-49CA-B119-58D31F28F039}"/>
                </a:ext>
              </a:extLst>
            </p:cNvPr>
            <p:cNvSpPr/>
            <p:nvPr/>
          </p:nvSpPr>
          <p:spPr>
            <a:xfrm>
              <a:off x="8019808" y="6117200"/>
              <a:ext cx="20320" cy="8255"/>
            </a:xfrm>
            <a:custGeom>
              <a:avLst/>
              <a:gdLst/>
              <a:ahLst/>
              <a:cxnLst/>
              <a:rect l="l" t="t" r="r" b="b"/>
              <a:pathLst>
                <a:path w="20320" h="8254">
                  <a:moveTo>
                    <a:pt x="7137" y="5168"/>
                  </a:moveTo>
                  <a:lnTo>
                    <a:pt x="6616" y="4533"/>
                  </a:lnTo>
                  <a:lnTo>
                    <a:pt x="4406" y="5410"/>
                  </a:lnTo>
                  <a:lnTo>
                    <a:pt x="2197" y="6324"/>
                  </a:lnTo>
                  <a:lnTo>
                    <a:pt x="0" y="7277"/>
                  </a:lnTo>
                  <a:lnTo>
                    <a:pt x="76" y="8115"/>
                  </a:lnTo>
                  <a:lnTo>
                    <a:pt x="1155" y="7658"/>
                  </a:lnTo>
                  <a:lnTo>
                    <a:pt x="1689" y="7416"/>
                  </a:lnTo>
                  <a:lnTo>
                    <a:pt x="1625" y="6794"/>
                  </a:lnTo>
                  <a:lnTo>
                    <a:pt x="2044" y="7277"/>
                  </a:lnTo>
                  <a:lnTo>
                    <a:pt x="3733" y="6553"/>
                  </a:lnTo>
                  <a:lnTo>
                    <a:pt x="7137" y="5168"/>
                  </a:lnTo>
                  <a:close/>
                </a:path>
                <a:path w="20320" h="8254">
                  <a:moveTo>
                    <a:pt x="20231" y="342"/>
                  </a:moveTo>
                  <a:lnTo>
                    <a:pt x="20205" y="0"/>
                  </a:lnTo>
                  <a:lnTo>
                    <a:pt x="18554" y="139"/>
                  </a:lnTo>
                  <a:lnTo>
                    <a:pt x="16852" y="711"/>
                  </a:lnTo>
                  <a:lnTo>
                    <a:pt x="13449" y="1930"/>
                  </a:lnTo>
                  <a:lnTo>
                    <a:pt x="13855" y="2032"/>
                  </a:lnTo>
                  <a:lnTo>
                    <a:pt x="14160" y="2184"/>
                  </a:lnTo>
                  <a:lnTo>
                    <a:pt x="14427" y="2387"/>
                  </a:lnTo>
                  <a:lnTo>
                    <a:pt x="16370" y="1676"/>
                  </a:lnTo>
                  <a:lnTo>
                    <a:pt x="20231" y="342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0" name="object 572">
              <a:extLst>
                <a:ext uri="{FF2B5EF4-FFF2-40B4-BE49-F238E27FC236}">
                  <a16:creationId xmlns:a16="http://schemas.microsoft.com/office/drawing/2014/main" id="{0528BD74-60B6-4D19-B699-9061B24984B7}"/>
                </a:ext>
              </a:extLst>
            </p:cNvPr>
            <p:cNvSpPr/>
            <p:nvPr/>
          </p:nvSpPr>
          <p:spPr>
            <a:xfrm>
              <a:off x="8019884" y="6117542"/>
              <a:ext cx="20320" cy="8890"/>
            </a:xfrm>
            <a:custGeom>
              <a:avLst/>
              <a:gdLst/>
              <a:ahLst/>
              <a:cxnLst/>
              <a:rect l="l" t="t" r="r" b="b"/>
              <a:pathLst>
                <a:path w="20320" h="8890">
                  <a:moveTo>
                    <a:pt x="1676" y="7924"/>
                  </a:moveTo>
                  <a:lnTo>
                    <a:pt x="1600" y="7073"/>
                  </a:lnTo>
                  <a:lnTo>
                    <a:pt x="1066" y="7302"/>
                  </a:lnTo>
                  <a:lnTo>
                    <a:pt x="0" y="7772"/>
                  </a:lnTo>
                  <a:lnTo>
                    <a:pt x="63" y="8623"/>
                  </a:lnTo>
                  <a:lnTo>
                    <a:pt x="596" y="8382"/>
                  </a:lnTo>
                  <a:lnTo>
                    <a:pt x="1143" y="8153"/>
                  </a:lnTo>
                  <a:lnTo>
                    <a:pt x="1676" y="7924"/>
                  </a:lnTo>
                  <a:close/>
                </a:path>
                <a:path w="20320" h="8890">
                  <a:moveTo>
                    <a:pt x="7581" y="5461"/>
                  </a:moveTo>
                  <a:lnTo>
                    <a:pt x="7061" y="4826"/>
                  </a:lnTo>
                  <a:lnTo>
                    <a:pt x="5346" y="5511"/>
                  </a:lnTo>
                  <a:lnTo>
                    <a:pt x="3644" y="6210"/>
                  </a:lnTo>
                  <a:lnTo>
                    <a:pt x="1955" y="6934"/>
                  </a:lnTo>
                  <a:lnTo>
                    <a:pt x="2489" y="7569"/>
                  </a:lnTo>
                  <a:lnTo>
                    <a:pt x="4178" y="6845"/>
                  </a:lnTo>
                  <a:lnTo>
                    <a:pt x="5880" y="6146"/>
                  </a:lnTo>
                  <a:lnTo>
                    <a:pt x="7581" y="5461"/>
                  </a:lnTo>
                  <a:close/>
                </a:path>
                <a:path w="20320" h="8890">
                  <a:moveTo>
                    <a:pt x="20231" y="698"/>
                  </a:moveTo>
                  <a:lnTo>
                    <a:pt x="20167" y="0"/>
                  </a:lnTo>
                  <a:lnTo>
                    <a:pt x="18237" y="647"/>
                  </a:lnTo>
                  <a:lnTo>
                    <a:pt x="16294" y="1320"/>
                  </a:lnTo>
                  <a:lnTo>
                    <a:pt x="14363" y="2032"/>
                  </a:lnTo>
                  <a:lnTo>
                    <a:pt x="14592" y="2197"/>
                  </a:lnTo>
                  <a:lnTo>
                    <a:pt x="14770" y="2400"/>
                  </a:lnTo>
                  <a:lnTo>
                    <a:pt x="14922" y="2641"/>
                  </a:lnTo>
                  <a:lnTo>
                    <a:pt x="16154" y="2184"/>
                  </a:lnTo>
                  <a:lnTo>
                    <a:pt x="18605" y="1308"/>
                  </a:lnTo>
                  <a:lnTo>
                    <a:pt x="19024" y="1079"/>
                  </a:lnTo>
                  <a:lnTo>
                    <a:pt x="19558" y="876"/>
                  </a:lnTo>
                  <a:lnTo>
                    <a:pt x="20231" y="698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1" name="object 573">
              <a:extLst>
                <a:ext uri="{FF2B5EF4-FFF2-40B4-BE49-F238E27FC236}">
                  <a16:creationId xmlns:a16="http://schemas.microsoft.com/office/drawing/2014/main" id="{18BEC8E0-11B3-4DF1-83DC-FA9415C72485}"/>
                </a:ext>
              </a:extLst>
            </p:cNvPr>
            <p:cNvSpPr/>
            <p:nvPr/>
          </p:nvSpPr>
          <p:spPr>
            <a:xfrm>
              <a:off x="8019948" y="6118851"/>
              <a:ext cx="19050" cy="8255"/>
            </a:xfrm>
            <a:custGeom>
              <a:avLst/>
              <a:gdLst/>
              <a:ahLst/>
              <a:cxnLst/>
              <a:rect l="l" t="t" r="r" b="b"/>
              <a:pathLst>
                <a:path w="19050" h="8254">
                  <a:moveTo>
                    <a:pt x="1689" y="7454"/>
                  </a:moveTo>
                  <a:lnTo>
                    <a:pt x="1612" y="6616"/>
                  </a:lnTo>
                  <a:lnTo>
                    <a:pt x="1079" y="6845"/>
                  </a:lnTo>
                  <a:lnTo>
                    <a:pt x="533" y="7073"/>
                  </a:lnTo>
                  <a:lnTo>
                    <a:pt x="0" y="7315"/>
                  </a:lnTo>
                  <a:lnTo>
                    <a:pt x="76" y="8166"/>
                  </a:lnTo>
                  <a:lnTo>
                    <a:pt x="609" y="7924"/>
                  </a:lnTo>
                  <a:lnTo>
                    <a:pt x="1143" y="7696"/>
                  </a:lnTo>
                  <a:lnTo>
                    <a:pt x="1689" y="7454"/>
                  </a:lnTo>
                  <a:close/>
                </a:path>
                <a:path w="19050" h="8254">
                  <a:moveTo>
                    <a:pt x="8051" y="4787"/>
                  </a:moveTo>
                  <a:lnTo>
                    <a:pt x="7531" y="4152"/>
                  </a:lnTo>
                  <a:lnTo>
                    <a:pt x="5816" y="4838"/>
                  </a:lnTo>
                  <a:lnTo>
                    <a:pt x="2425" y="6261"/>
                  </a:lnTo>
                  <a:lnTo>
                    <a:pt x="2971" y="6908"/>
                  </a:lnTo>
                  <a:lnTo>
                    <a:pt x="4660" y="6184"/>
                  </a:lnTo>
                  <a:lnTo>
                    <a:pt x="6350" y="5473"/>
                  </a:lnTo>
                  <a:lnTo>
                    <a:pt x="8051" y="4787"/>
                  </a:lnTo>
                  <a:close/>
                </a:path>
                <a:path w="19050" h="8254">
                  <a:moveTo>
                    <a:pt x="18542" y="0"/>
                  </a:moveTo>
                  <a:lnTo>
                    <a:pt x="17322" y="431"/>
                  </a:lnTo>
                  <a:lnTo>
                    <a:pt x="14859" y="1320"/>
                  </a:lnTo>
                  <a:lnTo>
                    <a:pt x="14986" y="1524"/>
                  </a:lnTo>
                  <a:lnTo>
                    <a:pt x="15100" y="1752"/>
                  </a:lnTo>
                  <a:lnTo>
                    <a:pt x="15176" y="2006"/>
                  </a:lnTo>
                  <a:lnTo>
                    <a:pt x="15925" y="1739"/>
                  </a:lnTo>
                  <a:lnTo>
                    <a:pt x="16675" y="1460"/>
                  </a:lnTo>
                  <a:lnTo>
                    <a:pt x="17424" y="1193"/>
                  </a:lnTo>
                  <a:lnTo>
                    <a:pt x="17627" y="698"/>
                  </a:lnTo>
                  <a:lnTo>
                    <a:pt x="17983" y="317"/>
                  </a:lnTo>
                  <a:lnTo>
                    <a:pt x="18542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2" name="object 574">
              <a:extLst>
                <a:ext uri="{FF2B5EF4-FFF2-40B4-BE49-F238E27FC236}">
                  <a16:creationId xmlns:a16="http://schemas.microsoft.com/office/drawing/2014/main" id="{1333422C-4F79-415A-ABCF-23AE409377F4}"/>
                </a:ext>
              </a:extLst>
            </p:cNvPr>
            <p:cNvSpPr/>
            <p:nvPr/>
          </p:nvSpPr>
          <p:spPr>
            <a:xfrm>
              <a:off x="8020025" y="6120044"/>
              <a:ext cx="17780" cy="8255"/>
            </a:xfrm>
            <a:custGeom>
              <a:avLst/>
              <a:gdLst/>
              <a:ahLst/>
              <a:cxnLst/>
              <a:rect l="l" t="t" r="r" b="b"/>
              <a:pathLst>
                <a:path w="17779" h="8254">
                  <a:moveTo>
                    <a:pt x="1663" y="7124"/>
                  </a:moveTo>
                  <a:lnTo>
                    <a:pt x="1600" y="6273"/>
                  </a:lnTo>
                  <a:lnTo>
                    <a:pt x="1066" y="6502"/>
                  </a:lnTo>
                  <a:lnTo>
                    <a:pt x="533" y="6743"/>
                  </a:lnTo>
                  <a:lnTo>
                    <a:pt x="0" y="6972"/>
                  </a:lnTo>
                  <a:lnTo>
                    <a:pt x="63" y="7835"/>
                  </a:lnTo>
                  <a:lnTo>
                    <a:pt x="596" y="7594"/>
                  </a:lnTo>
                  <a:lnTo>
                    <a:pt x="1663" y="7124"/>
                  </a:lnTo>
                  <a:close/>
                </a:path>
                <a:path w="17779" h="8254">
                  <a:moveTo>
                    <a:pt x="8483" y="4229"/>
                  </a:moveTo>
                  <a:lnTo>
                    <a:pt x="7962" y="3594"/>
                  </a:lnTo>
                  <a:lnTo>
                    <a:pt x="6273" y="4279"/>
                  </a:lnTo>
                  <a:lnTo>
                    <a:pt x="4584" y="4978"/>
                  </a:lnTo>
                  <a:lnTo>
                    <a:pt x="2895" y="5702"/>
                  </a:lnTo>
                  <a:lnTo>
                    <a:pt x="3429" y="6350"/>
                  </a:lnTo>
                  <a:lnTo>
                    <a:pt x="6794" y="4914"/>
                  </a:lnTo>
                  <a:lnTo>
                    <a:pt x="8483" y="4229"/>
                  </a:lnTo>
                  <a:close/>
                </a:path>
                <a:path w="17779" h="8254">
                  <a:moveTo>
                    <a:pt x="17335" y="0"/>
                  </a:moveTo>
                  <a:lnTo>
                    <a:pt x="16586" y="279"/>
                  </a:lnTo>
                  <a:lnTo>
                    <a:pt x="15849" y="546"/>
                  </a:lnTo>
                  <a:lnTo>
                    <a:pt x="15100" y="825"/>
                  </a:lnTo>
                  <a:lnTo>
                    <a:pt x="15176" y="1041"/>
                  </a:lnTo>
                  <a:lnTo>
                    <a:pt x="15240" y="1295"/>
                  </a:lnTo>
                  <a:lnTo>
                    <a:pt x="15290" y="1562"/>
                  </a:lnTo>
                  <a:lnTo>
                    <a:pt x="17119" y="876"/>
                  </a:lnTo>
                  <a:lnTo>
                    <a:pt x="17157" y="558"/>
                  </a:lnTo>
                  <a:lnTo>
                    <a:pt x="17221" y="266"/>
                  </a:lnTo>
                  <a:lnTo>
                    <a:pt x="17335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3" name="object 575">
              <a:extLst>
                <a:ext uri="{FF2B5EF4-FFF2-40B4-BE49-F238E27FC236}">
                  <a16:creationId xmlns:a16="http://schemas.microsoft.com/office/drawing/2014/main" id="{3C5C6E34-4293-4898-AA25-E30B538C2D72}"/>
                </a:ext>
              </a:extLst>
            </p:cNvPr>
            <p:cNvSpPr/>
            <p:nvPr/>
          </p:nvSpPr>
          <p:spPr>
            <a:xfrm>
              <a:off x="8020088" y="6120921"/>
              <a:ext cx="17145" cy="8255"/>
            </a:xfrm>
            <a:custGeom>
              <a:avLst/>
              <a:gdLst/>
              <a:ahLst/>
              <a:cxnLst/>
              <a:rect l="l" t="t" r="r" b="b"/>
              <a:pathLst>
                <a:path w="17145" h="8254">
                  <a:moveTo>
                    <a:pt x="1689" y="7099"/>
                  </a:moveTo>
                  <a:lnTo>
                    <a:pt x="1612" y="6248"/>
                  </a:lnTo>
                  <a:lnTo>
                    <a:pt x="1079" y="6477"/>
                  </a:lnTo>
                  <a:lnTo>
                    <a:pt x="546" y="6718"/>
                  </a:lnTo>
                  <a:lnTo>
                    <a:pt x="0" y="6959"/>
                  </a:lnTo>
                  <a:lnTo>
                    <a:pt x="76" y="7823"/>
                  </a:lnTo>
                  <a:lnTo>
                    <a:pt x="609" y="7581"/>
                  </a:lnTo>
                  <a:lnTo>
                    <a:pt x="1155" y="7340"/>
                  </a:lnTo>
                  <a:lnTo>
                    <a:pt x="1689" y="7099"/>
                  </a:lnTo>
                  <a:close/>
                </a:path>
                <a:path w="17145" h="8254">
                  <a:moveTo>
                    <a:pt x="8953" y="3987"/>
                  </a:moveTo>
                  <a:lnTo>
                    <a:pt x="8432" y="3352"/>
                  </a:lnTo>
                  <a:lnTo>
                    <a:pt x="6743" y="4038"/>
                  </a:lnTo>
                  <a:lnTo>
                    <a:pt x="5054" y="4749"/>
                  </a:lnTo>
                  <a:lnTo>
                    <a:pt x="3365" y="5473"/>
                  </a:lnTo>
                  <a:lnTo>
                    <a:pt x="3911" y="6121"/>
                  </a:lnTo>
                  <a:lnTo>
                    <a:pt x="5588" y="5384"/>
                  </a:lnTo>
                  <a:lnTo>
                    <a:pt x="7277" y="4673"/>
                  </a:lnTo>
                  <a:lnTo>
                    <a:pt x="8953" y="3987"/>
                  </a:lnTo>
                  <a:close/>
                </a:path>
                <a:path w="17145" h="8254">
                  <a:moveTo>
                    <a:pt x="17056" y="0"/>
                  </a:moveTo>
                  <a:lnTo>
                    <a:pt x="15836" y="457"/>
                  </a:lnTo>
                  <a:lnTo>
                    <a:pt x="15240" y="685"/>
                  </a:lnTo>
                  <a:lnTo>
                    <a:pt x="15316" y="1181"/>
                  </a:lnTo>
                  <a:lnTo>
                    <a:pt x="15354" y="1447"/>
                  </a:lnTo>
                  <a:lnTo>
                    <a:pt x="15900" y="1244"/>
                  </a:lnTo>
                  <a:lnTo>
                    <a:pt x="16459" y="1028"/>
                  </a:lnTo>
                  <a:lnTo>
                    <a:pt x="17018" y="825"/>
                  </a:lnTo>
                  <a:lnTo>
                    <a:pt x="17018" y="533"/>
                  </a:lnTo>
                  <a:lnTo>
                    <a:pt x="17030" y="254"/>
                  </a:lnTo>
                  <a:lnTo>
                    <a:pt x="17056" y="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4" name="object 576">
              <a:extLst>
                <a:ext uri="{FF2B5EF4-FFF2-40B4-BE49-F238E27FC236}">
                  <a16:creationId xmlns:a16="http://schemas.microsoft.com/office/drawing/2014/main" id="{0314106D-3999-46ED-A210-F0FC84701883}"/>
                </a:ext>
              </a:extLst>
            </p:cNvPr>
            <p:cNvSpPr/>
            <p:nvPr/>
          </p:nvSpPr>
          <p:spPr>
            <a:xfrm>
              <a:off x="8020164" y="6121746"/>
              <a:ext cx="17145" cy="8255"/>
            </a:xfrm>
            <a:custGeom>
              <a:avLst/>
              <a:gdLst/>
              <a:ahLst/>
              <a:cxnLst/>
              <a:rect l="l" t="t" r="r" b="b"/>
              <a:pathLst>
                <a:path w="17145" h="8254">
                  <a:moveTo>
                    <a:pt x="1689" y="7137"/>
                  </a:moveTo>
                  <a:lnTo>
                    <a:pt x="1612" y="6273"/>
                  </a:lnTo>
                  <a:lnTo>
                    <a:pt x="546" y="6756"/>
                  </a:lnTo>
                  <a:lnTo>
                    <a:pt x="0" y="6997"/>
                  </a:lnTo>
                  <a:lnTo>
                    <a:pt x="76" y="7874"/>
                  </a:lnTo>
                  <a:lnTo>
                    <a:pt x="609" y="7632"/>
                  </a:lnTo>
                  <a:lnTo>
                    <a:pt x="1143" y="7378"/>
                  </a:lnTo>
                  <a:lnTo>
                    <a:pt x="1689" y="7137"/>
                  </a:lnTo>
                  <a:close/>
                </a:path>
                <a:path w="17145" h="8254">
                  <a:moveTo>
                    <a:pt x="9410" y="3797"/>
                  </a:moveTo>
                  <a:lnTo>
                    <a:pt x="8890" y="3162"/>
                  </a:lnTo>
                  <a:lnTo>
                    <a:pt x="7200" y="3848"/>
                  </a:lnTo>
                  <a:lnTo>
                    <a:pt x="3835" y="5295"/>
                  </a:lnTo>
                  <a:lnTo>
                    <a:pt x="4381" y="5943"/>
                  </a:lnTo>
                  <a:lnTo>
                    <a:pt x="6057" y="5207"/>
                  </a:lnTo>
                  <a:lnTo>
                    <a:pt x="7734" y="4495"/>
                  </a:lnTo>
                  <a:lnTo>
                    <a:pt x="9410" y="3797"/>
                  </a:lnTo>
                  <a:close/>
                </a:path>
                <a:path w="17145" h="8254">
                  <a:moveTo>
                    <a:pt x="16967" y="800"/>
                  </a:moveTo>
                  <a:lnTo>
                    <a:pt x="16941" y="254"/>
                  </a:lnTo>
                  <a:lnTo>
                    <a:pt x="16941" y="0"/>
                  </a:lnTo>
                  <a:lnTo>
                    <a:pt x="16383" y="215"/>
                  </a:lnTo>
                  <a:lnTo>
                    <a:pt x="15265" y="622"/>
                  </a:lnTo>
                  <a:lnTo>
                    <a:pt x="15303" y="889"/>
                  </a:lnTo>
                  <a:lnTo>
                    <a:pt x="15354" y="1422"/>
                  </a:lnTo>
                  <a:lnTo>
                    <a:pt x="15887" y="1219"/>
                  </a:lnTo>
                  <a:lnTo>
                    <a:pt x="16433" y="1003"/>
                  </a:lnTo>
                  <a:lnTo>
                    <a:pt x="16967" y="80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5" name="object 577">
              <a:extLst>
                <a:ext uri="{FF2B5EF4-FFF2-40B4-BE49-F238E27FC236}">
                  <a16:creationId xmlns:a16="http://schemas.microsoft.com/office/drawing/2014/main" id="{33E85AAD-AE07-4D41-8E04-56BB5998BDAB}"/>
                </a:ext>
              </a:extLst>
            </p:cNvPr>
            <p:cNvSpPr/>
            <p:nvPr/>
          </p:nvSpPr>
          <p:spPr>
            <a:xfrm>
              <a:off x="8020240" y="6122546"/>
              <a:ext cx="17145" cy="8255"/>
            </a:xfrm>
            <a:custGeom>
              <a:avLst/>
              <a:gdLst/>
              <a:ahLst/>
              <a:cxnLst/>
              <a:rect l="l" t="t" r="r" b="b"/>
              <a:pathLst>
                <a:path w="17145" h="8254">
                  <a:moveTo>
                    <a:pt x="1689" y="7200"/>
                  </a:moveTo>
                  <a:lnTo>
                    <a:pt x="1612" y="6337"/>
                  </a:lnTo>
                  <a:lnTo>
                    <a:pt x="1079" y="6578"/>
                  </a:lnTo>
                  <a:lnTo>
                    <a:pt x="533" y="6819"/>
                  </a:lnTo>
                  <a:lnTo>
                    <a:pt x="0" y="7061"/>
                  </a:lnTo>
                  <a:lnTo>
                    <a:pt x="76" y="7937"/>
                  </a:lnTo>
                  <a:lnTo>
                    <a:pt x="609" y="7683"/>
                  </a:lnTo>
                  <a:lnTo>
                    <a:pt x="1143" y="7442"/>
                  </a:lnTo>
                  <a:lnTo>
                    <a:pt x="1689" y="7200"/>
                  </a:lnTo>
                  <a:close/>
                </a:path>
                <a:path w="17145" h="8254">
                  <a:moveTo>
                    <a:pt x="9855" y="3644"/>
                  </a:moveTo>
                  <a:lnTo>
                    <a:pt x="9334" y="2997"/>
                  </a:lnTo>
                  <a:lnTo>
                    <a:pt x="7645" y="3695"/>
                  </a:lnTo>
                  <a:lnTo>
                    <a:pt x="4292" y="5143"/>
                  </a:lnTo>
                  <a:lnTo>
                    <a:pt x="4838" y="5791"/>
                  </a:lnTo>
                  <a:lnTo>
                    <a:pt x="6502" y="5054"/>
                  </a:lnTo>
                  <a:lnTo>
                    <a:pt x="8178" y="4343"/>
                  </a:lnTo>
                  <a:lnTo>
                    <a:pt x="9855" y="3644"/>
                  </a:lnTo>
                  <a:close/>
                </a:path>
                <a:path w="17145" h="8254">
                  <a:moveTo>
                    <a:pt x="16967" y="800"/>
                  </a:moveTo>
                  <a:lnTo>
                    <a:pt x="16941" y="508"/>
                  </a:lnTo>
                  <a:lnTo>
                    <a:pt x="16903" y="0"/>
                  </a:lnTo>
                  <a:lnTo>
                    <a:pt x="16357" y="215"/>
                  </a:lnTo>
                  <a:lnTo>
                    <a:pt x="15824" y="419"/>
                  </a:lnTo>
                  <a:lnTo>
                    <a:pt x="15278" y="622"/>
                  </a:lnTo>
                  <a:lnTo>
                    <a:pt x="15354" y="1435"/>
                  </a:lnTo>
                  <a:lnTo>
                    <a:pt x="15887" y="1219"/>
                  </a:lnTo>
                  <a:lnTo>
                    <a:pt x="16433" y="1016"/>
                  </a:lnTo>
                  <a:lnTo>
                    <a:pt x="16967" y="80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6" name="object 578">
              <a:extLst>
                <a:ext uri="{FF2B5EF4-FFF2-40B4-BE49-F238E27FC236}">
                  <a16:creationId xmlns:a16="http://schemas.microsoft.com/office/drawing/2014/main" id="{84EE3723-BEF2-4AD2-B9D5-D1E1EF1D8DA2}"/>
                </a:ext>
              </a:extLst>
            </p:cNvPr>
            <p:cNvSpPr/>
            <p:nvPr/>
          </p:nvSpPr>
          <p:spPr>
            <a:xfrm>
              <a:off x="8020304" y="6123346"/>
              <a:ext cx="17145" cy="8255"/>
            </a:xfrm>
            <a:custGeom>
              <a:avLst/>
              <a:gdLst/>
              <a:ahLst/>
              <a:cxnLst/>
              <a:rect l="l" t="t" r="r" b="b"/>
              <a:pathLst>
                <a:path w="17145" h="8254">
                  <a:moveTo>
                    <a:pt x="1689" y="7264"/>
                  </a:moveTo>
                  <a:lnTo>
                    <a:pt x="1612" y="6400"/>
                  </a:lnTo>
                  <a:lnTo>
                    <a:pt x="1079" y="6642"/>
                  </a:lnTo>
                  <a:lnTo>
                    <a:pt x="533" y="6883"/>
                  </a:lnTo>
                  <a:lnTo>
                    <a:pt x="0" y="7137"/>
                  </a:lnTo>
                  <a:lnTo>
                    <a:pt x="76" y="8013"/>
                  </a:lnTo>
                  <a:lnTo>
                    <a:pt x="609" y="7759"/>
                  </a:lnTo>
                  <a:lnTo>
                    <a:pt x="1155" y="7518"/>
                  </a:lnTo>
                  <a:lnTo>
                    <a:pt x="1689" y="7264"/>
                  </a:lnTo>
                  <a:close/>
                </a:path>
                <a:path w="17145" h="8254">
                  <a:moveTo>
                    <a:pt x="10325" y="3467"/>
                  </a:moveTo>
                  <a:lnTo>
                    <a:pt x="9791" y="2832"/>
                  </a:lnTo>
                  <a:lnTo>
                    <a:pt x="8115" y="3530"/>
                  </a:lnTo>
                  <a:lnTo>
                    <a:pt x="6451" y="4241"/>
                  </a:lnTo>
                  <a:lnTo>
                    <a:pt x="4775" y="4978"/>
                  </a:lnTo>
                  <a:lnTo>
                    <a:pt x="5321" y="5626"/>
                  </a:lnTo>
                  <a:lnTo>
                    <a:pt x="6985" y="4889"/>
                  </a:lnTo>
                  <a:lnTo>
                    <a:pt x="10325" y="3467"/>
                  </a:lnTo>
                  <a:close/>
                </a:path>
                <a:path w="17145" h="8254">
                  <a:moveTo>
                    <a:pt x="16954" y="800"/>
                  </a:moveTo>
                  <a:lnTo>
                    <a:pt x="16891" y="0"/>
                  </a:lnTo>
                  <a:lnTo>
                    <a:pt x="16357" y="203"/>
                  </a:lnTo>
                  <a:lnTo>
                    <a:pt x="15811" y="419"/>
                  </a:lnTo>
                  <a:lnTo>
                    <a:pt x="15278" y="622"/>
                  </a:lnTo>
                  <a:lnTo>
                    <a:pt x="15341" y="1422"/>
                  </a:lnTo>
                  <a:lnTo>
                    <a:pt x="15887" y="1219"/>
                  </a:lnTo>
                  <a:lnTo>
                    <a:pt x="16421" y="1003"/>
                  </a:lnTo>
                  <a:lnTo>
                    <a:pt x="16954" y="80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7" name="object 579">
              <a:extLst>
                <a:ext uri="{FF2B5EF4-FFF2-40B4-BE49-F238E27FC236}">
                  <a16:creationId xmlns:a16="http://schemas.microsoft.com/office/drawing/2014/main" id="{12EF15BD-CA88-4734-9305-FDDA80962EB2}"/>
                </a:ext>
              </a:extLst>
            </p:cNvPr>
            <p:cNvSpPr/>
            <p:nvPr/>
          </p:nvSpPr>
          <p:spPr>
            <a:xfrm>
              <a:off x="8020393" y="6124134"/>
              <a:ext cx="17145" cy="8255"/>
            </a:xfrm>
            <a:custGeom>
              <a:avLst/>
              <a:gdLst/>
              <a:ahLst/>
              <a:cxnLst/>
              <a:rect l="l" t="t" r="r" b="b"/>
              <a:pathLst>
                <a:path w="17145" h="8254">
                  <a:moveTo>
                    <a:pt x="1676" y="7366"/>
                  </a:moveTo>
                  <a:lnTo>
                    <a:pt x="1600" y="6489"/>
                  </a:lnTo>
                  <a:lnTo>
                    <a:pt x="1066" y="6731"/>
                  </a:lnTo>
                  <a:lnTo>
                    <a:pt x="533" y="6985"/>
                  </a:lnTo>
                  <a:lnTo>
                    <a:pt x="0" y="7226"/>
                  </a:lnTo>
                  <a:lnTo>
                    <a:pt x="76" y="8115"/>
                  </a:lnTo>
                  <a:lnTo>
                    <a:pt x="1143" y="7607"/>
                  </a:lnTo>
                  <a:lnTo>
                    <a:pt x="1676" y="7366"/>
                  </a:lnTo>
                  <a:close/>
                </a:path>
                <a:path w="17145" h="8254">
                  <a:moveTo>
                    <a:pt x="10756" y="3340"/>
                  </a:moveTo>
                  <a:lnTo>
                    <a:pt x="10236" y="2692"/>
                  </a:lnTo>
                  <a:lnTo>
                    <a:pt x="8572" y="3390"/>
                  </a:lnTo>
                  <a:lnTo>
                    <a:pt x="6896" y="4114"/>
                  </a:lnTo>
                  <a:lnTo>
                    <a:pt x="5232" y="4851"/>
                  </a:lnTo>
                  <a:lnTo>
                    <a:pt x="5778" y="5499"/>
                  </a:lnTo>
                  <a:lnTo>
                    <a:pt x="7442" y="4762"/>
                  </a:lnTo>
                  <a:lnTo>
                    <a:pt x="9105" y="4038"/>
                  </a:lnTo>
                  <a:lnTo>
                    <a:pt x="10756" y="3340"/>
                  </a:lnTo>
                  <a:close/>
                </a:path>
                <a:path w="17145" h="8254">
                  <a:moveTo>
                    <a:pt x="16941" y="812"/>
                  </a:moveTo>
                  <a:lnTo>
                    <a:pt x="16878" y="0"/>
                  </a:lnTo>
                  <a:lnTo>
                    <a:pt x="16344" y="215"/>
                  </a:lnTo>
                  <a:lnTo>
                    <a:pt x="15798" y="419"/>
                  </a:lnTo>
                  <a:lnTo>
                    <a:pt x="15265" y="635"/>
                  </a:lnTo>
                  <a:lnTo>
                    <a:pt x="15328" y="1447"/>
                  </a:lnTo>
                  <a:lnTo>
                    <a:pt x="15875" y="1231"/>
                  </a:lnTo>
                  <a:lnTo>
                    <a:pt x="16408" y="1016"/>
                  </a:lnTo>
                  <a:lnTo>
                    <a:pt x="16941" y="812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8" name="object 580">
              <a:extLst>
                <a:ext uri="{FF2B5EF4-FFF2-40B4-BE49-F238E27FC236}">
                  <a16:creationId xmlns:a16="http://schemas.microsoft.com/office/drawing/2014/main" id="{A4E23909-233C-4F97-9576-877E02435A96}"/>
                </a:ext>
              </a:extLst>
            </p:cNvPr>
            <p:cNvSpPr/>
            <p:nvPr/>
          </p:nvSpPr>
          <p:spPr>
            <a:xfrm>
              <a:off x="8020456" y="6124947"/>
              <a:ext cx="17145" cy="8255"/>
            </a:xfrm>
            <a:custGeom>
              <a:avLst/>
              <a:gdLst/>
              <a:ahLst/>
              <a:cxnLst/>
              <a:rect l="l" t="t" r="r" b="b"/>
              <a:pathLst>
                <a:path w="17145" h="8254">
                  <a:moveTo>
                    <a:pt x="1676" y="7429"/>
                  </a:moveTo>
                  <a:lnTo>
                    <a:pt x="1600" y="6553"/>
                  </a:lnTo>
                  <a:lnTo>
                    <a:pt x="1066" y="6807"/>
                  </a:lnTo>
                  <a:lnTo>
                    <a:pt x="533" y="7048"/>
                  </a:lnTo>
                  <a:lnTo>
                    <a:pt x="0" y="7302"/>
                  </a:lnTo>
                  <a:lnTo>
                    <a:pt x="76" y="8191"/>
                  </a:lnTo>
                  <a:lnTo>
                    <a:pt x="1676" y="7429"/>
                  </a:lnTo>
                  <a:close/>
                </a:path>
                <a:path w="17145" h="8254">
                  <a:moveTo>
                    <a:pt x="11226" y="3162"/>
                  </a:moveTo>
                  <a:lnTo>
                    <a:pt x="10706" y="2514"/>
                  </a:lnTo>
                  <a:lnTo>
                    <a:pt x="9029" y="3213"/>
                  </a:lnTo>
                  <a:lnTo>
                    <a:pt x="5715" y="4673"/>
                  </a:lnTo>
                  <a:lnTo>
                    <a:pt x="6261" y="5321"/>
                  </a:lnTo>
                  <a:lnTo>
                    <a:pt x="7912" y="4584"/>
                  </a:lnTo>
                  <a:lnTo>
                    <a:pt x="9575" y="3860"/>
                  </a:lnTo>
                  <a:lnTo>
                    <a:pt x="11226" y="3162"/>
                  </a:lnTo>
                  <a:close/>
                </a:path>
                <a:path w="17145" h="8254">
                  <a:moveTo>
                    <a:pt x="16941" y="800"/>
                  </a:moveTo>
                  <a:lnTo>
                    <a:pt x="16878" y="0"/>
                  </a:lnTo>
                  <a:lnTo>
                    <a:pt x="16344" y="203"/>
                  </a:lnTo>
                  <a:lnTo>
                    <a:pt x="15811" y="419"/>
                  </a:lnTo>
                  <a:lnTo>
                    <a:pt x="15265" y="635"/>
                  </a:lnTo>
                  <a:lnTo>
                    <a:pt x="15328" y="1447"/>
                  </a:lnTo>
                  <a:lnTo>
                    <a:pt x="15875" y="1231"/>
                  </a:lnTo>
                  <a:lnTo>
                    <a:pt x="16941" y="800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9" name="object 581">
              <a:extLst>
                <a:ext uri="{FF2B5EF4-FFF2-40B4-BE49-F238E27FC236}">
                  <a16:creationId xmlns:a16="http://schemas.microsoft.com/office/drawing/2014/main" id="{7A928EEB-C729-4467-8717-CE3F2FBE9F1D}"/>
                </a:ext>
              </a:extLst>
            </p:cNvPr>
            <p:cNvSpPr/>
            <p:nvPr/>
          </p:nvSpPr>
          <p:spPr>
            <a:xfrm>
              <a:off x="8020532" y="6125747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1689" y="7505"/>
                  </a:moveTo>
                  <a:lnTo>
                    <a:pt x="1600" y="6629"/>
                  </a:lnTo>
                  <a:lnTo>
                    <a:pt x="0" y="7391"/>
                  </a:lnTo>
                  <a:lnTo>
                    <a:pt x="76" y="8280"/>
                  </a:lnTo>
                  <a:lnTo>
                    <a:pt x="1143" y="7772"/>
                  </a:lnTo>
                  <a:lnTo>
                    <a:pt x="1689" y="7505"/>
                  </a:lnTo>
                  <a:close/>
                </a:path>
                <a:path w="17145" h="8890">
                  <a:moveTo>
                    <a:pt x="11684" y="3009"/>
                  </a:moveTo>
                  <a:lnTo>
                    <a:pt x="11150" y="2362"/>
                  </a:lnTo>
                  <a:lnTo>
                    <a:pt x="9499" y="3060"/>
                  </a:lnTo>
                  <a:lnTo>
                    <a:pt x="6184" y="4533"/>
                  </a:lnTo>
                  <a:lnTo>
                    <a:pt x="6731" y="5181"/>
                  </a:lnTo>
                  <a:lnTo>
                    <a:pt x="10033" y="3708"/>
                  </a:lnTo>
                  <a:lnTo>
                    <a:pt x="11684" y="3009"/>
                  </a:lnTo>
                  <a:close/>
                </a:path>
                <a:path w="17145" h="8890">
                  <a:moveTo>
                    <a:pt x="16929" y="812"/>
                  </a:moveTo>
                  <a:lnTo>
                    <a:pt x="16865" y="0"/>
                  </a:lnTo>
                  <a:lnTo>
                    <a:pt x="16332" y="215"/>
                  </a:lnTo>
                  <a:lnTo>
                    <a:pt x="15786" y="431"/>
                  </a:lnTo>
                  <a:lnTo>
                    <a:pt x="15252" y="647"/>
                  </a:lnTo>
                  <a:lnTo>
                    <a:pt x="15316" y="1473"/>
                  </a:lnTo>
                  <a:lnTo>
                    <a:pt x="15862" y="1244"/>
                  </a:lnTo>
                  <a:lnTo>
                    <a:pt x="16929" y="812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0" name="object 582">
              <a:extLst>
                <a:ext uri="{FF2B5EF4-FFF2-40B4-BE49-F238E27FC236}">
                  <a16:creationId xmlns:a16="http://schemas.microsoft.com/office/drawing/2014/main" id="{08D9FBB2-DE58-4606-A2EA-4F7698B4E34D}"/>
                </a:ext>
              </a:extLst>
            </p:cNvPr>
            <p:cNvSpPr/>
            <p:nvPr/>
          </p:nvSpPr>
          <p:spPr>
            <a:xfrm>
              <a:off x="8020608" y="6126559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1676" y="7581"/>
                  </a:moveTo>
                  <a:lnTo>
                    <a:pt x="1600" y="6692"/>
                  </a:lnTo>
                  <a:lnTo>
                    <a:pt x="0" y="7454"/>
                  </a:lnTo>
                  <a:lnTo>
                    <a:pt x="76" y="8356"/>
                  </a:lnTo>
                  <a:lnTo>
                    <a:pt x="609" y="8102"/>
                  </a:lnTo>
                  <a:lnTo>
                    <a:pt x="1143" y="7835"/>
                  </a:lnTo>
                  <a:lnTo>
                    <a:pt x="1676" y="7581"/>
                  </a:lnTo>
                  <a:close/>
                </a:path>
                <a:path w="17145" h="8890">
                  <a:moveTo>
                    <a:pt x="12141" y="2832"/>
                  </a:moveTo>
                  <a:lnTo>
                    <a:pt x="11607" y="2184"/>
                  </a:lnTo>
                  <a:lnTo>
                    <a:pt x="9956" y="2895"/>
                  </a:lnTo>
                  <a:lnTo>
                    <a:pt x="8305" y="3619"/>
                  </a:lnTo>
                  <a:lnTo>
                    <a:pt x="6654" y="4368"/>
                  </a:lnTo>
                  <a:lnTo>
                    <a:pt x="7200" y="5016"/>
                  </a:lnTo>
                  <a:lnTo>
                    <a:pt x="8839" y="4267"/>
                  </a:lnTo>
                  <a:lnTo>
                    <a:pt x="10490" y="3543"/>
                  </a:lnTo>
                  <a:lnTo>
                    <a:pt x="12141" y="2832"/>
                  </a:lnTo>
                  <a:close/>
                </a:path>
                <a:path w="17145" h="8890">
                  <a:moveTo>
                    <a:pt x="16941" y="812"/>
                  </a:moveTo>
                  <a:lnTo>
                    <a:pt x="16865" y="0"/>
                  </a:lnTo>
                  <a:lnTo>
                    <a:pt x="16332" y="215"/>
                  </a:lnTo>
                  <a:lnTo>
                    <a:pt x="15786" y="431"/>
                  </a:lnTo>
                  <a:lnTo>
                    <a:pt x="15252" y="660"/>
                  </a:lnTo>
                  <a:lnTo>
                    <a:pt x="15328" y="1485"/>
                  </a:lnTo>
                  <a:lnTo>
                    <a:pt x="15862" y="1257"/>
                  </a:lnTo>
                  <a:lnTo>
                    <a:pt x="16395" y="1041"/>
                  </a:lnTo>
                  <a:lnTo>
                    <a:pt x="16941" y="812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1" name="object 583">
              <a:extLst>
                <a:ext uri="{FF2B5EF4-FFF2-40B4-BE49-F238E27FC236}">
                  <a16:creationId xmlns:a16="http://schemas.microsoft.com/office/drawing/2014/main" id="{984E11B6-0FFD-4754-9C11-4D605812B252}"/>
                </a:ext>
              </a:extLst>
            </p:cNvPr>
            <p:cNvSpPr/>
            <p:nvPr/>
          </p:nvSpPr>
          <p:spPr>
            <a:xfrm>
              <a:off x="8020685" y="6127385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1676" y="7658"/>
                  </a:moveTo>
                  <a:lnTo>
                    <a:pt x="1600" y="6756"/>
                  </a:lnTo>
                  <a:lnTo>
                    <a:pt x="1066" y="7010"/>
                  </a:lnTo>
                  <a:lnTo>
                    <a:pt x="533" y="7277"/>
                  </a:lnTo>
                  <a:lnTo>
                    <a:pt x="0" y="7531"/>
                  </a:lnTo>
                  <a:lnTo>
                    <a:pt x="76" y="8432"/>
                  </a:lnTo>
                  <a:lnTo>
                    <a:pt x="609" y="8166"/>
                  </a:lnTo>
                  <a:lnTo>
                    <a:pt x="1676" y="7658"/>
                  </a:lnTo>
                  <a:close/>
                </a:path>
                <a:path w="17145" h="8890">
                  <a:moveTo>
                    <a:pt x="12598" y="2654"/>
                  </a:moveTo>
                  <a:lnTo>
                    <a:pt x="12065" y="2006"/>
                  </a:lnTo>
                  <a:lnTo>
                    <a:pt x="10414" y="2717"/>
                  </a:lnTo>
                  <a:lnTo>
                    <a:pt x="8763" y="3441"/>
                  </a:lnTo>
                  <a:lnTo>
                    <a:pt x="7124" y="4191"/>
                  </a:lnTo>
                  <a:lnTo>
                    <a:pt x="7670" y="4838"/>
                  </a:lnTo>
                  <a:lnTo>
                    <a:pt x="9309" y="4089"/>
                  </a:lnTo>
                  <a:lnTo>
                    <a:pt x="10947" y="3365"/>
                  </a:lnTo>
                  <a:lnTo>
                    <a:pt x="12598" y="2654"/>
                  </a:lnTo>
                  <a:close/>
                </a:path>
                <a:path w="17145" h="8890">
                  <a:moveTo>
                    <a:pt x="16916" y="812"/>
                  </a:moveTo>
                  <a:lnTo>
                    <a:pt x="16852" y="0"/>
                  </a:lnTo>
                  <a:lnTo>
                    <a:pt x="16319" y="215"/>
                  </a:lnTo>
                  <a:lnTo>
                    <a:pt x="15773" y="444"/>
                  </a:lnTo>
                  <a:lnTo>
                    <a:pt x="15240" y="660"/>
                  </a:lnTo>
                  <a:lnTo>
                    <a:pt x="15316" y="1498"/>
                  </a:lnTo>
                  <a:lnTo>
                    <a:pt x="16916" y="812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2" name="object 584">
              <a:extLst>
                <a:ext uri="{FF2B5EF4-FFF2-40B4-BE49-F238E27FC236}">
                  <a16:creationId xmlns:a16="http://schemas.microsoft.com/office/drawing/2014/main" id="{6ADB1DAA-CC9F-4477-9676-E64C2D473900}"/>
                </a:ext>
              </a:extLst>
            </p:cNvPr>
            <p:cNvSpPr/>
            <p:nvPr/>
          </p:nvSpPr>
          <p:spPr>
            <a:xfrm>
              <a:off x="8020761" y="6128198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1676" y="7734"/>
                  </a:moveTo>
                  <a:lnTo>
                    <a:pt x="1600" y="6832"/>
                  </a:lnTo>
                  <a:lnTo>
                    <a:pt x="1066" y="7086"/>
                  </a:lnTo>
                  <a:lnTo>
                    <a:pt x="0" y="7620"/>
                  </a:lnTo>
                  <a:lnTo>
                    <a:pt x="76" y="8521"/>
                  </a:lnTo>
                  <a:lnTo>
                    <a:pt x="1143" y="7988"/>
                  </a:lnTo>
                  <a:lnTo>
                    <a:pt x="1676" y="7734"/>
                  </a:lnTo>
                  <a:close/>
                </a:path>
                <a:path w="17145" h="8890">
                  <a:moveTo>
                    <a:pt x="13055" y="2476"/>
                  </a:moveTo>
                  <a:lnTo>
                    <a:pt x="12509" y="1828"/>
                  </a:lnTo>
                  <a:lnTo>
                    <a:pt x="9232" y="3276"/>
                  </a:lnTo>
                  <a:lnTo>
                    <a:pt x="7594" y="4025"/>
                  </a:lnTo>
                  <a:lnTo>
                    <a:pt x="8140" y="4673"/>
                  </a:lnTo>
                  <a:lnTo>
                    <a:pt x="9779" y="3924"/>
                  </a:lnTo>
                  <a:lnTo>
                    <a:pt x="11417" y="3187"/>
                  </a:lnTo>
                  <a:lnTo>
                    <a:pt x="13055" y="2476"/>
                  </a:lnTo>
                  <a:close/>
                </a:path>
                <a:path w="17145" h="8890">
                  <a:moveTo>
                    <a:pt x="16916" y="825"/>
                  </a:moveTo>
                  <a:lnTo>
                    <a:pt x="16852" y="0"/>
                  </a:lnTo>
                  <a:lnTo>
                    <a:pt x="16319" y="228"/>
                  </a:lnTo>
                  <a:lnTo>
                    <a:pt x="15786" y="444"/>
                  </a:lnTo>
                  <a:lnTo>
                    <a:pt x="15240" y="673"/>
                  </a:lnTo>
                  <a:lnTo>
                    <a:pt x="15303" y="1511"/>
                  </a:lnTo>
                  <a:lnTo>
                    <a:pt x="15849" y="1282"/>
                  </a:lnTo>
                  <a:lnTo>
                    <a:pt x="16916" y="825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3" name="object 585">
              <a:extLst>
                <a:ext uri="{FF2B5EF4-FFF2-40B4-BE49-F238E27FC236}">
                  <a16:creationId xmlns:a16="http://schemas.microsoft.com/office/drawing/2014/main" id="{0707E179-063B-4142-A8BE-596D682D5890}"/>
                </a:ext>
              </a:extLst>
            </p:cNvPr>
            <p:cNvSpPr/>
            <p:nvPr/>
          </p:nvSpPr>
          <p:spPr>
            <a:xfrm>
              <a:off x="8020837" y="6129023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1689" y="7810"/>
                  </a:moveTo>
                  <a:lnTo>
                    <a:pt x="1663" y="7620"/>
                  </a:lnTo>
                  <a:lnTo>
                    <a:pt x="1651" y="7416"/>
                  </a:lnTo>
                  <a:lnTo>
                    <a:pt x="1625" y="7200"/>
                  </a:lnTo>
                  <a:lnTo>
                    <a:pt x="1600" y="6908"/>
                  </a:lnTo>
                  <a:lnTo>
                    <a:pt x="1066" y="7175"/>
                  </a:lnTo>
                  <a:lnTo>
                    <a:pt x="533" y="7429"/>
                  </a:lnTo>
                  <a:lnTo>
                    <a:pt x="0" y="7696"/>
                  </a:lnTo>
                  <a:lnTo>
                    <a:pt x="12" y="7823"/>
                  </a:lnTo>
                  <a:lnTo>
                    <a:pt x="38" y="8115"/>
                  </a:lnTo>
                  <a:lnTo>
                    <a:pt x="63" y="8623"/>
                  </a:lnTo>
                  <a:lnTo>
                    <a:pt x="596" y="8356"/>
                  </a:lnTo>
                  <a:lnTo>
                    <a:pt x="1143" y="8077"/>
                  </a:lnTo>
                  <a:lnTo>
                    <a:pt x="1689" y="7810"/>
                  </a:lnTo>
                  <a:close/>
                </a:path>
                <a:path w="17145" h="8890">
                  <a:moveTo>
                    <a:pt x="13512" y="2298"/>
                  </a:moveTo>
                  <a:lnTo>
                    <a:pt x="12979" y="1663"/>
                  </a:lnTo>
                  <a:lnTo>
                    <a:pt x="11341" y="2374"/>
                  </a:lnTo>
                  <a:lnTo>
                    <a:pt x="9715" y="3098"/>
                  </a:lnTo>
                  <a:lnTo>
                    <a:pt x="8077" y="3848"/>
                  </a:lnTo>
                  <a:lnTo>
                    <a:pt x="8623" y="4508"/>
                  </a:lnTo>
                  <a:lnTo>
                    <a:pt x="11887" y="3022"/>
                  </a:lnTo>
                  <a:lnTo>
                    <a:pt x="13512" y="2298"/>
                  </a:lnTo>
                  <a:close/>
                </a:path>
                <a:path w="17145" h="8890">
                  <a:moveTo>
                    <a:pt x="16916" y="825"/>
                  </a:moveTo>
                  <a:lnTo>
                    <a:pt x="16840" y="0"/>
                  </a:lnTo>
                  <a:lnTo>
                    <a:pt x="15773" y="457"/>
                  </a:lnTo>
                  <a:lnTo>
                    <a:pt x="15227" y="685"/>
                  </a:lnTo>
                  <a:lnTo>
                    <a:pt x="15303" y="1511"/>
                  </a:lnTo>
                  <a:lnTo>
                    <a:pt x="15836" y="1282"/>
                  </a:lnTo>
                  <a:lnTo>
                    <a:pt x="16383" y="1054"/>
                  </a:lnTo>
                  <a:lnTo>
                    <a:pt x="16916" y="825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4" name="object 586">
              <a:extLst>
                <a:ext uri="{FF2B5EF4-FFF2-40B4-BE49-F238E27FC236}">
                  <a16:creationId xmlns:a16="http://schemas.microsoft.com/office/drawing/2014/main" id="{02F1B448-D6EF-4ED7-8D6A-39B87C80E99C}"/>
                </a:ext>
              </a:extLst>
            </p:cNvPr>
            <p:cNvSpPr/>
            <p:nvPr/>
          </p:nvSpPr>
          <p:spPr>
            <a:xfrm>
              <a:off x="8020875" y="6129861"/>
              <a:ext cx="17145" cy="8890"/>
            </a:xfrm>
            <a:custGeom>
              <a:avLst/>
              <a:gdLst/>
              <a:ahLst/>
              <a:cxnLst/>
              <a:rect l="l" t="t" r="r" b="b"/>
              <a:pathLst>
                <a:path w="17145" h="8890">
                  <a:moveTo>
                    <a:pt x="1752" y="7848"/>
                  </a:moveTo>
                  <a:lnTo>
                    <a:pt x="1676" y="7289"/>
                  </a:lnTo>
                  <a:lnTo>
                    <a:pt x="1638" y="6972"/>
                  </a:lnTo>
                  <a:lnTo>
                    <a:pt x="1104" y="7239"/>
                  </a:lnTo>
                  <a:lnTo>
                    <a:pt x="12" y="7772"/>
                  </a:lnTo>
                  <a:lnTo>
                    <a:pt x="25" y="8128"/>
                  </a:lnTo>
                  <a:lnTo>
                    <a:pt x="25" y="8445"/>
                  </a:lnTo>
                  <a:lnTo>
                    <a:pt x="0" y="8737"/>
                  </a:lnTo>
                  <a:lnTo>
                    <a:pt x="1168" y="8153"/>
                  </a:lnTo>
                  <a:lnTo>
                    <a:pt x="1752" y="7848"/>
                  </a:lnTo>
                  <a:close/>
                </a:path>
                <a:path w="17145" h="8890">
                  <a:moveTo>
                    <a:pt x="14008" y="2108"/>
                  </a:moveTo>
                  <a:lnTo>
                    <a:pt x="13474" y="1460"/>
                  </a:lnTo>
                  <a:lnTo>
                    <a:pt x="10210" y="2908"/>
                  </a:lnTo>
                  <a:lnTo>
                    <a:pt x="8585" y="3670"/>
                  </a:lnTo>
                  <a:lnTo>
                    <a:pt x="9131" y="4318"/>
                  </a:lnTo>
                  <a:lnTo>
                    <a:pt x="10756" y="3568"/>
                  </a:lnTo>
                  <a:lnTo>
                    <a:pt x="12382" y="2832"/>
                  </a:lnTo>
                  <a:lnTo>
                    <a:pt x="14008" y="2108"/>
                  </a:lnTo>
                  <a:close/>
                </a:path>
                <a:path w="17145" h="8890">
                  <a:moveTo>
                    <a:pt x="16941" y="838"/>
                  </a:moveTo>
                  <a:lnTo>
                    <a:pt x="16878" y="0"/>
                  </a:lnTo>
                  <a:lnTo>
                    <a:pt x="16332" y="228"/>
                  </a:lnTo>
                  <a:lnTo>
                    <a:pt x="15265" y="685"/>
                  </a:lnTo>
                  <a:lnTo>
                    <a:pt x="15341" y="1536"/>
                  </a:lnTo>
                  <a:lnTo>
                    <a:pt x="15875" y="1295"/>
                  </a:lnTo>
                  <a:lnTo>
                    <a:pt x="16941" y="838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5" name="object 587">
              <a:extLst>
                <a:ext uri="{FF2B5EF4-FFF2-40B4-BE49-F238E27FC236}">
                  <a16:creationId xmlns:a16="http://schemas.microsoft.com/office/drawing/2014/main" id="{1AE2AB10-23AA-47FC-B1A1-0846A2C5A490}"/>
                </a:ext>
              </a:extLst>
            </p:cNvPr>
            <p:cNvSpPr/>
            <p:nvPr/>
          </p:nvSpPr>
          <p:spPr>
            <a:xfrm>
              <a:off x="8020608" y="6130700"/>
              <a:ext cx="17780" cy="9525"/>
            </a:xfrm>
            <a:custGeom>
              <a:avLst/>
              <a:gdLst/>
              <a:ahLst/>
              <a:cxnLst/>
              <a:rect l="l" t="t" r="r" b="b"/>
              <a:pathLst>
                <a:path w="17779" h="9525">
                  <a:moveTo>
                    <a:pt x="2209" y="7886"/>
                  </a:moveTo>
                  <a:lnTo>
                    <a:pt x="2146" y="7632"/>
                  </a:lnTo>
                  <a:lnTo>
                    <a:pt x="2082" y="7340"/>
                  </a:lnTo>
                  <a:lnTo>
                    <a:pt x="2032" y="7023"/>
                  </a:lnTo>
                  <a:lnTo>
                    <a:pt x="1447" y="7315"/>
                  </a:lnTo>
                  <a:lnTo>
                    <a:pt x="850" y="7607"/>
                  </a:lnTo>
                  <a:lnTo>
                    <a:pt x="266" y="7912"/>
                  </a:lnTo>
                  <a:lnTo>
                    <a:pt x="228" y="8331"/>
                  </a:lnTo>
                  <a:lnTo>
                    <a:pt x="139" y="8686"/>
                  </a:lnTo>
                  <a:lnTo>
                    <a:pt x="0" y="9004"/>
                  </a:lnTo>
                  <a:lnTo>
                    <a:pt x="736" y="8623"/>
                  </a:lnTo>
                  <a:lnTo>
                    <a:pt x="2209" y="7886"/>
                  </a:lnTo>
                  <a:close/>
                </a:path>
                <a:path w="17779" h="9525">
                  <a:moveTo>
                    <a:pt x="14808" y="1930"/>
                  </a:moveTo>
                  <a:lnTo>
                    <a:pt x="14274" y="1282"/>
                  </a:lnTo>
                  <a:lnTo>
                    <a:pt x="12649" y="1993"/>
                  </a:lnTo>
                  <a:lnTo>
                    <a:pt x="11023" y="2730"/>
                  </a:lnTo>
                  <a:lnTo>
                    <a:pt x="9398" y="3492"/>
                  </a:lnTo>
                  <a:lnTo>
                    <a:pt x="9944" y="4140"/>
                  </a:lnTo>
                  <a:lnTo>
                    <a:pt x="11569" y="3390"/>
                  </a:lnTo>
                  <a:lnTo>
                    <a:pt x="14808" y="1930"/>
                  </a:lnTo>
                  <a:close/>
                </a:path>
                <a:path w="17779" h="9525">
                  <a:moveTo>
                    <a:pt x="17284" y="838"/>
                  </a:moveTo>
                  <a:lnTo>
                    <a:pt x="17208" y="0"/>
                  </a:lnTo>
                  <a:lnTo>
                    <a:pt x="16141" y="457"/>
                  </a:lnTo>
                  <a:lnTo>
                    <a:pt x="15595" y="698"/>
                  </a:lnTo>
                  <a:lnTo>
                    <a:pt x="15671" y="1549"/>
                  </a:lnTo>
                  <a:lnTo>
                    <a:pt x="16205" y="1308"/>
                  </a:lnTo>
                  <a:lnTo>
                    <a:pt x="16751" y="1066"/>
                  </a:lnTo>
                  <a:lnTo>
                    <a:pt x="17284" y="838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6" name="object 588">
              <a:extLst>
                <a:ext uri="{FF2B5EF4-FFF2-40B4-BE49-F238E27FC236}">
                  <a16:creationId xmlns:a16="http://schemas.microsoft.com/office/drawing/2014/main" id="{2024D5DF-739B-4294-A6C8-79BB15482352}"/>
                </a:ext>
              </a:extLst>
            </p:cNvPr>
            <p:cNvSpPr/>
            <p:nvPr/>
          </p:nvSpPr>
          <p:spPr>
            <a:xfrm>
              <a:off x="8017586" y="6131538"/>
              <a:ext cx="20955" cy="10795"/>
            </a:xfrm>
            <a:custGeom>
              <a:avLst/>
              <a:gdLst/>
              <a:ahLst/>
              <a:cxnLst/>
              <a:rect l="l" t="t" r="r" b="b"/>
              <a:pathLst>
                <a:path w="20954" h="10795">
                  <a:moveTo>
                    <a:pt x="5575" y="7823"/>
                  </a:moveTo>
                  <a:lnTo>
                    <a:pt x="5435" y="7607"/>
                  </a:lnTo>
                  <a:lnTo>
                    <a:pt x="5321" y="7340"/>
                  </a:lnTo>
                  <a:lnTo>
                    <a:pt x="5245" y="7035"/>
                  </a:lnTo>
                  <a:lnTo>
                    <a:pt x="3759" y="7785"/>
                  </a:lnTo>
                  <a:lnTo>
                    <a:pt x="3022" y="8166"/>
                  </a:lnTo>
                  <a:lnTo>
                    <a:pt x="2616" y="9055"/>
                  </a:lnTo>
                  <a:lnTo>
                    <a:pt x="1714" y="9563"/>
                  </a:lnTo>
                  <a:lnTo>
                    <a:pt x="0" y="9982"/>
                  </a:lnTo>
                  <a:lnTo>
                    <a:pt x="63" y="10680"/>
                  </a:lnTo>
                  <a:lnTo>
                    <a:pt x="1892" y="9702"/>
                  </a:lnTo>
                  <a:lnTo>
                    <a:pt x="3733" y="8750"/>
                  </a:lnTo>
                  <a:lnTo>
                    <a:pt x="5575" y="7823"/>
                  </a:lnTo>
                  <a:close/>
                </a:path>
                <a:path w="20954" h="10795">
                  <a:moveTo>
                    <a:pt x="18364" y="1739"/>
                  </a:moveTo>
                  <a:lnTo>
                    <a:pt x="17830" y="1092"/>
                  </a:lnTo>
                  <a:lnTo>
                    <a:pt x="16205" y="1803"/>
                  </a:lnTo>
                  <a:lnTo>
                    <a:pt x="12966" y="3302"/>
                  </a:lnTo>
                  <a:lnTo>
                    <a:pt x="13512" y="3962"/>
                  </a:lnTo>
                  <a:lnTo>
                    <a:pt x="15138" y="3200"/>
                  </a:lnTo>
                  <a:lnTo>
                    <a:pt x="16751" y="2463"/>
                  </a:lnTo>
                  <a:lnTo>
                    <a:pt x="18364" y="1739"/>
                  </a:lnTo>
                  <a:close/>
                </a:path>
                <a:path w="20954" h="10795">
                  <a:moveTo>
                    <a:pt x="20370" y="850"/>
                  </a:moveTo>
                  <a:lnTo>
                    <a:pt x="20307" y="0"/>
                  </a:lnTo>
                  <a:lnTo>
                    <a:pt x="19773" y="228"/>
                  </a:lnTo>
                  <a:lnTo>
                    <a:pt x="19227" y="469"/>
                  </a:lnTo>
                  <a:lnTo>
                    <a:pt x="18694" y="711"/>
                  </a:lnTo>
                  <a:lnTo>
                    <a:pt x="18770" y="1562"/>
                  </a:lnTo>
                  <a:lnTo>
                    <a:pt x="19837" y="1079"/>
                  </a:lnTo>
                  <a:lnTo>
                    <a:pt x="20370" y="85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7" name="object 589">
              <a:extLst>
                <a:ext uri="{FF2B5EF4-FFF2-40B4-BE49-F238E27FC236}">
                  <a16:creationId xmlns:a16="http://schemas.microsoft.com/office/drawing/2014/main" id="{7B387E88-F745-45C2-913D-FAD1F3BCE17B}"/>
                </a:ext>
              </a:extLst>
            </p:cNvPr>
            <p:cNvSpPr/>
            <p:nvPr/>
          </p:nvSpPr>
          <p:spPr>
            <a:xfrm>
              <a:off x="8017650" y="6132389"/>
              <a:ext cx="20955" cy="10795"/>
            </a:xfrm>
            <a:custGeom>
              <a:avLst/>
              <a:gdLst/>
              <a:ahLst/>
              <a:cxnLst/>
              <a:rect l="l" t="t" r="r" b="b"/>
              <a:pathLst>
                <a:path w="20954" h="10795">
                  <a:moveTo>
                    <a:pt x="6146" y="7607"/>
                  </a:moveTo>
                  <a:lnTo>
                    <a:pt x="5880" y="7442"/>
                  </a:lnTo>
                  <a:lnTo>
                    <a:pt x="5676" y="7239"/>
                  </a:lnTo>
                  <a:lnTo>
                    <a:pt x="5511" y="6985"/>
                  </a:lnTo>
                  <a:lnTo>
                    <a:pt x="1828" y="8851"/>
                  </a:lnTo>
                  <a:lnTo>
                    <a:pt x="0" y="9829"/>
                  </a:lnTo>
                  <a:lnTo>
                    <a:pt x="25" y="10185"/>
                  </a:lnTo>
                  <a:lnTo>
                    <a:pt x="1409" y="10071"/>
                  </a:lnTo>
                  <a:lnTo>
                    <a:pt x="2984" y="9232"/>
                  </a:lnTo>
                  <a:lnTo>
                    <a:pt x="6146" y="7607"/>
                  </a:lnTo>
                  <a:close/>
                </a:path>
                <a:path w="20954" h="10795">
                  <a:moveTo>
                    <a:pt x="20383" y="838"/>
                  </a:moveTo>
                  <a:lnTo>
                    <a:pt x="20307" y="0"/>
                  </a:lnTo>
                  <a:lnTo>
                    <a:pt x="18707" y="711"/>
                  </a:lnTo>
                  <a:lnTo>
                    <a:pt x="18770" y="1447"/>
                  </a:lnTo>
                  <a:lnTo>
                    <a:pt x="18313" y="889"/>
                  </a:lnTo>
                  <a:lnTo>
                    <a:pt x="16687" y="1600"/>
                  </a:lnTo>
                  <a:lnTo>
                    <a:pt x="13449" y="3111"/>
                  </a:lnTo>
                  <a:lnTo>
                    <a:pt x="14008" y="3759"/>
                  </a:lnTo>
                  <a:lnTo>
                    <a:pt x="16129" y="2755"/>
                  </a:lnTo>
                  <a:lnTo>
                    <a:pt x="18262" y="1778"/>
                  </a:lnTo>
                  <a:lnTo>
                    <a:pt x="20383" y="838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8" name="object 590">
              <a:extLst>
                <a:ext uri="{FF2B5EF4-FFF2-40B4-BE49-F238E27FC236}">
                  <a16:creationId xmlns:a16="http://schemas.microsoft.com/office/drawing/2014/main" id="{45B02F8F-E918-4D65-ACA6-5855D9D3E8D7}"/>
                </a:ext>
              </a:extLst>
            </p:cNvPr>
            <p:cNvSpPr/>
            <p:nvPr/>
          </p:nvSpPr>
          <p:spPr>
            <a:xfrm>
              <a:off x="8019060" y="6133227"/>
              <a:ext cx="19050" cy="9525"/>
            </a:xfrm>
            <a:custGeom>
              <a:avLst/>
              <a:gdLst/>
              <a:ahLst/>
              <a:cxnLst/>
              <a:rect l="l" t="t" r="r" b="b"/>
              <a:pathLst>
                <a:path w="19050" h="9525">
                  <a:moveTo>
                    <a:pt x="5765" y="7213"/>
                  </a:moveTo>
                  <a:lnTo>
                    <a:pt x="5346" y="7099"/>
                  </a:lnTo>
                  <a:lnTo>
                    <a:pt x="5016" y="6959"/>
                  </a:lnTo>
                  <a:lnTo>
                    <a:pt x="4737" y="6769"/>
                  </a:lnTo>
                  <a:lnTo>
                    <a:pt x="3162" y="7569"/>
                  </a:lnTo>
                  <a:lnTo>
                    <a:pt x="1574" y="8394"/>
                  </a:lnTo>
                  <a:lnTo>
                    <a:pt x="0" y="9232"/>
                  </a:lnTo>
                  <a:lnTo>
                    <a:pt x="2209" y="9042"/>
                  </a:lnTo>
                  <a:lnTo>
                    <a:pt x="4572" y="7810"/>
                  </a:lnTo>
                  <a:lnTo>
                    <a:pt x="5765" y="7213"/>
                  </a:lnTo>
                  <a:close/>
                </a:path>
                <a:path w="19050" h="9525">
                  <a:moveTo>
                    <a:pt x="19050" y="863"/>
                  </a:moveTo>
                  <a:lnTo>
                    <a:pt x="18986" y="0"/>
                  </a:lnTo>
                  <a:lnTo>
                    <a:pt x="14732" y="1917"/>
                  </a:lnTo>
                  <a:lnTo>
                    <a:pt x="12598" y="2921"/>
                  </a:lnTo>
                  <a:lnTo>
                    <a:pt x="13157" y="3581"/>
                  </a:lnTo>
                  <a:lnTo>
                    <a:pt x="17094" y="1739"/>
                  </a:lnTo>
                  <a:lnTo>
                    <a:pt x="19050" y="863"/>
                  </a:lnTo>
                  <a:close/>
                </a:path>
              </a:pathLst>
            </a:custGeom>
            <a:solidFill>
              <a:srgbClr val="F8DA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9" name="object 591">
              <a:extLst>
                <a:ext uri="{FF2B5EF4-FFF2-40B4-BE49-F238E27FC236}">
                  <a16:creationId xmlns:a16="http://schemas.microsoft.com/office/drawing/2014/main" id="{A263295C-37F0-462C-A64B-382A0009B00A}"/>
                </a:ext>
              </a:extLst>
            </p:cNvPr>
            <p:cNvSpPr/>
            <p:nvPr/>
          </p:nvSpPr>
          <p:spPr>
            <a:xfrm>
              <a:off x="8021269" y="6134091"/>
              <a:ext cx="17145" cy="8255"/>
            </a:xfrm>
            <a:custGeom>
              <a:avLst/>
              <a:gdLst/>
              <a:ahLst/>
              <a:cxnLst/>
              <a:rect l="l" t="t" r="r" b="b"/>
              <a:pathLst>
                <a:path w="17145" h="8254">
                  <a:moveTo>
                    <a:pt x="4914" y="6604"/>
                  </a:moveTo>
                  <a:lnTo>
                    <a:pt x="4381" y="6527"/>
                  </a:lnTo>
                  <a:lnTo>
                    <a:pt x="3937" y="6451"/>
                  </a:lnTo>
                  <a:lnTo>
                    <a:pt x="3543" y="6337"/>
                  </a:lnTo>
                  <a:lnTo>
                    <a:pt x="1181" y="7556"/>
                  </a:lnTo>
                  <a:lnTo>
                    <a:pt x="0" y="8178"/>
                  </a:lnTo>
                  <a:lnTo>
                    <a:pt x="2222" y="7988"/>
                  </a:lnTo>
                  <a:lnTo>
                    <a:pt x="3111" y="7518"/>
                  </a:lnTo>
                  <a:lnTo>
                    <a:pt x="4914" y="6604"/>
                  </a:lnTo>
                  <a:close/>
                </a:path>
                <a:path w="17145" h="8254">
                  <a:moveTo>
                    <a:pt x="16916" y="850"/>
                  </a:moveTo>
                  <a:lnTo>
                    <a:pt x="16840" y="0"/>
                  </a:lnTo>
                  <a:lnTo>
                    <a:pt x="14871" y="863"/>
                  </a:lnTo>
                  <a:lnTo>
                    <a:pt x="10947" y="2705"/>
                  </a:lnTo>
                  <a:lnTo>
                    <a:pt x="11493" y="3365"/>
                  </a:lnTo>
                  <a:lnTo>
                    <a:pt x="13309" y="2501"/>
                  </a:lnTo>
                  <a:lnTo>
                    <a:pt x="15113" y="1663"/>
                  </a:lnTo>
                  <a:lnTo>
                    <a:pt x="16916" y="850"/>
                  </a:lnTo>
                  <a:close/>
                </a:path>
              </a:pathLst>
            </a:custGeom>
            <a:solidFill>
              <a:srgbClr val="F9DA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0" name="object 592">
              <a:extLst>
                <a:ext uri="{FF2B5EF4-FFF2-40B4-BE49-F238E27FC236}">
                  <a16:creationId xmlns:a16="http://schemas.microsoft.com/office/drawing/2014/main" id="{AAD6BEE6-FFA5-48B7-AA1C-53907E1877CA}"/>
                </a:ext>
              </a:extLst>
            </p:cNvPr>
            <p:cNvSpPr/>
            <p:nvPr/>
          </p:nvSpPr>
          <p:spPr>
            <a:xfrm>
              <a:off x="8023492" y="6134954"/>
              <a:ext cx="15240" cy="7620"/>
            </a:xfrm>
            <a:custGeom>
              <a:avLst/>
              <a:gdLst/>
              <a:ahLst/>
              <a:cxnLst/>
              <a:rect l="l" t="t" r="r" b="b"/>
              <a:pathLst>
                <a:path w="15240" h="7620">
                  <a:moveTo>
                    <a:pt x="3162" y="6464"/>
                  </a:moveTo>
                  <a:lnTo>
                    <a:pt x="3111" y="5803"/>
                  </a:lnTo>
                  <a:lnTo>
                    <a:pt x="2959" y="5778"/>
                  </a:lnTo>
                  <a:lnTo>
                    <a:pt x="2819" y="5765"/>
                  </a:lnTo>
                  <a:lnTo>
                    <a:pt x="2692" y="5740"/>
                  </a:lnTo>
                  <a:lnTo>
                    <a:pt x="889" y="6654"/>
                  </a:lnTo>
                  <a:lnTo>
                    <a:pt x="0" y="7124"/>
                  </a:lnTo>
                  <a:lnTo>
                    <a:pt x="2235" y="6934"/>
                  </a:lnTo>
                  <a:lnTo>
                    <a:pt x="2540" y="6769"/>
                  </a:lnTo>
                  <a:lnTo>
                    <a:pt x="3162" y="6464"/>
                  </a:lnTo>
                  <a:close/>
                </a:path>
                <a:path w="15240" h="7620">
                  <a:moveTo>
                    <a:pt x="14770" y="863"/>
                  </a:moveTo>
                  <a:lnTo>
                    <a:pt x="14693" y="0"/>
                  </a:lnTo>
                  <a:lnTo>
                    <a:pt x="12890" y="812"/>
                  </a:lnTo>
                  <a:lnTo>
                    <a:pt x="11087" y="1651"/>
                  </a:lnTo>
                  <a:lnTo>
                    <a:pt x="9271" y="2514"/>
                  </a:lnTo>
                  <a:lnTo>
                    <a:pt x="9829" y="3175"/>
                  </a:lnTo>
                  <a:lnTo>
                    <a:pt x="13119" y="1612"/>
                  </a:lnTo>
                  <a:lnTo>
                    <a:pt x="14770" y="863"/>
                  </a:lnTo>
                  <a:close/>
                </a:path>
              </a:pathLst>
            </a:custGeom>
            <a:solidFill>
              <a:srgbClr val="FADC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1" name="object 593">
              <a:extLst>
                <a:ext uri="{FF2B5EF4-FFF2-40B4-BE49-F238E27FC236}">
                  <a16:creationId xmlns:a16="http://schemas.microsoft.com/office/drawing/2014/main" id="{49BD5CE8-36BC-4AE7-B2A3-84F7AA998C42}"/>
                </a:ext>
              </a:extLst>
            </p:cNvPr>
            <p:cNvSpPr/>
            <p:nvPr/>
          </p:nvSpPr>
          <p:spPr>
            <a:xfrm>
              <a:off x="8025727" y="6135805"/>
              <a:ext cx="12700" cy="6350"/>
            </a:xfrm>
            <a:custGeom>
              <a:avLst/>
              <a:gdLst/>
              <a:ahLst/>
              <a:cxnLst/>
              <a:rect l="l" t="t" r="r" b="b"/>
              <a:pathLst>
                <a:path w="12700" h="6350">
                  <a:moveTo>
                    <a:pt x="965" y="6007"/>
                  </a:moveTo>
                  <a:lnTo>
                    <a:pt x="927" y="5613"/>
                  </a:lnTo>
                  <a:lnTo>
                    <a:pt x="622" y="5765"/>
                  </a:lnTo>
                  <a:lnTo>
                    <a:pt x="317" y="5930"/>
                  </a:lnTo>
                  <a:lnTo>
                    <a:pt x="0" y="6096"/>
                  </a:lnTo>
                  <a:lnTo>
                    <a:pt x="965" y="6007"/>
                  </a:lnTo>
                  <a:close/>
                </a:path>
                <a:path w="12700" h="6350">
                  <a:moveTo>
                    <a:pt x="12598" y="876"/>
                  </a:moveTo>
                  <a:lnTo>
                    <a:pt x="12522" y="0"/>
                  </a:lnTo>
                  <a:lnTo>
                    <a:pt x="9232" y="1524"/>
                  </a:lnTo>
                  <a:lnTo>
                    <a:pt x="7581" y="2311"/>
                  </a:lnTo>
                  <a:lnTo>
                    <a:pt x="8140" y="2971"/>
                  </a:lnTo>
                  <a:lnTo>
                    <a:pt x="9626" y="2260"/>
                  </a:lnTo>
                  <a:lnTo>
                    <a:pt x="11112" y="1562"/>
                  </a:lnTo>
                  <a:lnTo>
                    <a:pt x="12598" y="876"/>
                  </a:lnTo>
                  <a:close/>
                </a:path>
              </a:pathLst>
            </a:custGeom>
            <a:solidFill>
              <a:srgbClr val="FAD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2" name="object 594">
              <a:extLst>
                <a:ext uri="{FF2B5EF4-FFF2-40B4-BE49-F238E27FC236}">
                  <a16:creationId xmlns:a16="http://schemas.microsoft.com/office/drawing/2014/main" id="{B06ADF25-33F4-4372-ACFB-D1E0F9CD0D4D}"/>
                </a:ext>
              </a:extLst>
            </p:cNvPr>
            <p:cNvSpPr/>
            <p:nvPr/>
          </p:nvSpPr>
          <p:spPr>
            <a:xfrm>
              <a:off x="8033876" y="6136671"/>
              <a:ext cx="5080" cy="3175"/>
            </a:xfrm>
            <a:custGeom>
              <a:avLst/>
              <a:gdLst/>
              <a:ahLst/>
              <a:cxnLst/>
              <a:rect l="l" t="t" r="r" b="b"/>
              <a:pathLst>
                <a:path w="5079" h="3175">
                  <a:moveTo>
                    <a:pt x="4457" y="0"/>
                  </a:moveTo>
                  <a:lnTo>
                    <a:pt x="2984" y="685"/>
                  </a:lnTo>
                  <a:lnTo>
                    <a:pt x="0" y="2108"/>
                  </a:lnTo>
                  <a:lnTo>
                    <a:pt x="558" y="2768"/>
                  </a:lnTo>
                  <a:lnTo>
                    <a:pt x="1892" y="2120"/>
                  </a:lnTo>
                  <a:lnTo>
                    <a:pt x="3200" y="1498"/>
                  </a:lnTo>
                  <a:lnTo>
                    <a:pt x="4533" y="876"/>
                  </a:lnTo>
                  <a:lnTo>
                    <a:pt x="4457" y="0"/>
                  </a:lnTo>
                  <a:close/>
                </a:path>
              </a:pathLst>
            </a:custGeom>
            <a:solidFill>
              <a:srgbClr val="FCDD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3" name="object 595">
              <a:extLst>
                <a:ext uri="{FF2B5EF4-FFF2-40B4-BE49-F238E27FC236}">
                  <a16:creationId xmlns:a16="http://schemas.microsoft.com/office/drawing/2014/main" id="{336E6952-EDAE-4DF6-9A39-AA6B0B713339}"/>
                </a:ext>
              </a:extLst>
            </p:cNvPr>
            <p:cNvSpPr/>
            <p:nvPr/>
          </p:nvSpPr>
          <p:spPr>
            <a:xfrm>
              <a:off x="8034436" y="6137548"/>
              <a:ext cx="4445" cy="3175"/>
            </a:xfrm>
            <a:custGeom>
              <a:avLst/>
              <a:gdLst/>
              <a:ahLst/>
              <a:cxnLst/>
              <a:rect l="l" t="t" r="r" b="b"/>
              <a:pathLst>
                <a:path w="4445" h="3175">
                  <a:moveTo>
                    <a:pt x="3975" y="0"/>
                  </a:moveTo>
                  <a:lnTo>
                    <a:pt x="1320" y="1244"/>
                  </a:lnTo>
                  <a:lnTo>
                    <a:pt x="0" y="1892"/>
                  </a:lnTo>
                  <a:lnTo>
                    <a:pt x="558" y="2552"/>
                  </a:lnTo>
                  <a:lnTo>
                    <a:pt x="1714" y="1981"/>
                  </a:lnTo>
                  <a:lnTo>
                    <a:pt x="2882" y="1435"/>
                  </a:lnTo>
                  <a:lnTo>
                    <a:pt x="4038" y="876"/>
                  </a:lnTo>
                  <a:lnTo>
                    <a:pt x="3975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4" name="object 596">
              <a:extLst>
                <a:ext uri="{FF2B5EF4-FFF2-40B4-BE49-F238E27FC236}">
                  <a16:creationId xmlns:a16="http://schemas.microsoft.com/office/drawing/2014/main" id="{927A80EB-9ED9-4371-BD2D-AC39CA49BB88}"/>
                </a:ext>
              </a:extLst>
            </p:cNvPr>
            <p:cNvSpPr/>
            <p:nvPr/>
          </p:nvSpPr>
          <p:spPr>
            <a:xfrm>
              <a:off x="8034991" y="6138429"/>
              <a:ext cx="3810" cy="2540"/>
            </a:xfrm>
            <a:custGeom>
              <a:avLst/>
              <a:gdLst/>
              <a:ahLst/>
              <a:cxnLst/>
              <a:rect l="l" t="t" r="r" b="b"/>
              <a:pathLst>
                <a:path w="3809" h="2540">
                  <a:moveTo>
                    <a:pt x="3492" y="0"/>
                  </a:moveTo>
                  <a:lnTo>
                    <a:pt x="2324" y="546"/>
                  </a:lnTo>
                  <a:lnTo>
                    <a:pt x="0" y="1676"/>
                  </a:lnTo>
                  <a:lnTo>
                    <a:pt x="558" y="2336"/>
                  </a:lnTo>
                  <a:lnTo>
                    <a:pt x="1562" y="1841"/>
                  </a:lnTo>
                  <a:lnTo>
                    <a:pt x="2565" y="1358"/>
                  </a:lnTo>
                  <a:lnTo>
                    <a:pt x="3568" y="888"/>
                  </a:lnTo>
                  <a:lnTo>
                    <a:pt x="3492" y="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5" name="object 597">
              <a:extLst>
                <a:ext uri="{FF2B5EF4-FFF2-40B4-BE49-F238E27FC236}">
                  <a16:creationId xmlns:a16="http://schemas.microsoft.com/office/drawing/2014/main" id="{808C9E2F-4D7E-4FCE-835F-5EC9E4D21DD9}"/>
                </a:ext>
              </a:extLst>
            </p:cNvPr>
            <p:cNvSpPr/>
            <p:nvPr/>
          </p:nvSpPr>
          <p:spPr>
            <a:xfrm>
              <a:off x="8035551" y="6139312"/>
              <a:ext cx="3175" cy="1905"/>
            </a:xfrm>
            <a:custGeom>
              <a:avLst/>
              <a:gdLst/>
              <a:ahLst/>
              <a:cxnLst/>
              <a:rect l="l" t="t" r="r" b="b"/>
              <a:pathLst>
                <a:path w="3175" h="1904">
                  <a:moveTo>
                    <a:pt x="2997" y="0"/>
                  </a:moveTo>
                  <a:lnTo>
                    <a:pt x="0" y="1447"/>
                  </a:lnTo>
                  <a:lnTo>
                    <a:pt x="228" y="1727"/>
                  </a:lnTo>
                  <a:lnTo>
                    <a:pt x="1587" y="1612"/>
                  </a:lnTo>
                  <a:lnTo>
                    <a:pt x="3073" y="889"/>
                  </a:lnTo>
                  <a:lnTo>
                    <a:pt x="2997" y="0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6" name="object 598">
              <a:extLst>
                <a:ext uri="{FF2B5EF4-FFF2-40B4-BE49-F238E27FC236}">
                  <a16:creationId xmlns:a16="http://schemas.microsoft.com/office/drawing/2014/main" id="{BEA88ADC-1248-4A74-9A7E-4B6260019FD2}"/>
                </a:ext>
              </a:extLst>
            </p:cNvPr>
            <p:cNvSpPr/>
            <p:nvPr/>
          </p:nvSpPr>
          <p:spPr>
            <a:xfrm>
              <a:off x="8037142" y="6140194"/>
              <a:ext cx="1905" cy="1270"/>
            </a:xfrm>
            <a:custGeom>
              <a:avLst/>
              <a:gdLst/>
              <a:ahLst/>
              <a:cxnLst/>
              <a:rect l="l" t="t" r="r" b="b"/>
              <a:pathLst>
                <a:path w="1904" h="1270">
                  <a:moveTo>
                    <a:pt x="1485" y="0"/>
                  </a:moveTo>
                  <a:lnTo>
                    <a:pt x="0" y="723"/>
                  </a:lnTo>
                  <a:lnTo>
                    <a:pt x="1536" y="596"/>
                  </a:lnTo>
                  <a:lnTo>
                    <a:pt x="1485" y="0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7" name="object 599">
              <a:extLst>
                <a:ext uri="{FF2B5EF4-FFF2-40B4-BE49-F238E27FC236}">
                  <a16:creationId xmlns:a16="http://schemas.microsoft.com/office/drawing/2014/main" id="{70C27200-3870-4A86-91BB-0399F7E253A9}"/>
                </a:ext>
              </a:extLst>
            </p:cNvPr>
            <p:cNvSpPr/>
            <p:nvPr/>
          </p:nvSpPr>
          <p:spPr>
            <a:xfrm>
              <a:off x="8043560" y="6117356"/>
              <a:ext cx="1905" cy="635"/>
            </a:xfrm>
            <a:custGeom>
              <a:avLst/>
              <a:gdLst/>
              <a:ahLst/>
              <a:cxnLst/>
              <a:rect l="l" t="t" r="r" b="b"/>
              <a:pathLst>
                <a:path w="1904" h="634">
                  <a:moveTo>
                    <a:pt x="165" y="0"/>
                  </a:moveTo>
                  <a:lnTo>
                    <a:pt x="0" y="546"/>
                  </a:lnTo>
                  <a:lnTo>
                    <a:pt x="457" y="393"/>
                  </a:lnTo>
                  <a:lnTo>
                    <a:pt x="927" y="241"/>
                  </a:lnTo>
                  <a:lnTo>
                    <a:pt x="1384" y="88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8" name="object 600">
              <a:extLst>
                <a:ext uri="{FF2B5EF4-FFF2-40B4-BE49-F238E27FC236}">
                  <a16:creationId xmlns:a16="http://schemas.microsoft.com/office/drawing/2014/main" id="{77ABAA57-8ECF-45A2-B033-F83057219C74}"/>
                </a:ext>
              </a:extLst>
            </p:cNvPr>
            <p:cNvSpPr/>
            <p:nvPr/>
          </p:nvSpPr>
          <p:spPr>
            <a:xfrm>
              <a:off x="8043287" y="6117447"/>
              <a:ext cx="3810" cy="1905"/>
            </a:xfrm>
            <a:custGeom>
              <a:avLst/>
              <a:gdLst/>
              <a:ahLst/>
              <a:cxnLst/>
              <a:rect l="l" t="t" r="r" b="b"/>
              <a:pathLst>
                <a:path w="3809" h="1904">
                  <a:moveTo>
                    <a:pt x="1663" y="0"/>
                  </a:moveTo>
                  <a:lnTo>
                    <a:pt x="1206" y="139"/>
                  </a:lnTo>
                  <a:lnTo>
                    <a:pt x="736" y="304"/>
                  </a:lnTo>
                  <a:lnTo>
                    <a:pt x="279" y="457"/>
                  </a:lnTo>
                  <a:lnTo>
                    <a:pt x="0" y="1308"/>
                  </a:lnTo>
                  <a:lnTo>
                    <a:pt x="1206" y="901"/>
                  </a:lnTo>
                  <a:lnTo>
                    <a:pt x="2400" y="507"/>
                  </a:lnTo>
                  <a:lnTo>
                    <a:pt x="3594" y="126"/>
                  </a:lnTo>
                  <a:lnTo>
                    <a:pt x="1663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09" name="object 601">
              <a:extLst>
                <a:ext uri="{FF2B5EF4-FFF2-40B4-BE49-F238E27FC236}">
                  <a16:creationId xmlns:a16="http://schemas.microsoft.com/office/drawing/2014/main" id="{E94E4931-BA12-43F1-A88A-02D2E744FFEF}"/>
                </a:ext>
              </a:extLst>
            </p:cNvPr>
            <p:cNvSpPr/>
            <p:nvPr/>
          </p:nvSpPr>
          <p:spPr>
            <a:xfrm>
              <a:off x="8043011" y="6117579"/>
              <a:ext cx="6350" cy="2540"/>
            </a:xfrm>
            <a:custGeom>
              <a:avLst/>
              <a:gdLst/>
              <a:ahLst/>
              <a:cxnLst/>
              <a:rect l="l" t="t" r="r" b="b"/>
              <a:pathLst>
                <a:path w="6350" h="2540">
                  <a:moveTo>
                    <a:pt x="3873" y="0"/>
                  </a:moveTo>
                  <a:lnTo>
                    <a:pt x="1473" y="774"/>
                  </a:lnTo>
                  <a:lnTo>
                    <a:pt x="279" y="1181"/>
                  </a:lnTo>
                  <a:lnTo>
                    <a:pt x="0" y="2044"/>
                  </a:lnTo>
                  <a:lnTo>
                    <a:pt x="1943" y="1371"/>
                  </a:lnTo>
                  <a:lnTo>
                    <a:pt x="3886" y="736"/>
                  </a:lnTo>
                  <a:lnTo>
                    <a:pt x="5816" y="126"/>
                  </a:lnTo>
                  <a:lnTo>
                    <a:pt x="3873" y="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0" name="object 602">
              <a:extLst>
                <a:ext uri="{FF2B5EF4-FFF2-40B4-BE49-F238E27FC236}">
                  <a16:creationId xmlns:a16="http://schemas.microsoft.com/office/drawing/2014/main" id="{0F5A69CF-6DC5-4283-9DAB-3391F2F4B7BC}"/>
                </a:ext>
              </a:extLst>
            </p:cNvPr>
            <p:cNvSpPr/>
            <p:nvPr/>
          </p:nvSpPr>
          <p:spPr>
            <a:xfrm>
              <a:off x="8042730" y="6117697"/>
              <a:ext cx="8255" cy="3175"/>
            </a:xfrm>
            <a:custGeom>
              <a:avLst/>
              <a:gdLst/>
              <a:ahLst/>
              <a:cxnLst/>
              <a:rect l="l" t="t" r="r" b="b"/>
              <a:pathLst>
                <a:path w="8254" h="3175">
                  <a:moveTo>
                    <a:pt x="6096" y="0"/>
                  </a:moveTo>
                  <a:lnTo>
                    <a:pt x="2222" y="1257"/>
                  </a:lnTo>
                  <a:lnTo>
                    <a:pt x="279" y="1930"/>
                  </a:lnTo>
                  <a:lnTo>
                    <a:pt x="0" y="2806"/>
                  </a:lnTo>
                  <a:lnTo>
                    <a:pt x="2692" y="1866"/>
                  </a:lnTo>
                  <a:lnTo>
                    <a:pt x="5372" y="965"/>
                  </a:lnTo>
                  <a:lnTo>
                    <a:pt x="8051" y="139"/>
                  </a:lnTo>
                  <a:lnTo>
                    <a:pt x="6096" y="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1" name="object 603">
              <a:extLst>
                <a:ext uri="{FF2B5EF4-FFF2-40B4-BE49-F238E27FC236}">
                  <a16:creationId xmlns:a16="http://schemas.microsoft.com/office/drawing/2014/main" id="{3A46266B-49B4-4E30-83E7-C42F0E5C3AB3}"/>
                </a:ext>
              </a:extLst>
            </p:cNvPr>
            <p:cNvSpPr/>
            <p:nvPr/>
          </p:nvSpPr>
          <p:spPr>
            <a:xfrm>
              <a:off x="8042450" y="6117836"/>
              <a:ext cx="10795" cy="3810"/>
            </a:xfrm>
            <a:custGeom>
              <a:avLst/>
              <a:gdLst/>
              <a:ahLst/>
              <a:cxnLst/>
              <a:rect l="l" t="t" r="r" b="b"/>
              <a:pathLst>
                <a:path w="10795" h="3809">
                  <a:moveTo>
                    <a:pt x="8331" y="0"/>
                  </a:moveTo>
                  <a:lnTo>
                    <a:pt x="5651" y="825"/>
                  </a:lnTo>
                  <a:lnTo>
                    <a:pt x="2971" y="1727"/>
                  </a:lnTo>
                  <a:lnTo>
                    <a:pt x="279" y="2666"/>
                  </a:lnTo>
                  <a:lnTo>
                    <a:pt x="0" y="3555"/>
                  </a:lnTo>
                  <a:lnTo>
                    <a:pt x="3441" y="2324"/>
                  </a:lnTo>
                  <a:lnTo>
                    <a:pt x="6870" y="1181"/>
                  </a:lnTo>
                  <a:lnTo>
                    <a:pt x="10287" y="126"/>
                  </a:lnTo>
                  <a:lnTo>
                    <a:pt x="8331" y="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2" name="object 604">
              <a:extLst>
                <a:ext uri="{FF2B5EF4-FFF2-40B4-BE49-F238E27FC236}">
                  <a16:creationId xmlns:a16="http://schemas.microsoft.com/office/drawing/2014/main" id="{66E330D2-321C-4B00-A20C-9E746E0FB836}"/>
                </a:ext>
              </a:extLst>
            </p:cNvPr>
            <p:cNvSpPr/>
            <p:nvPr/>
          </p:nvSpPr>
          <p:spPr>
            <a:xfrm>
              <a:off x="8042168" y="6117962"/>
              <a:ext cx="12700" cy="4445"/>
            </a:xfrm>
            <a:custGeom>
              <a:avLst/>
              <a:gdLst/>
              <a:ahLst/>
              <a:cxnLst/>
              <a:rect l="l" t="t" r="r" b="b"/>
              <a:pathLst>
                <a:path w="12700" h="4445">
                  <a:moveTo>
                    <a:pt x="10579" y="0"/>
                  </a:moveTo>
                  <a:lnTo>
                    <a:pt x="7162" y="1054"/>
                  </a:lnTo>
                  <a:lnTo>
                    <a:pt x="3721" y="2197"/>
                  </a:lnTo>
                  <a:lnTo>
                    <a:pt x="279" y="3429"/>
                  </a:lnTo>
                  <a:lnTo>
                    <a:pt x="0" y="4330"/>
                  </a:lnTo>
                  <a:lnTo>
                    <a:pt x="2476" y="3429"/>
                  </a:lnTo>
                  <a:lnTo>
                    <a:pt x="3721" y="2997"/>
                  </a:lnTo>
                  <a:lnTo>
                    <a:pt x="5105" y="1943"/>
                  </a:lnTo>
                  <a:lnTo>
                    <a:pt x="6705" y="1206"/>
                  </a:lnTo>
                  <a:lnTo>
                    <a:pt x="8470" y="1117"/>
                  </a:lnTo>
                  <a:lnTo>
                    <a:pt x="8445" y="1422"/>
                  </a:lnTo>
                  <a:lnTo>
                    <a:pt x="11176" y="546"/>
                  </a:lnTo>
                  <a:lnTo>
                    <a:pt x="12534" y="139"/>
                  </a:lnTo>
                  <a:lnTo>
                    <a:pt x="10579" y="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3" name="object 605">
              <a:extLst>
                <a:ext uri="{FF2B5EF4-FFF2-40B4-BE49-F238E27FC236}">
                  <a16:creationId xmlns:a16="http://schemas.microsoft.com/office/drawing/2014/main" id="{43ADC4FE-CC64-476A-953C-5C7C49A932AC}"/>
                </a:ext>
              </a:extLst>
            </p:cNvPr>
            <p:cNvSpPr/>
            <p:nvPr/>
          </p:nvSpPr>
          <p:spPr>
            <a:xfrm>
              <a:off x="8041868" y="6118101"/>
              <a:ext cx="15240" cy="5715"/>
            </a:xfrm>
            <a:custGeom>
              <a:avLst/>
              <a:gdLst/>
              <a:ahLst/>
              <a:cxnLst/>
              <a:rect l="l" t="t" r="r" b="b"/>
              <a:pathLst>
                <a:path w="15240" h="5715">
                  <a:moveTo>
                    <a:pt x="4013" y="2870"/>
                  </a:moveTo>
                  <a:lnTo>
                    <a:pt x="2768" y="3302"/>
                  </a:lnTo>
                  <a:lnTo>
                    <a:pt x="1524" y="3746"/>
                  </a:lnTo>
                  <a:lnTo>
                    <a:pt x="292" y="4203"/>
                  </a:lnTo>
                  <a:lnTo>
                    <a:pt x="0" y="5105"/>
                  </a:lnTo>
                  <a:lnTo>
                    <a:pt x="838" y="4787"/>
                  </a:lnTo>
                  <a:lnTo>
                    <a:pt x="2527" y="4178"/>
                  </a:lnTo>
                  <a:lnTo>
                    <a:pt x="2997" y="3708"/>
                  </a:lnTo>
                  <a:lnTo>
                    <a:pt x="3479" y="3263"/>
                  </a:lnTo>
                  <a:lnTo>
                    <a:pt x="4013" y="2870"/>
                  </a:lnTo>
                  <a:close/>
                </a:path>
                <a:path w="15240" h="5715">
                  <a:moveTo>
                    <a:pt x="14808" y="127"/>
                  </a:moveTo>
                  <a:lnTo>
                    <a:pt x="12839" y="0"/>
                  </a:lnTo>
                  <a:lnTo>
                    <a:pt x="11468" y="406"/>
                  </a:lnTo>
                  <a:lnTo>
                    <a:pt x="8737" y="1282"/>
                  </a:lnTo>
                  <a:lnTo>
                    <a:pt x="8686" y="2057"/>
                  </a:lnTo>
                  <a:lnTo>
                    <a:pt x="10731" y="1384"/>
                  </a:lnTo>
                  <a:lnTo>
                    <a:pt x="12776" y="736"/>
                  </a:lnTo>
                  <a:lnTo>
                    <a:pt x="14808" y="127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4" name="object 606">
              <a:extLst>
                <a:ext uri="{FF2B5EF4-FFF2-40B4-BE49-F238E27FC236}">
                  <a16:creationId xmlns:a16="http://schemas.microsoft.com/office/drawing/2014/main" id="{572A4355-9E73-493E-8A67-630DD45266C0}"/>
                </a:ext>
              </a:extLst>
            </p:cNvPr>
            <p:cNvSpPr/>
            <p:nvPr/>
          </p:nvSpPr>
          <p:spPr>
            <a:xfrm>
              <a:off x="8041729" y="6118228"/>
              <a:ext cx="17145" cy="5715"/>
            </a:xfrm>
            <a:custGeom>
              <a:avLst/>
              <a:gdLst/>
              <a:ahLst/>
              <a:cxnLst/>
              <a:rect l="l" t="t" r="r" b="b"/>
              <a:pathLst>
                <a:path w="17145" h="5715">
                  <a:moveTo>
                    <a:pt x="2667" y="4051"/>
                  </a:moveTo>
                  <a:lnTo>
                    <a:pt x="1828" y="4343"/>
                  </a:lnTo>
                  <a:lnTo>
                    <a:pt x="977" y="4648"/>
                  </a:lnTo>
                  <a:lnTo>
                    <a:pt x="139" y="4965"/>
                  </a:lnTo>
                  <a:lnTo>
                    <a:pt x="0" y="5410"/>
                  </a:lnTo>
                  <a:lnTo>
                    <a:pt x="584" y="5613"/>
                  </a:lnTo>
                  <a:lnTo>
                    <a:pt x="1612" y="5232"/>
                  </a:lnTo>
                  <a:lnTo>
                    <a:pt x="1943" y="4826"/>
                  </a:lnTo>
                  <a:lnTo>
                    <a:pt x="2298" y="4432"/>
                  </a:lnTo>
                  <a:lnTo>
                    <a:pt x="2667" y="4051"/>
                  </a:lnTo>
                  <a:close/>
                </a:path>
                <a:path w="17145" h="5715">
                  <a:moveTo>
                    <a:pt x="16929" y="127"/>
                  </a:moveTo>
                  <a:lnTo>
                    <a:pt x="8775" y="2705"/>
                  </a:lnTo>
                  <a:lnTo>
                    <a:pt x="11506" y="1790"/>
                  </a:lnTo>
                  <a:lnTo>
                    <a:pt x="14224" y="927"/>
                  </a:lnTo>
                  <a:lnTo>
                    <a:pt x="16929" y="127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5" name="object 607">
              <a:extLst>
                <a:ext uri="{FF2B5EF4-FFF2-40B4-BE49-F238E27FC236}">
                  <a16:creationId xmlns:a16="http://schemas.microsoft.com/office/drawing/2014/main" id="{2945DFF5-8A67-4CBA-B1B8-D5C734B8F121}"/>
                </a:ext>
              </a:extLst>
            </p:cNvPr>
            <p:cNvSpPr/>
            <p:nvPr/>
          </p:nvSpPr>
          <p:spPr>
            <a:xfrm>
              <a:off x="8042326" y="6118368"/>
              <a:ext cx="18415" cy="5715"/>
            </a:xfrm>
            <a:custGeom>
              <a:avLst/>
              <a:gdLst/>
              <a:ahLst/>
              <a:cxnLst/>
              <a:rect l="l" t="t" r="r" b="b"/>
              <a:pathLst>
                <a:path w="18415" h="5715">
                  <a:moveTo>
                    <a:pt x="1028" y="5092"/>
                  </a:moveTo>
                  <a:lnTo>
                    <a:pt x="685" y="5232"/>
                  </a:lnTo>
                  <a:lnTo>
                    <a:pt x="0" y="5486"/>
                  </a:lnTo>
                  <a:lnTo>
                    <a:pt x="571" y="5676"/>
                  </a:lnTo>
                  <a:lnTo>
                    <a:pt x="711" y="5486"/>
                  </a:lnTo>
                  <a:lnTo>
                    <a:pt x="876" y="5295"/>
                  </a:lnTo>
                  <a:lnTo>
                    <a:pt x="1028" y="5092"/>
                  </a:lnTo>
                  <a:close/>
                </a:path>
                <a:path w="18415" h="5715">
                  <a:moveTo>
                    <a:pt x="18313" y="127"/>
                  </a:moveTo>
                  <a:lnTo>
                    <a:pt x="8128" y="3352"/>
                  </a:lnTo>
                  <a:lnTo>
                    <a:pt x="11722" y="2146"/>
                  </a:lnTo>
                  <a:lnTo>
                    <a:pt x="13500" y="1587"/>
                  </a:lnTo>
                  <a:lnTo>
                    <a:pt x="13538" y="1066"/>
                  </a:lnTo>
                  <a:lnTo>
                    <a:pt x="13881" y="1092"/>
                  </a:lnTo>
                  <a:lnTo>
                    <a:pt x="14211" y="1155"/>
                  </a:lnTo>
                  <a:lnTo>
                    <a:pt x="14554" y="1257"/>
                  </a:lnTo>
                  <a:lnTo>
                    <a:pt x="18313" y="127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6" name="object 608">
              <a:extLst>
                <a:ext uri="{FF2B5EF4-FFF2-40B4-BE49-F238E27FC236}">
                  <a16:creationId xmlns:a16="http://schemas.microsoft.com/office/drawing/2014/main" id="{E7DFCD34-A57F-4D81-B1BF-B8995F325503}"/>
                </a:ext>
              </a:extLst>
            </p:cNvPr>
            <p:cNvSpPr/>
            <p:nvPr/>
          </p:nvSpPr>
          <p:spPr>
            <a:xfrm>
              <a:off x="8050403" y="6118495"/>
              <a:ext cx="12700" cy="4445"/>
            </a:xfrm>
            <a:custGeom>
              <a:avLst/>
              <a:gdLst/>
              <a:ahLst/>
              <a:cxnLst/>
              <a:rect l="l" t="t" r="r" b="b"/>
              <a:pathLst>
                <a:path w="12700" h="4445">
                  <a:moveTo>
                    <a:pt x="5422" y="1460"/>
                  </a:moveTo>
                  <a:lnTo>
                    <a:pt x="3632" y="2019"/>
                  </a:lnTo>
                  <a:lnTo>
                    <a:pt x="50" y="3225"/>
                  </a:lnTo>
                  <a:lnTo>
                    <a:pt x="0" y="4013"/>
                  </a:lnTo>
                  <a:lnTo>
                    <a:pt x="1790" y="3390"/>
                  </a:lnTo>
                  <a:lnTo>
                    <a:pt x="3594" y="2794"/>
                  </a:lnTo>
                  <a:lnTo>
                    <a:pt x="5372" y="2222"/>
                  </a:lnTo>
                  <a:lnTo>
                    <a:pt x="5422" y="1460"/>
                  </a:lnTo>
                  <a:close/>
                </a:path>
                <a:path w="12700" h="4445">
                  <a:moveTo>
                    <a:pt x="12230" y="139"/>
                  </a:moveTo>
                  <a:lnTo>
                    <a:pt x="10236" y="0"/>
                  </a:lnTo>
                  <a:lnTo>
                    <a:pt x="8978" y="368"/>
                  </a:lnTo>
                  <a:lnTo>
                    <a:pt x="6464" y="1130"/>
                  </a:lnTo>
                  <a:lnTo>
                    <a:pt x="6807" y="1231"/>
                  </a:lnTo>
                  <a:lnTo>
                    <a:pt x="7162" y="1384"/>
                  </a:lnTo>
                  <a:lnTo>
                    <a:pt x="7493" y="1549"/>
                  </a:lnTo>
                  <a:lnTo>
                    <a:pt x="9080" y="1054"/>
                  </a:lnTo>
                  <a:lnTo>
                    <a:pt x="10655" y="584"/>
                  </a:lnTo>
                  <a:lnTo>
                    <a:pt x="12230" y="139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7" name="object 609">
              <a:extLst>
                <a:ext uri="{FF2B5EF4-FFF2-40B4-BE49-F238E27FC236}">
                  <a16:creationId xmlns:a16="http://schemas.microsoft.com/office/drawing/2014/main" id="{DA6CB0D2-56FA-49E8-9D3B-B3C703C0E601}"/>
                </a:ext>
              </a:extLst>
            </p:cNvPr>
            <p:cNvSpPr/>
            <p:nvPr/>
          </p:nvSpPr>
          <p:spPr>
            <a:xfrm>
              <a:off x="8050339" y="6118635"/>
              <a:ext cx="12700" cy="5080"/>
            </a:xfrm>
            <a:custGeom>
              <a:avLst/>
              <a:gdLst/>
              <a:ahLst/>
              <a:cxnLst/>
              <a:rect l="l" t="t" r="r" b="b"/>
              <a:pathLst>
                <a:path w="12700" h="5079">
                  <a:moveTo>
                    <a:pt x="5422" y="2095"/>
                  </a:moveTo>
                  <a:lnTo>
                    <a:pt x="3644" y="2667"/>
                  </a:lnTo>
                  <a:lnTo>
                    <a:pt x="1841" y="3263"/>
                  </a:lnTo>
                  <a:lnTo>
                    <a:pt x="50" y="3886"/>
                  </a:lnTo>
                  <a:lnTo>
                    <a:pt x="0" y="4686"/>
                  </a:lnTo>
                  <a:lnTo>
                    <a:pt x="1790" y="4051"/>
                  </a:lnTo>
                  <a:lnTo>
                    <a:pt x="3594" y="3441"/>
                  </a:lnTo>
                  <a:lnTo>
                    <a:pt x="5372" y="2857"/>
                  </a:lnTo>
                  <a:lnTo>
                    <a:pt x="5422" y="2095"/>
                  </a:lnTo>
                  <a:close/>
                </a:path>
                <a:path w="12700" h="5079">
                  <a:moveTo>
                    <a:pt x="12611" y="622"/>
                  </a:moveTo>
                  <a:lnTo>
                    <a:pt x="12496" y="12"/>
                  </a:lnTo>
                  <a:lnTo>
                    <a:pt x="12293" y="0"/>
                  </a:lnTo>
                  <a:lnTo>
                    <a:pt x="10731" y="444"/>
                  </a:lnTo>
                  <a:lnTo>
                    <a:pt x="7569" y="1409"/>
                  </a:lnTo>
                  <a:lnTo>
                    <a:pt x="8115" y="1714"/>
                  </a:lnTo>
                  <a:lnTo>
                    <a:pt x="8382" y="1892"/>
                  </a:lnTo>
                  <a:lnTo>
                    <a:pt x="9804" y="1447"/>
                  </a:lnTo>
                  <a:lnTo>
                    <a:pt x="12611" y="622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8" name="object 610">
              <a:extLst>
                <a:ext uri="{FF2B5EF4-FFF2-40B4-BE49-F238E27FC236}">
                  <a16:creationId xmlns:a16="http://schemas.microsoft.com/office/drawing/2014/main" id="{963986C6-86DA-4260-BEC6-F4422CE252AC}"/>
                </a:ext>
              </a:extLst>
            </p:cNvPr>
            <p:cNvSpPr/>
            <p:nvPr/>
          </p:nvSpPr>
          <p:spPr>
            <a:xfrm>
              <a:off x="8050289" y="6119257"/>
              <a:ext cx="13335" cy="5080"/>
            </a:xfrm>
            <a:custGeom>
              <a:avLst/>
              <a:gdLst/>
              <a:ahLst/>
              <a:cxnLst/>
              <a:rect l="l" t="t" r="r" b="b"/>
              <a:pathLst>
                <a:path w="13334" h="5079">
                  <a:moveTo>
                    <a:pt x="5435" y="2222"/>
                  </a:moveTo>
                  <a:lnTo>
                    <a:pt x="3644" y="2806"/>
                  </a:lnTo>
                  <a:lnTo>
                    <a:pt x="1854" y="3416"/>
                  </a:lnTo>
                  <a:lnTo>
                    <a:pt x="63" y="4051"/>
                  </a:lnTo>
                  <a:lnTo>
                    <a:pt x="0" y="4864"/>
                  </a:lnTo>
                  <a:lnTo>
                    <a:pt x="1803" y="4216"/>
                  </a:lnTo>
                  <a:lnTo>
                    <a:pt x="3594" y="3594"/>
                  </a:lnTo>
                  <a:lnTo>
                    <a:pt x="5384" y="2997"/>
                  </a:lnTo>
                  <a:lnTo>
                    <a:pt x="5435" y="2222"/>
                  </a:lnTo>
                  <a:close/>
                </a:path>
                <a:path w="13334" h="5079">
                  <a:moveTo>
                    <a:pt x="12801" y="673"/>
                  </a:moveTo>
                  <a:lnTo>
                    <a:pt x="12661" y="0"/>
                  </a:lnTo>
                  <a:lnTo>
                    <a:pt x="9855" y="825"/>
                  </a:lnTo>
                  <a:lnTo>
                    <a:pt x="8432" y="1270"/>
                  </a:lnTo>
                  <a:lnTo>
                    <a:pt x="8674" y="1435"/>
                  </a:lnTo>
                  <a:lnTo>
                    <a:pt x="9131" y="1790"/>
                  </a:lnTo>
                  <a:lnTo>
                    <a:pt x="10363" y="1397"/>
                  </a:lnTo>
                  <a:lnTo>
                    <a:pt x="11582" y="1028"/>
                  </a:lnTo>
                  <a:lnTo>
                    <a:pt x="12801" y="673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19" name="object 611">
              <a:extLst>
                <a:ext uri="{FF2B5EF4-FFF2-40B4-BE49-F238E27FC236}">
                  <a16:creationId xmlns:a16="http://schemas.microsoft.com/office/drawing/2014/main" id="{F04173F1-C52F-4949-8B1B-C748A8862684}"/>
                </a:ext>
              </a:extLst>
            </p:cNvPr>
            <p:cNvSpPr/>
            <p:nvPr/>
          </p:nvSpPr>
          <p:spPr>
            <a:xfrm>
              <a:off x="8050238" y="6119917"/>
              <a:ext cx="13335" cy="5080"/>
            </a:xfrm>
            <a:custGeom>
              <a:avLst/>
              <a:gdLst/>
              <a:ahLst/>
              <a:cxnLst/>
              <a:rect l="l" t="t" r="r" b="b"/>
              <a:pathLst>
                <a:path w="13334" h="5079">
                  <a:moveTo>
                    <a:pt x="5435" y="2336"/>
                  </a:moveTo>
                  <a:lnTo>
                    <a:pt x="3644" y="2933"/>
                  </a:lnTo>
                  <a:lnTo>
                    <a:pt x="1854" y="3556"/>
                  </a:lnTo>
                  <a:lnTo>
                    <a:pt x="50" y="4203"/>
                  </a:lnTo>
                  <a:lnTo>
                    <a:pt x="0" y="5016"/>
                  </a:lnTo>
                  <a:lnTo>
                    <a:pt x="1803" y="4356"/>
                  </a:lnTo>
                  <a:lnTo>
                    <a:pt x="3594" y="3721"/>
                  </a:lnTo>
                  <a:lnTo>
                    <a:pt x="5384" y="3124"/>
                  </a:lnTo>
                  <a:lnTo>
                    <a:pt x="5435" y="2336"/>
                  </a:lnTo>
                  <a:close/>
                </a:path>
                <a:path w="13334" h="5079">
                  <a:moveTo>
                    <a:pt x="12979" y="673"/>
                  </a:moveTo>
                  <a:lnTo>
                    <a:pt x="12852" y="0"/>
                  </a:lnTo>
                  <a:lnTo>
                    <a:pt x="10414" y="736"/>
                  </a:lnTo>
                  <a:lnTo>
                    <a:pt x="9182" y="1117"/>
                  </a:lnTo>
                  <a:lnTo>
                    <a:pt x="9398" y="1295"/>
                  </a:lnTo>
                  <a:lnTo>
                    <a:pt x="9601" y="1473"/>
                  </a:lnTo>
                  <a:lnTo>
                    <a:pt x="9804" y="1663"/>
                  </a:lnTo>
                  <a:lnTo>
                    <a:pt x="10871" y="1320"/>
                  </a:lnTo>
                  <a:lnTo>
                    <a:pt x="11925" y="1003"/>
                  </a:lnTo>
                  <a:lnTo>
                    <a:pt x="12979" y="673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0" name="object 612">
              <a:extLst>
                <a:ext uri="{FF2B5EF4-FFF2-40B4-BE49-F238E27FC236}">
                  <a16:creationId xmlns:a16="http://schemas.microsoft.com/office/drawing/2014/main" id="{1BD31147-C532-4E0A-BFAA-D51D92DBCDCC}"/>
                </a:ext>
              </a:extLst>
            </p:cNvPr>
            <p:cNvSpPr/>
            <p:nvPr/>
          </p:nvSpPr>
          <p:spPr>
            <a:xfrm>
              <a:off x="8050174" y="6120603"/>
              <a:ext cx="13335" cy="5715"/>
            </a:xfrm>
            <a:custGeom>
              <a:avLst/>
              <a:gdLst/>
              <a:ahLst/>
              <a:cxnLst/>
              <a:rect l="l" t="t" r="r" b="b"/>
              <a:pathLst>
                <a:path w="13334" h="5715">
                  <a:moveTo>
                    <a:pt x="5435" y="2438"/>
                  </a:moveTo>
                  <a:lnTo>
                    <a:pt x="3644" y="3048"/>
                  </a:lnTo>
                  <a:lnTo>
                    <a:pt x="1854" y="3670"/>
                  </a:lnTo>
                  <a:lnTo>
                    <a:pt x="50" y="4330"/>
                  </a:lnTo>
                  <a:lnTo>
                    <a:pt x="0" y="5156"/>
                  </a:lnTo>
                  <a:lnTo>
                    <a:pt x="1803" y="4483"/>
                  </a:lnTo>
                  <a:lnTo>
                    <a:pt x="3594" y="3835"/>
                  </a:lnTo>
                  <a:lnTo>
                    <a:pt x="5384" y="3225"/>
                  </a:lnTo>
                  <a:lnTo>
                    <a:pt x="5435" y="2438"/>
                  </a:lnTo>
                  <a:close/>
                </a:path>
                <a:path w="13334" h="5715">
                  <a:moveTo>
                    <a:pt x="13182" y="685"/>
                  </a:moveTo>
                  <a:lnTo>
                    <a:pt x="13042" y="0"/>
                  </a:lnTo>
                  <a:lnTo>
                    <a:pt x="11988" y="317"/>
                  </a:lnTo>
                  <a:lnTo>
                    <a:pt x="10922" y="647"/>
                  </a:lnTo>
                  <a:lnTo>
                    <a:pt x="9855" y="990"/>
                  </a:lnTo>
                  <a:lnTo>
                    <a:pt x="10058" y="1168"/>
                  </a:lnTo>
                  <a:lnTo>
                    <a:pt x="10414" y="1549"/>
                  </a:lnTo>
                  <a:lnTo>
                    <a:pt x="12268" y="965"/>
                  </a:lnTo>
                  <a:lnTo>
                    <a:pt x="13182" y="685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1" name="object 613">
              <a:extLst>
                <a:ext uri="{FF2B5EF4-FFF2-40B4-BE49-F238E27FC236}">
                  <a16:creationId xmlns:a16="http://schemas.microsoft.com/office/drawing/2014/main" id="{6319B7C2-B9F4-46CA-B0BE-A17623112E4F}"/>
                </a:ext>
              </a:extLst>
            </p:cNvPr>
            <p:cNvSpPr/>
            <p:nvPr/>
          </p:nvSpPr>
          <p:spPr>
            <a:xfrm>
              <a:off x="8050124" y="6121276"/>
              <a:ext cx="13970" cy="5715"/>
            </a:xfrm>
            <a:custGeom>
              <a:avLst/>
              <a:gdLst/>
              <a:ahLst/>
              <a:cxnLst/>
              <a:rect l="l" t="t" r="r" b="b"/>
              <a:pathLst>
                <a:path w="13970" h="5715">
                  <a:moveTo>
                    <a:pt x="5435" y="2552"/>
                  </a:moveTo>
                  <a:lnTo>
                    <a:pt x="1854" y="3810"/>
                  </a:lnTo>
                  <a:lnTo>
                    <a:pt x="50" y="4483"/>
                  </a:lnTo>
                  <a:lnTo>
                    <a:pt x="0" y="5308"/>
                  </a:lnTo>
                  <a:lnTo>
                    <a:pt x="3594" y="3975"/>
                  </a:lnTo>
                  <a:lnTo>
                    <a:pt x="5384" y="3352"/>
                  </a:lnTo>
                  <a:lnTo>
                    <a:pt x="5435" y="2552"/>
                  </a:lnTo>
                  <a:close/>
                </a:path>
                <a:path w="13970" h="5715">
                  <a:moveTo>
                    <a:pt x="13360" y="685"/>
                  </a:moveTo>
                  <a:lnTo>
                    <a:pt x="13220" y="0"/>
                  </a:lnTo>
                  <a:lnTo>
                    <a:pt x="12306" y="279"/>
                  </a:lnTo>
                  <a:lnTo>
                    <a:pt x="10464" y="863"/>
                  </a:lnTo>
                  <a:lnTo>
                    <a:pt x="10642" y="1054"/>
                  </a:lnTo>
                  <a:lnTo>
                    <a:pt x="10807" y="1257"/>
                  </a:lnTo>
                  <a:lnTo>
                    <a:pt x="10972" y="1447"/>
                  </a:lnTo>
                  <a:lnTo>
                    <a:pt x="13360" y="685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2" name="object 614">
              <a:extLst>
                <a:ext uri="{FF2B5EF4-FFF2-40B4-BE49-F238E27FC236}">
                  <a16:creationId xmlns:a16="http://schemas.microsoft.com/office/drawing/2014/main" id="{D2C03EB6-991B-49C4-9537-E1CB124F1DE3}"/>
                </a:ext>
              </a:extLst>
            </p:cNvPr>
            <p:cNvSpPr/>
            <p:nvPr/>
          </p:nvSpPr>
          <p:spPr>
            <a:xfrm>
              <a:off x="8050072" y="6121962"/>
              <a:ext cx="13970" cy="5715"/>
            </a:xfrm>
            <a:custGeom>
              <a:avLst/>
              <a:gdLst/>
              <a:ahLst/>
              <a:cxnLst/>
              <a:rect l="l" t="t" r="r" b="b"/>
              <a:pathLst>
                <a:path w="13970" h="5715">
                  <a:moveTo>
                    <a:pt x="5435" y="2654"/>
                  </a:moveTo>
                  <a:lnTo>
                    <a:pt x="3657" y="3276"/>
                  </a:lnTo>
                  <a:lnTo>
                    <a:pt x="1854" y="3937"/>
                  </a:lnTo>
                  <a:lnTo>
                    <a:pt x="63" y="4610"/>
                  </a:lnTo>
                  <a:lnTo>
                    <a:pt x="0" y="5448"/>
                  </a:lnTo>
                  <a:lnTo>
                    <a:pt x="1803" y="4749"/>
                  </a:lnTo>
                  <a:lnTo>
                    <a:pt x="3594" y="4089"/>
                  </a:lnTo>
                  <a:lnTo>
                    <a:pt x="5384" y="3454"/>
                  </a:lnTo>
                  <a:lnTo>
                    <a:pt x="5435" y="2654"/>
                  </a:lnTo>
                  <a:close/>
                </a:path>
                <a:path w="13970" h="5715">
                  <a:moveTo>
                    <a:pt x="13550" y="698"/>
                  </a:moveTo>
                  <a:lnTo>
                    <a:pt x="13423" y="0"/>
                  </a:lnTo>
                  <a:lnTo>
                    <a:pt x="11836" y="508"/>
                  </a:lnTo>
                  <a:lnTo>
                    <a:pt x="11023" y="762"/>
                  </a:lnTo>
                  <a:lnTo>
                    <a:pt x="11188" y="965"/>
                  </a:lnTo>
                  <a:lnTo>
                    <a:pt x="11353" y="1155"/>
                  </a:lnTo>
                  <a:lnTo>
                    <a:pt x="11506" y="1358"/>
                  </a:lnTo>
                  <a:lnTo>
                    <a:pt x="12192" y="1130"/>
                  </a:lnTo>
                  <a:lnTo>
                    <a:pt x="13550" y="698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3" name="object 615">
              <a:extLst>
                <a:ext uri="{FF2B5EF4-FFF2-40B4-BE49-F238E27FC236}">
                  <a16:creationId xmlns:a16="http://schemas.microsoft.com/office/drawing/2014/main" id="{1B61D337-F93B-49EA-800C-E1DAD5F983FC}"/>
                </a:ext>
              </a:extLst>
            </p:cNvPr>
            <p:cNvSpPr/>
            <p:nvPr/>
          </p:nvSpPr>
          <p:spPr>
            <a:xfrm>
              <a:off x="8050009" y="6122648"/>
              <a:ext cx="13970" cy="5715"/>
            </a:xfrm>
            <a:custGeom>
              <a:avLst/>
              <a:gdLst/>
              <a:ahLst/>
              <a:cxnLst/>
              <a:rect l="l" t="t" r="r" b="b"/>
              <a:pathLst>
                <a:path w="13970" h="5715">
                  <a:moveTo>
                    <a:pt x="5448" y="2768"/>
                  </a:moveTo>
                  <a:lnTo>
                    <a:pt x="3657" y="3403"/>
                  </a:lnTo>
                  <a:lnTo>
                    <a:pt x="50" y="4762"/>
                  </a:lnTo>
                  <a:lnTo>
                    <a:pt x="0" y="5600"/>
                  </a:lnTo>
                  <a:lnTo>
                    <a:pt x="1803" y="4902"/>
                  </a:lnTo>
                  <a:lnTo>
                    <a:pt x="3606" y="4229"/>
                  </a:lnTo>
                  <a:lnTo>
                    <a:pt x="5397" y="3581"/>
                  </a:lnTo>
                  <a:lnTo>
                    <a:pt x="5448" y="2768"/>
                  </a:lnTo>
                  <a:close/>
                </a:path>
                <a:path w="13970" h="5715">
                  <a:moveTo>
                    <a:pt x="13766" y="698"/>
                  </a:moveTo>
                  <a:lnTo>
                    <a:pt x="13627" y="0"/>
                  </a:lnTo>
                  <a:lnTo>
                    <a:pt x="12941" y="215"/>
                  </a:lnTo>
                  <a:lnTo>
                    <a:pt x="11569" y="673"/>
                  </a:lnTo>
                  <a:lnTo>
                    <a:pt x="11722" y="863"/>
                  </a:lnTo>
                  <a:lnTo>
                    <a:pt x="11874" y="1066"/>
                  </a:lnTo>
                  <a:lnTo>
                    <a:pt x="12014" y="1270"/>
                  </a:lnTo>
                  <a:lnTo>
                    <a:pt x="13766" y="698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4" name="object 616">
              <a:extLst>
                <a:ext uri="{FF2B5EF4-FFF2-40B4-BE49-F238E27FC236}">
                  <a16:creationId xmlns:a16="http://schemas.microsoft.com/office/drawing/2014/main" id="{3DFAF0FA-2D09-47EB-99A2-A4568D8C2F9E}"/>
                </a:ext>
              </a:extLst>
            </p:cNvPr>
            <p:cNvSpPr/>
            <p:nvPr/>
          </p:nvSpPr>
          <p:spPr>
            <a:xfrm>
              <a:off x="8049959" y="6123346"/>
              <a:ext cx="13970" cy="6350"/>
            </a:xfrm>
            <a:custGeom>
              <a:avLst/>
              <a:gdLst/>
              <a:ahLst/>
              <a:cxnLst/>
              <a:rect l="l" t="t" r="r" b="b"/>
              <a:pathLst>
                <a:path w="13970" h="6350">
                  <a:moveTo>
                    <a:pt x="5448" y="2882"/>
                  </a:moveTo>
                  <a:lnTo>
                    <a:pt x="3657" y="3530"/>
                  </a:lnTo>
                  <a:lnTo>
                    <a:pt x="1854" y="4203"/>
                  </a:lnTo>
                  <a:lnTo>
                    <a:pt x="50" y="4902"/>
                  </a:lnTo>
                  <a:lnTo>
                    <a:pt x="0" y="5753"/>
                  </a:lnTo>
                  <a:lnTo>
                    <a:pt x="1803" y="5041"/>
                  </a:lnTo>
                  <a:lnTo>
                    <a:pt x="3606" y="4356"/>
                  </a:lnTo>
                  <a:lnTo>
                    <a:pt x="5397" y="3695"/>
                  </a:lnTo>
                  <a:lnTo>
                    <a:pt x="5448" y="2882"/>
                  </a:lnTo>
                  <a:close/>
                </a:path>
                <a:path w="13970" h="6350">
                  <a:moveTo>
                    <a:pt x="13957" y="698"/>
                  </a:moveTo>
                  <a:lnTo>
                    <a:pt x="13817" y="0"/>
                  </a:lnTo>
                  <a:lnTo>
                    <a:pt x="12065" y="571"/>
                  </a:lnTo>
                  <a:lnTo>
                    <a:pt x="12204" y="774"/>
                  </a:lnTo>
                  <a:lnTo>
                    <a:pt x="12344" y="990"/>
                  </a:lnTo>
                  <a:lnTo>
                    <a:pt x="12471" y="1193"/>
                  </a:lnTo>
                  <a:lnTo>
                    <a:pt x="13957" y="698"/>
                  </a:lnTo>
                  <a:close/>
                </a:path>
              </a:pathLst>
            </a:custGeom>
            <a:solidFill>
              <a:srgbClr val="F8DA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5" name="object 617">
              <a:extLst>
                <a:ext uri="{FF2B5EF4-FFF2-40B4-BE49-F238E27FC236}">
                  <a16:creationId xmlns:a16="http://schemas.microsoft.com/office/drawing/2014/main" id="{72772DF5-5F01-4BC4-BEC3-49DBB4EF32CB}"/>
                </a:ext>
              </a:extLst>
            </p:cNvPr>
            <p:cNvSpPr/>
            <p:nvPr/>
          </p:nvSpPr>
          <p:spPr>
            <a:xfrm>
              <a:off x="8049895" y="6124058"/>
              <a:ext cx="14604" cy="6350"/>
            </a:xfrm>
            <a:custGeom>
              <a:avLst/>
              <a:gdLst/>
              <a:ahLst/>
              <a:cxnLst/>
              <a:rect l="l" t="t" r="r" b="b"/>
              <a:pathLst>
                <a:path w="14604" h="6350">
                  <a:moveTo>
                    <a:pt x="5448" y="2984"/>
                  </a:moveTo>
                  <a:lnTo>
                    <a:pt x="3657" y="3644"/>
                  </a:lnTo>
                  <a:lnTo>
                    <a:pt x="1866" y="4330"/>
                  </a:lnTo>
                  <a:lnTo>
                    <a:pt x="63" y="5041"/>
                  </a:lnTo>
                  <a:lnTo>
                    <a:pt x="0" y="5892"/>
                  </a:lnTo>
                  <a:lnTo>
                    <a:pt x="1816" y="5168"/>
                  </a:lnTo>
                  <a:lnTo>
                    <a:pt x="3606" y="4470"/>
                  </a:lnTo>
                  <a:lnTo>
                    <a:pt x="5397" y="3810"/>
                  </a:lnTo>
                  <a:lnTo>
                    <a:pt x="5448" y="2984"/>
                  </a:lnTo>
                  <a:close/>
                </a:path>
                <a:path w="14604" h="6350">
                  <a:moveTo>
                    <a:pt x="14160" y="698"/>
                  </a:moveTo>
                  <a:lnTo>
                    <a:pt x="14020" y="0"/>
                  </a:lnTo>
                  <a:lnTo>
                    <a:pt x="13525" y="152"/>
                  </a:lnTo>
                  <a:lnTo>
                    <a:pt x="13030" y="317"/>
                  </a:lnTo>
                  <a:lnTo>
                    <a:pt x="12534" y="495"/>
                  </a:lnTo>
                  <a:lnTo>
                    <a:pt x="12674" y="698"/>
                  </a:lnTo>
                  <a:lnTo>
                    <a:pt x="12801" y="914"/>
                  </a:lnTo>
                  <a:lnTo>
                    <a:pt x="12915" y="1117"/>
                  </a:lnTo>
                  <a:lnTo>
                    <a:pt x="13335" y="977"/>
                  </a:lnTo>
                  <a:lnTo>
                    <a:pt x="13741" y="838"/>
                  </a:lnTo>
                  <a:lnTo>
                    <a:pt x="14160" y="698"/>
                  </a:lnTo>
                  <a:close/>
                </a:path>
              </a:pathLst>
            </a:custGeom>
            <a:solidFill>
              <a:srgbClr val="F9DA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6" name="object 618">
              <a:extLst>
                <a:ext uri="{FF2B5EF4-FFF2-40B4-BE49-F238E27FC236}">
                  <a16:creationId xmlns:a16="http://schemas.microsoft.com/office/drawing/2014/main" id="{202F7E97-A326-4ACE-B57E-AD0368F56245}"/>
                </a:ext>
              </a:extLst>
            </p:cNvPr>
            <p:cNvSpPr/>
            <p:nvPr/>
          </p:nvSpPr>
          <p:spPr>
            <a:xfrm>
              <a:off x="8049844" y="6124769"/>
              <a:ext cx="14604" cy="6350"/>
            </a:xfrm>
            <a:custGeom>
              <a:avLst/>
              <a:gdLst/>
              <a:ahLst/>
              <a:cxnLst/>
              <a:rect l="l" t="t" r="r" b="b"/>
              <a:pathLst>
                <a:path w="14604" h="6350">
                  <a:moveTo>
                    <a:pt x="5448" y="3098"/>
                  </a:moveTo>
                  <a:lnTo>
                    <a:pt x="3657" y="3759"/>
                  </a:lnTo>
                  <a:lnTo>
                    <a:pt x="1866" y="4457"/>
                  </a:lnTo>
                  <a:lnTo>
                    <a:pt x="50" y="5181"/>
                  </a:lnTo>
                  <a:lnTo>
                    <a:pt x="0" y="6045"/>
                  </a:lnTo>
                  <a:lnTo>
                    <a:pt x="1803" y="5308"/>
                  </a:lnTo>
                  <a:lnTo>
                    <a:pt x="3606" y="4597"/>
                  </a:lnTo>
                  <a:lnTo>
                    <a:pt x="5397" y="3924"/>
                  </a:lnTo>
                  <a:lnTo>
                    <a:pt x="5448" y="3098"/>
                  </a:lnTo>
                  <a:close/>
                </a:path>
                <a:path w="14604" h="6350">
                  <a:moveTo>
                    <a:pt x="14287" y="381"/>
                  </a:moveTo>
                  <a:lnTo>
                    <a:pt x="14211" y="0"/>
                  </a:lnTo>
                  <a:lnTo>
                    <a:pt x="13792" y="127"/>
                  </a:lnTo>
                  <a:lnTo>
                    <a:pt x="12954" y="406"/>
                  </a:lnTo>
                  <a:lnTo>
                    <a:pt x="13042" y="558"/>
                  </a:lnTo>
                  <a:lnTo>
                    <a:pt x="14287" y="381"/>
                  </a:lnTo>
                  <a:close/>
                </a:path>
              </a:pathLst>
            </a:custGeom>
            <a:solidFill>
              <a:srgbClr val="FADC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7" name="object 619">
              <a:extLst>
                <a:ext uri="{FF2B5EF4-FFF2-40B4-BE49-F238E27FC236}">
                  <a16:creationId xmlns:a16="http://schemas.microsoft.com/office/drawing/2014/main" id="{5B5008E6-36F9-4BAC-8225-9923EC63F909}"/>
                </a:ext>
              </a:extLst>
            </p:cNvPr>
            <p:cNvSpPr/>
            <p:nvPr/>
          </p:nvSpPr>
          <p:spPr>
            <a:xfrm>
              <a:off x="8049788" y="6128692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48" y="0"/>
                  </a:moveTo>
                  <a:lnTo>
                    <a:pt x="3670" y="673"/>
                  </a:lnTo>
                  <a:lnTo>
                    <a:pt x="1866" y="1384"/>
                  </a:lnTo>
                  <a:lnTo>
                    <a:pt x="63" y="2120"/>
                  </a:lnTo>
                  <a:lnTo>
                    <a:pt x="0" y="2984"/>
                  </a:lnTo>
                  <a:lnTo>
                    <a:pt x="1803" y="2247"/>
                  </a:lnTo>
                  <a:lnTo>
                    <a:pt x="3606" y="1523"/>
                  </a:lnTo>
                  <a:lnTo>
                    <a:pt x="5397" y="825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AD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8" name="object 620">
              <a:extLst>
                <a:ext uri="{FF2B5EF4-FFF2-40B4-BE49-F238E27FC236}">
                  <a16:creationId xmlns:a16="http://schemas.microsoft.com/office/drawing/2014/main" id="{AA730FB2-F4B3-408C-8E83-930AC6500562}"/>
                </a:ext>
              </a:extLst>
            </p:cNvPr>
            <p:cNvSpPr/>
            <p:nvPr/>
          </p:nvSpPr>
          <p:spPr>
            <a:xfrm>
              <a:off x="8049728" y="6129517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61" y="0"/>
                  </a:moveTo>
                  <a:lnTo>
                    <a:pt x="3670" y="698"/>
                  </a:lnTo>
                  <a:lnTo>
                    <a:pt x="1866" y="1422"/>
                  </a:lnTo>
                  <a:lnTo>
                    <a:pt x="63" y="2159"/>
                  </a:lnTo>
                  <a:lnTo>
                    <a:pt x="0" y="3035"/>
                  </a:lnTo>
                  <a:lnTo>
                    <a:pt x="3606" y="1549"/>
                  </a:lnTo>
                  <a:lnTo>
                    <a:pt x="5397" y="850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FCDD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29" name="object 621">
              <a:extLst>
                <a:ext uri="{FF2B5EF4-FFF2-40B4-BE49-F238E27FC236}">
                  <a16:creationId xmlns:a16="http://schemas.microsoft.com/office/drawing/2014/main" id="{938243D2-C861-43B2-AD0D-A9D3820118AB}"/>
                </a:ext>
              </a:extLst>
            </p:cNvPr>
            <p:cNvSpPr/>
            <p:nvPr/>
          </p:nvSpPr>
          <p:spPr>
            <a:xfrm>
              <a:off x="8049669" y="6130369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61" y="0"/>
                  </a:moveTo>
                  <a:lnTo>
                    <a:pt x="3670" y="698"/>
                  </a:lnTo>
                  <a:lnTo>
                    <a:pt x="1866" y="1422"/>
                  </a:lnTo>
                  <a:lnTo>
                    <a:pt x="63" y="2184"/>
                  </a:lnTo>
                  <a:lnTo>
                    <a:pt x="0" y="3060"/>
                  </a:lnTo>
                  <a:lnTo>
                    <a:pt x="1816" y="2298"/>
                  </a:lnTo>
                  <a:lnTo>
                    <a:pt x="3619" y="1562"/>
                  </a:lnTo>
                  <a:lnTo>
                    <a:pt x="5397" y="850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0" name="object 622">
              <a:extLst>
                <a:ext uri="{FF2B5EF4-FFF2-40B4-BE49-F238E27FC236}">
                  <a16:creationId xmlns:a16="http://schemas.microsoft.com/office/drawing/2014/main" id="{1E27DD81-C343-424F-9269-B23E9E3A82C1}"/>
                </a:ext>
              </a:extLst>
            </p:cNvPr>
            <p:cNvSpPr/>
            <p:nvPr/>
          </p:nvSpPr>
          <p:spPr>
            <a:xfrm>
              <a:off x="8049611" y="6131210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61" y="0"/>
                  </a:moveTo>
                  <a:lnTo>
                    <a:pt x="1866" y="1447"/>
                  </a:lnTo>
                  <a:lnTo>
                    <a:pt x="63" y="2222"/>
                  </a:lnTo>
                  <a:lnTo>
                    <a:pt x="0" y="3111"/>
                  </a:lnTo>
                  <a:lnTo>
                    <a:pt x="1816" y="2336"/>
                  </a:lnTo>
                  <a:lnTo>
                    <a:pt x="3619" y="1587"/>
                  </a:lnTo>
                  <a:lnTo>
                    <a:pt x="5397" y="863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1" name="object 623">
              <a:extLst>
                <a:ext uri="{FF2B5EF4-FFF2-40B4-BE49-F238E27FC236}">
                  <a16:creationId xmlns:a16="http://schemas.microsoft.com/office/drawing/2014/main" id="{B8D7461E-1449-47D9-8193-72AF11207A82}"/>
                </a:ext>
              </a:extLst>
            </p:cNvPr>
            <p:cNvSpPr/>
            <p:nvPr/>
          </p:nvSpPr>
          <p:spPr>
            <a:xfrm>
              <a:off x="8049549" y="6132074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61" y="0"/>
                  </a:moveTo>
                  <a:lnTo>
                    <a:pt x="3670" y="723"/>
                  </a:lnTo>
                  <a:lnTo>
                    <a:pt x="1879" y="1460"/>
                  </a:lnTo>
                  <a:lnTo>
                    <a:pt x="63" y="2247"/>
                  </a:lnTo>
                  <a:lnTo>
                    <a:pt x="0" y="3136"/>
                  </a:lnTo>
                  <a:lnTo>
                    <a:pt x="1816" y="2349"/>
                  </a:lnTo>
                  <a:lnTo>
                    <a:pt x="3619" y="1587"/>
                  </a:lnTo>
                  <a:lnTo>
                    <a:pt x="5410" y="863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2" name="object 624">
              <a:extLst>
                <a:ext uri="{FF2B5EF4-FFF2-40B4-BE49-F238E27FC236}">
                  <a16:creationId xmlns:a16="http://schemas.microsoft.com/office/drawing/2014/main" id="{72823650-B9C9-45D5-B60E-CE10CF25349C}"/>
                </a:ext>
              </a:extLst>
            </p:cNvPr>
            <p:cNvSpPr/>
            <p:nvPr/>
          </p:nvSpPr>
          <p:spPr>
            <a:xfrm>
              <a:off x="8049490" y="6132937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61" y="0"/>
                  </a:moveTo>
                  <a:lnTo>
                    <a:pt x="3670" y="723"/>
                  </a:lnTo>
                  <a:lnTo>
                    <a:pt x="1866" y="1485"/>
                  </a:lnTo>
                  <a:lnTo>
                    <a:pt x="50" y="2273"/>
                  </a:lnTo>
                  <a:lnTo>
                    <a:pt x="0" y="3175"/>
                  </a:lnTo>
                  <a:lnTo>
                    <a:pt x="1816" y="2374"/>
                  </a:lnTo>
                  <a:lnTo>
                    <a:pt x="5410" y="863"/>
                  </a:lnTo>
                  <a:lnTo>
                    <a:pt x="5461" y="0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3" name="object 625">
              <a:extLst>
                <a:ext uri="{FF2B5EF4-FFF2-40B4-BE49-F238E27FC236}">
                  <a16:creationId xmlns:a16="http://schemas.microsoft.com/office/drawing/2014/main" id="{CEAC7EAC-6297-40CC-AC0C-59EFF0E695F4}"/>
                </a:ext>
              </a:extLst>
            </p:cNvPr>
            <p:cNvSpPr/>
            <p:nvPr/>
          </p:nvSpPr>
          <p:spPr>
            <a:xfrm>
              <a:off x="8049427" y="6133805"/>
              <a:ext cx="5715" cy="3810"/>
            </a:xfrm>
            <a:custGeom>
              <a:avLst/>
              <a:gdLst/>
              <a:ahLst/>
              <a:cxnLst/>
              <a:rect l="l" t="t" r="r" b="b"/>
              <a:pathLst>
                <a:path w="5715" h="3809">
                  <a:moveTo>
                    <a:pt x="5473" y="0"/>
                  </a:moveTo>
                  <a:lnTo>
                    <a:pt x="3682" y="736"/>
                  </a:lnTo>
                  <a:lnTo>
                    <a:pt x="1879" y="1511"/>
                  </a:lnTo>
                  <a:lnTo>
                    <a:pt x="63" y="2311"/>
                  </a:lnTo>
                  <a:lnTo>
                    <a:pt x="0" y="3213"/>
                  </a:lnTo>
                  <a:lnTo>
                    <a:pt x="3619" y="1625"/>
                  </a:lnTo>
                  <a:lnTo>
                    <a:pt x="5410" y="876"/>
                  </a:lnTo>
                  <a:lnTo>
                    <a:pt x="5473" y="0"/>
                  </a:lnTo>
                  <a:close/>
                </a:path>
              </a:pathLst>
            </a:custGeom>
            <a:solidFill>
              <a:srgbClr val="FEE46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4" name="object 626">
              <a:extLst>
                <a:ext uri="{FF2B5EF4-FFF2-40B4-BE49-F238E27FC236}">
                  <a16:creationId xmlns:a16="http://schemas.microsoft.com/office/drawing/2014/main" id="{99CD3CC1-1613-4E16-BB9B-440464A9EFB8}"/>
                </a:ext>
              </a:extLst>
            </p:cNvPr>
            <p:cNvSpPr/>
            <p:nvPr/>
          </p:nvSpPr>
          <p:spPr>
            <a:xfrm>
              <a:off x="8049328" y="6134681"/>
              <a:ext cx="5715" cy="3810"/>
            </a:xfrm>
            <a:custGeom>
              <a:avLst/>
              <a:gdLst/>
              <a:ahLst/>
              <a:cxnLst/>
              <a:rect l="l" t="t" r="r" b="b"/>
              <a:pathLst>
                <a:path w="5715" h="3809">
                  <a:moveTo>
                    <a:pt x="5511" y="0"/>
                  </a:moveTo>
                  <a:lnTo>
                    <a:pt x="3721" y="749"/>
                  </a:lnTo>
                  <a:lnTo>
                    <a:pt x="101" y="2336"/>
                  </a:lnTo>
                  <a:lnTo>
                    <a:pt x="88" y="2514"/>
                  </a:lnTo>
                  <a:lnTo>
                    <a:pt x="76" y="2781"/>
                  </a:lnTo>
                  <a:lnTo>
                    <a:pt x="0" y="3263"/>
                  </a:lnTo>
                  <a:lnTo>
                    <a:pt x="3644" y="1651"/>
                  </a:lnTo>
                  <a:lnTo>
                    <a:pt x="5448" y="876"/>
                  </a:lnTo>
                  <a:lnTo>
                    <a:pt x="5511" y="0"/>
                  </a:lnTo>
                  <a:close/>
                </a:path>
              </a:pathLst>
            </a:custGeom>
            <a:solidFill>
              <a:srgbClr val="FEE5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5" name="object 627">
              <a:extLst>
                <a:ext uri="{FF2B5EF4-FFF2-40B4-BE49-F238E27FC236}">
                  <a16:creationId xmlns:a16="http://schemas.microsoft.com/office/drawing/2014/main" id="{564C99D5-8FB4-4ED3-87DD-753CA11E5FF8}"/>
                </a:ext>
              </a:extLst>
            </p:cNvPr>
            <p:cNvSpPr/>
            <p:nvPr/>
          </p:nvSpPr>
          <p:spPr>
            <a:xfrm>
              <a:off x="8046062" y="6135554"/>
              <a:ext cx="12065" cy="6350"/>
            </a:xfrm>
            <a:custGeom>
              <a:avLst/>
              <a:gdLst/>
              <a:ahLst/>
              <a:cxnLst/>
              <a:rect l="l" t="t" r="r" b="b"/>
              <a:pathLst>
                <a:path w="12065" h="6350">
                  <a:moveTo>
                    <a:pt x="8724" y="0"/>
                  </a:moveTo>
                  <a:lnTo>
                    <a:pt x="5092" y="1574"/>
                  </a:lnTo>
                  <a:lnTo>
                    <a:pt x="3263" y="2400"/>
                  </a:lnTo>
                  <a:lnTo>
                    <a:pt x="2971" y="4013"/>
                  </a:lnTo>
                  <a:lnTo>
                    <a:pt x="2082" y="4495"/>
                  </a:lnTo>
                  <a:lnTo>
                    <a:pt x="63" y="4368"/>
                  </a:lnTo>
                  <a:lnTo>
                    <a:pt x="0" y="5422"/>
                  </a:lnTo>
                  <a:lnTo>
                    <a:pt x="11417" y="6184"/>
                  </a:lnTo>
                  <a:lnTo>
                    <a:pt x="11480" y="5130"/>
                  </a:lnTo>
                  <a:lnTo>
                    <a:pt x="9194" y="4978"/>
                  </a:lnTo>
                  <a:lnTo>
                    <a:pt x="8432" y="4229"/>
                  </a:lnTo>
                  <a:lnTo>
                    <a:pt x="8724" y="0"/>
                  </a:lnTo>
                  <a:close/>
                </a:path>
              </a:pathLst>
            </a:custGeom>
            <a:solidFill>
              <a:srgbClr val="FEE66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6" name="object 628">
              <a:extLst>
                <a:ext uri="{FF2B5EF4-FFF2-40B4-BE49-F238E27FC236}">
                  <a16:creationId xmlns:a16="http://schemas.microsoft.com/office/drawing/2014/main" id="{C650E755-77EE-4ADC-B344-DD2CD356748B}"/>
                </a:ext>
              </a:extLst>
            </p:cNvPr>
            <p:cNvSpPr/>
            <p:nvPr/>
          </p:nvSpPr>
          <p:spPr>
            <a:xfrm>
              <a:off x="8077817" y="6122357"/>
              <a:ext cx="3810" cy="1270"/>
            </a:xfrm>
            <a:custGeom>
              <a:avLst/>
              <a:gdLst/>
              <a:ahLst/>
              <a:cxnLst/>
              <a:rect l="l" t="t" r="r" b="b"/>
              <a:pathLst>
                <a:path w="3809" h="1270">
                  <a:moveTo>
                    <a:pt x="3505" y="0"/>
                  </a:moveTo>
                  <a:lnTo>
                    <a:pt x="2260" y="126"/>
                  </a:lnTo>
                  <a:lnTo>
                    <a:pt x="1079" y="469"/>
                  </a:lnTo>
                  <a:lnTo>
                    <a:pt x="0" y="990"/>
                  </a:lnTo>
                  <a:lnTo>
                    <a:pt x="1181" y="647"/>
                  </a:lnTo>
                  <a:lnTo>
                    <a:pt x="2349" y="317"/>
                  </a:lnTo>
                  <a:lnTo>
                    <a:pt x="3505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7" name="object 629">
              <a:extLst>
                <a:ext uri="{FF2B5EF4-FFF2-40B4-BE49-F238E27FC236}">
                  <a16:creationId xmlns:a16="http://schemas.microsoft.com/office/drawing/2014/main" id="{A7066E22-3191-4034-8A95-B13821FE2B3F}"/>
                </a:ext>
              </a:extLst>
            </p:cNvPr>
            <p:cNvSpPr/>
            <p:nvPr/>
          </p:nvSpPr>
          <p:spPr>
            <a:xfrm>
              <a:off x="8075705" y="6122278"/>
              <a:ext cx="8255" cy="2540"/>
            </a:xfrm>
            <a:custGeom>
              <a:avLst/>
              <a:gdLst/>
              <a:ahLst/>
              <a:cxnLst/>
              <a:rect l="l" t="t" r="r" b="b"/>
              <a:pathLst>
                <a:path w="8254" h="2540">
                  <a:moveTo>
                    <a:pt x="7188" y="0"/>
                  </a:moveTo>
                  <a:lnTo>
                    <a:pt x="6388" y="0"/>
                  </a:lnTo>
                  <a:lnTo>
                    <a:pt x="5613" y="76"/>
                  </a:lnTo>
                  <a:lnTo>
                    <a:pt x="0" y="2400"/>
                  </a:lnTo>
                  <a:lnTo>
                    <a:pt x="2717" y="1562"/>
                  </a:lnTo>
                  <a:lnTo>
                    <a:pt x="5384" y="800"/>
                  </a:lnTo>
                  <a:lnTo>
                    <a:pt x="8001" y="101"/>
                  </a:lnTo>
                  <a:lnTo>
                    <a:pt x="7188" y="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8" name="object 630">
              <a:extLst>
                <a:ext uri="{FF2B5EF4-FFF2-40B4-BE49-F238E27FC236}">
                  <a16:creationId xmlns:a16="http://schemas.microsoft.com/office/drawing/2014/main" id="{5ED5635A-1797-416D-A3BB-CB3D09F81599}"/>
                </a:ext>
              </a:extLst>
            </p:cNvPr>
            <p:cNvSpPr/>
            <p:nvPr/>
          </p:nvSpPr>
          <p:spPr>
            <a:xfrm>
              <a:off x="8074520" y="6122380"/>
              <a:ext cx="10795" cy="3810"/>
            </a:xfrm>
            <a:custGeom>
              <a:avLst/>
              <a:gdLst/>
              <a:ahLst/>
              <a:cxnLst/>
              <a:rect l="l" t="t" r="r" b="b"/>
              <a:pathLst>
                <a:path w="10795" h="3809">
                  <a:moveTo>
                    <a:pt x="9182" y="0"/>
                  </a:moveTo>
                  <a:lnTo>
                    <a:pt x="0" y="3390"/>
                  </a:lnTo>
                  <a:lnTo>
                    <a:pt x="3644" y="2222"/>
                  </a:lnTo>
                  <a:lnTo>
                    <a:pt x="7200" y="1181"/>
                  </a:lnTo>
                  <a:lnTo>
                    <a:pt x="10668" y="253"/>
                  </a:lnTo>
                  <a:lnTo>
                    <a:pt x="9677" y="50"/>
                  </a:lnTo>
                  <a:lnTo>
                    <a:pt x="9182" y="0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39" name="object 631">
              <a:extLst>
                <a:ext uri="{FF2B5EF4-FFF2-40B4-BE49-F238E27FC236}">
                  <a16:creationId xmlns:a16="http://schemas.microsoft.com/office/drawing/2014/main" id="{E39C87DE-0E57-406A-BAC9-0D2DC9692DDA}"/>
                </a:ext>
              </a:extLst>
            </p:cNvPr>
            <p:cNvSpPr/>
            <p:nvPr/>
          </p:nvSpPr>
          <p:spPr>
            <a:xfrm>
              <a:off x="8073652" y="6122640"/>
              <a:ext cx="13335" cy="4445"/>
            </a:xfrm>
            <a:custGeom>
              <a:avLst/>
              <a:gdLst/>
              <a:ahLst/>
              <a:cxnLst/>
              <a:rect l="l" t="t" r="r" b="b"/>
              <a:pathLst>
                <a:path w="13334" h="4445">
                  <a:moveTo>
                    <a:pt x="11531" y="0"/>
                  </a:moveTo>
                  <a:lnTo>
                    <a:pt x="0" y="4152"/>
                  </a:lnTo>
                  <a:lnTo>
                    <a:pt x="2946" y="3174"/>
                  </a:lnTo>
                  <a:lnTo>
                    <a:pt x="5842" y="2273"/>
                  </a:lnTo>
                  <a:lnTo>
                    <a:pt x="8674" y="1460"/>
                  </a:lnTo>
                  <a:lnTo>
                    <a:pt x="8953" y="1346"/>
                  </a:lnTo>
                  <a:lnTo>
                    <a:pt x="9220" y="1269"/>
                  </a:lnTo>
                  <a:lnTo>
                    <a:pt x="9499" y="1219"/>
                  </a:lnTo>
                  <a:lnTo>
                    <a:pt x="12712" y="330"/>
                  </a:lnTo>
                  <a:lnTo>
                    <a:pt x="12166" y="152"/>
                  </a:lnTo>
                  <a:lnTo>
                    <a:pt x="11531" y="0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0" name="object 632">
              <a:extLst>
                <a:ext uri="{FF2B5EF4-FFF2-40B4-BE49-F238E27FC236}">
                  <a16:creationId xmlns:a16="http://schemas.microsoft.com/office/drawing/2014/main" id="{5D2A510F-DD7B-43C0-95B5-AAC383777BA8}"/>
                </a:ext>
              </a:extLst>
            </p:cNvPr>
            <p:cNvSpPr/>
            <p:nvPr/>
          </p:nvSpPr>
          <p:spPr>
            <a:xfrm>
              <a:off x="8072958" y="6122991"/>
              <a:ext cx="14604" cy="5080"/>
            </a:xfrm>
            <a:custGeom>
              <a:avLst/>
              <a:gdLst/>
              <a:ahLst/>
              <a:cxnLst/>
              <a:rect l="l" t="t" r="r" b="b"/>
              <a:pathLst>
                <a:path w="14604" h="5079">
                  <a:moveTo>
                    <a:pt x="9359" y="1104"/>
                  </a:moveTo>
                  <a:lnTo>
                    <a:pt x="0" y="4775"/>
                  </a:lnTo>
                  <a:lnTo>
                    <a:pt x="2540" y="3911"/>
                  </a:lnTo>
                  <a:lnTo>
                    <a:pt x="5016" y="3111"/>
                  </a:lnTo>
                  <a:lnTo>
                    <a:pt x="7454" y="2362"/>
                  </a:lnTo>
                  <a:lnTo>
                    <a:pt x="8051" y="1778"/>
                  </a:lnTo>
                  <a:lnTo>
                    <a:pt x="8699" y="1358"/>
                  </a:lnTo>
                  <a:lnTo>
                    <a:pt x="9359" y="1104"/>
                  </a:lnTo>
                  <a:close/>
                </a:path>
                <a:path w="14604" h="5079">
                  <a:moveTo>
                    <a:pt x="14414" y="368"/>
                  </a:moveTo>
                  <a:lnTo>
                    <a:pt x="14084" y="228"/>
                  </a:lnTo>
                  <a:lnTo>
                    <a:pt x="13398" y="0"/>
                  </a:lnTo>
                  <a:lnTo>
                    <a:pt x="11264" y="571"/>
                  </a:lnTo>
                  <a:lnTo>
                    <a:pt x="10185" y="876"/>
                  </a:lnTo>
                  <a:lnTo>
                    <a:pt x="10858" y="762"/>
                  </a:lnTo>
                  <a:lnTo>
                    <a:pt x="11569" y="787"/>
                  </a:lnTo>
                  <a:lnTo>
                    <a:pt x="12280" y="965"/>
                  </a:lnTo>
                  <a:lnTo>
                    <a:pt x="13004" y="762"/>
                  </a:lnTo>
                  <a:lnTo>
                    <a:pt x="13716" y="571"/>
                  </a:lnTo>
                  <a:lnTo>
                    <a:pt x="14414" y="368"/>
                  </a:lnTo>
                  <a:close/>
                </a:path>
              </a:pathLst>
            </a:custGeom>
            <a:solidFill>
              <a:srgbClr val="FEE46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1" name="object 633">
              <a:extLst>
                <a:ext uri="{FF2B5EF4-FFF2-40B4-BE49-F238E27FC236}">
                  <a16:creationId xmlns:a16="http://schemas.microsoft.com/office/drawing/2014/main" id="{869AF506-7710-4EF7-9817-7EA007D0DF71}"/>
                </a:ext>
              </a:extLst>
            </p:cNvPr>
            <p:cNvSpPr/>
            <p:nvPr/>
          </p:nvSpPr>
          <p:spPr>
            <a:xfrm>
              <a:off x="8072425" y="6123359"/>
              <a:ext cx="15875" cy="5715"/>
            </a:xfrm>
            <a:custGeom>
              <a:avLst/>
              <a:gdLst/>
              <a:ahLst/>
              <a:cxnLst/>
              <a:rect l="l" t="t" r="r" b="b"/>
              <a:pathLst>
                <a:path w="15875" h="5715">
                  <a:moveTo>
                    <a:pt x="7988" y="2006"/>
                  </a:moveTo>
                  <a:lnTo>
                    <a:pt x="0" y="5359"/>
                  </a:lnTo>
                  <a:lnTo>
                    <a:pt x="2413" y="4508"/>
                  </a:lnTo>
                  <a:lnTo>
                    <a:pt x="4800" y="3721"/>
                  </a:lnTo>
                  <a:lnTo>
                    <a:pt x="7137" y="2971"/>
                  </a:lnTo>
                  <a:lnTo>
                    <a:pt x="7416" y="2616"/>
                  </a:lnTo>
                  <a:lnTo>
                    <a:pt x="7696" y="2286"/>
                  </a:lnTo>
                  <a:lnTo>
                    <a:pt x="7988" y="2006"/>
                  </a:lnTo>
                  <a:close/>
                </a:path>
                <a:path w="15875" h="5715">
                  <a:moveTo>
                    <a:pt x="15836" y="406"/>
                  </a:moveTo>
                  <a:lnTo>
                    <a:pt x="15265" y="127"/>
                  </a:lnTo>
                  <a:lnTo>
                    <a:pt x="14960" y="0"/>
                  </a:lnTo>
                  <a:lnTo>
                    <a:pt x="13538" y="381"/>
                  </a:lnTo>
                  <a:lnTo>
                    <a:pt x="12827" y="584"/>
                  </a:lnTo>
                  <a:lnTo>
                    <a:pt x="12966" y="622"/>
                  </a:lnTo>
                  <a:lnTo>
                    <a:pt x="13284" y="711"/>
                  </a:lnTo>
                  <a:lnTo>
                    <a:pt x="13589" y="812"/>
                  </a:lnTo>
                  <a:lnTo>
                    <a:pt x="13881" y="952"/>
                  </a:lnTo>
                  <a:lnTo>
                    <a:pt x="14541" y="762"/>
                  </a:lnTo>
                  <a:lnTo>
                    <a:pt x="15836" y="406"/>
                  </a:lnTo>
                  <a:close/>
                </a:path>
              </a:pathLst>
            </a:custGeom>
            <a:solidFill>
              <a:srgbClr val="FEE5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2" name="object 634">
              <a:extLst>
                <a:ext uri="{FF2B5EF4-FFF2-40B4-BE49-F238E27FC236}">
                  <a16:creationId xmlns:a16="http://schemas.microsoft.com/office/drawing/2014/main" id="{85C053CB-F048-4793-ADE9-C86DE9743095}"/>
                </a:ext>
              </a:extLst>
            </p:cNvPr>
            <p:cNvSpPr/>
            <p:nvPr/>
          </p:nvSpPr>
          <p:spPr>
            <a:xfrm>
              <a:off x="8142180" y="6152175"/>
              <a:ext cx="3175" cy="6985"/>
            </a:xfrm>
            <a:custGeom>
              <a:avLst/>
              <a:gdLst/>
              <a:ahLst/>
              <a:cxnLst/>
              <a:rect l="l" t="t" r="r" b="b"/>
              <a:pathLst>
                <a:path w="3175" h="6984">
                  <a:moveTo>
                    <a:pt x="2057" y="0"/>
                  </a:moveTo>
                  <a:lnTo>
                    <a:pt x="1473" y="1879"/>
                  </a:lnTo>
                  <a:lnTo>
                    <a:pt x="787" y="3809"/>
                  </a:lnTo>
                  <a:lnTo>
                    <a:pt x="0" y="5803"/>
                  </a:lnTo>
                  <a:lnTo>
                    <a:pt x="38" y="6400"/>
                  </a:lnTo>
                  <a:lnTo>
                    <a:pt x="1092" y="6629"/>
                  </a:lnTo>
                  <a:lnTo>
                    <a:pt x="2870" y="571"/>
                  </a:lnTo>
                  <a:lnTo>
                    <a:pt x="2057" y="0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3" name="object 635">
              <a:extLst>
                <a:ext uri="{FF2B5EF4-FFF2-40B4-BE49-F238E27FC236}">
                  <a16:creationId xmlns:a16="http://schemas.microsoft.com/office/drawing/2014/main" id="{EC089EB6-CA8D-4697-9FFB-733BA24B93C1}"/>
                </a:ext>
              </a:extLst>
            </p:cNvPr>
            <p:cNvSpPr/>
            <p:nvPr/>
          </p:nvSpPr>
          <p:spPr>
            <a:xfrm>
              <a:off x="8134655" y="6151451"/>
              <a:ext cx="10160" cy="19050"/>
            </a:xfrm>
            <a:custGeom>
              <a:avLst/>
              <a:gdLst/>
              <a:ahLst/>
              <a:cxnLst/>
              <a:rect l="l" t="t" r="r" b="b"/>
              <a:pathLst>
                <a:path w="10159" h="19050">
                  <a:moveTo>
                    <a:pt x="2336" y="16979"/>
                  </a:moveTo>
                  <a:lnTo>
                    <a:pt x="1879" y="16116"/>
                  </a:lnTo>
                  <a:lnTo>
                    <a:pt x="1663" y="16167"/>
                  </a:lnTo>
                  <a:lnTo>
                    <a:pt x="1435" y="16230"/>
                  </a:lnTo>
                  <a:lnTo>
                    <a:pt x="1206" y="16281"/>
                  </a:lnTo>
                  <a:lnTo>
                    <a:pt x="0" y="18503"/>
                  </a:lnTo>
                  <a:lnTo>
                    <a:pt x="2336" y="16979"/>
                  </a:lnTo>
                  <a:close/>
                </a:path>
                <a:path w="10159" h="19050">
                  <a:moveTo>
                    <a:pt x="9575" y="723"/>
                  </a:moveTo>
                  <a:lnTo>
                    <a:pt x="8509" y="0"/>
                  </a:lnTo>
                  <a:lnTo>
                    <a:pt x="8077" y="1270"/>
                  </a:lnTo>
                  <a:lnTo>
                    <a:pt x="7594" y="2565"/>
                  </a:lnTo>
                  <a:lnTo>
                    <a:pt x="7061" y="3898"/>
                  </a:lnTo>
                  <a:lnTo>
                    <a:pt x="7289" y="4775"/>
                  </a:lnTo>
                  <a:lnTo>
                    <a:pt x="7442" y="5651"/>
                  </a:lnTo>
                  <a:lnTo>
                    <a:pt x="7505" y="6527"/>
                  </a:lnTo>
                  <a:lnTo>
                    <a:pt x="8293" y="4533"/>
                  </a:lnTo>
                  <a:lnTo>
                    <a:pt x="8978" y="2603"/>
                  </a:lnTo>
                  <a:lnTo>
                    <a:pt x="9575" y="723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4" name="object 636">
              <a:extLst>
                <a:ext uri="{FF2B5EF4-FFF2-40B4-BE49-F238E27FC236}">
                  <a16:creationId xmlns:a16="http://schemas.microsoft.com/office/drawing/2014/main" id="{23E8589A-704B-4D58-8540-48297E7964E0}"/>
                </a:ext>
              </a:extLst>
            </p:cNvPr>
            <p:cNvSpPr/>
            <p:nvPr/>
          </p:nvSpPr>
          <p:spPr>
            <a:xfrm>
              <a:off x="8131454" y="6150702"/>
              <a:ext cx="12065" cy="21590"/>
            </a:xfrm>
            <a:custGeom>
              <a:avLst/>
              <a:gdLst/>
              <a:ahLst/>
              <a:cxnLst/>
              <a:rect l="l" t="t" r="r" b="b"/>
              <a:pathLst>
                <a:path w="12065" h="21590">
                  <a:moveTo>
                    <a:pt x="4419" y="17030"/>
                  </a:moveTo>
                  <a:lnTo>
                    <a:pt x="3695" y="17195"/>
                  </a:lnTo>
                  <a:lnTo>
                    <a:pt x="2959" y="17310"/>
                  </a:lnTo>
                  <a:lnTo>
                    <a:pt x="2222" y="17360"/>
                  </a:lnTo>
                  <a:lnTo>
                    <a:pt x="1511" y="18592"/>
                  </a:lnTo>
                  <a:lnTo>
                    <a:pt x="774" y="19850"/>
                  </a:lnTo>
                  <a:lnTo>
                    <a:pt x="0" y="21120"/>
                  </a:lnTo>
                  <a:lnTo>
                    <a:pt x="165" y="21234"/>
                  </a:lnTo>
                  <a:lnTo>
                    <a:pt x="3200" y="19265"/>
                  </a:lnTo>
                  <a:lnTo>
                    <a:pt x="3619" y="18516"/>
                  </a:lnTo>
                  <a:lnTo>
                    <a:pt x="4013" y="17767"/>
                  </a:lnTo>
                  <a:lnTo>
                    <a:pt x="4419" y="17030"/>
                  </a:lnTo>
                  <a:close/>
                </a:path>
                <a:path w="12065" h="21590">
                  <a:moveTo>
                    <a:pt x="11709" y="736"/>
                  </a:moveTo>
                  <a:lnTo>
                    <a:pt x="10655" y="0"/>
                  </a:lnTo>
                  <a:lnTo>
                    <a:pt x="9982" y="1790"/>
                  </a:lnTo>
                  <a:lnTo>
                    <a:pt x="9588" y="2705"/>
                  </a:lnTo>
                  <a:lnTo>
                    <a:pt x="9867" y="3327"/>
                  </a:lnTo>
                  <a:lnTo>
                    <a:pt x="10083" y="3987"/>
                  </a:lnTo>
                  <a:lnTo>
                    <a:pt x="10261" y="4648"/>
                  </a:lnTo>
                  <a:lnTo>
                    <a:pt x="10795" y="3314"/>
                  </a:lnTo>
                  <a:lnTo>
                    <a:pt x="11277" y="2006"/>
                  </a:lnTo>
                  <a:lnTo>
                    <a:pt x="11709" y="736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5" name="object 637">
              <a:extLst>
                <a:ext uri="{FF2B5EF4-FFF2-40B4-BE49-F238E27FC236}">
                  <a16:creationId xmlns:a16="http://schemas.microsoft.com/office/drawing/2014/main" id="{202E70C0-6FF5-40DA-935B-8DBCE2711C5D}"/>
                </a:ext>
              </a:extLst>
            </p:cNvPr>
            <p:cNvSpPr/>
            <p:nvPr/>
          </p:nvSpPr>
          <p:spPr>
            <a:xfrm>
              <a:off x="8129917" y="6149966"/>
              <a:ext cx="12700" cy="22225"/>
            </a:xfrm>
            <a:custGeom>
              <a:avLst/>
              <a:gdLst/>
              <a:ahLst/>
              <a:cxnLst/>
              <a:rect l="l" t="t" r="r" b="b"/>
              <a:pathLst>
                <a:path w="12700" h="22225">
                  <a:moveTo>
                    <a:pt x="3759" y="18097"/>
                  </a:moveTo>
                  <a:lnTo>
                    <a:pt x="3060" y="18148"/>
                  </a:lnTo>
                  <a:lnTo>
                    <a:pt x="2362" y="18161"/>
                  </a:lnTo>
                  <a:lnTo>
                    <a:pt x="1663" y="18122"/>
                  </a:lnTo>
                  <a:lnTo>
                    <a:pt x="571" y="19888"/>
                  </a:lnTo>
                  <a:lnTo>
                    <a:pt x="0" y="20777"/>
                  </a:lnTo>
                  <a:lnTo>
                    <a:pt x="1536" y="21856"/>
                  </a:lnTo>
                  <a:lnTo>
                    <a:pt x="2311" y="20586"/>
                  </a:lnTo>
                  <a:lnTo>
                    <a:pt x="3048" y="19329"/>
                  </a:lnTo>
                  <a:lnTo>
                    <a:pt x="3759" y="18097"/>
                  </a:lnTo>
                  <a:close/>
                </a:path>
                <a:path w="12700" h="22225">
                  <a:moveTo>
                    <a:pt x="8343" y="6629"/>
                  </a:moveTo>
                  <a:lnTo>
                    <a:pt x="8191" y="6527"/>
                  </a:lnTo>
                  <a:lnTo>
                    <a:pt x="7810" y="7289"/>
                  </a:lnTo>
                  <a:lnTo>
                    <a:pt x="7620" y="7683"/>
                  </a:lnTo>
                  <a:lnTo>
                    <a:pt x="8343" y="6629"/>
                  </a:lnTo>
                  <a:close/>
                </a:path>
                <a:path w="12700" h="22225">
                  <a:moveTo>
                    <a:pt x="12192" y="736"/>
                  </a:moveTo>
                  <a:lnTo>
                    <a:pt x="11137" y="0"/>
                  </a:lnTo>
                  <a:lnTo>
                    <a:pt x="10883" y="635"/>
                  </a:lnTo>
                  <a:lnTo>
                    <a:pt x="10337" y="1917"/>
                  </a:lnTo>
                  <a:lnTo>
                    <a:pt x="10642" y="2413"/>
                  </a:lnTo>
                  <a:lnTo>
                    <a:pt x="10896" y="2921"/>
                  </a:lnTo>
                  <a:lnTo>
                    <a:pt x="11125" y="3441"/>
                  </a:lnTo>
                  <a:lnTo>
                    <a:pt x="11518" y="2527"/>
                  </a:lnTo>
                  <a:lnTo>
                    <a:pt x="11861" y="1625"/>
                  </a:lnTo>
                  <a:lnTo>
                    <a:pt x="12192" y="736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6" name="object 638">
              <a:extLst>
                <a:ext uri="{FF2B5EF4-FFF2-40B4-BE49-F238E27FC236}">
                  <a16:creationId xmlns:a16="http://schemas.microsoft.com/office/drawing/2014/main" id="{74241CFC-C242-4C96-BFF4-489E28640078}"/>
                </a:ext>
              </a:extLst>
            </p:cNvPr>
            <p:cNvSpPr/>
            <p:nvPr/>
          </p:nvSpPr>
          <p:spPr>
            <a:xfrm>
              <a:off x="8128368" y="6149229"/>
              <a:ext cx="12700" cy="21590"/>
            </a:xfrm>
            <a:custGeom>
              <a:avLst/>
              <a:gdLst/>
              <a:ahLst/>
              <a:cxnLst/>
              <a:rect l="l" t="t" r="r" b="b"/>
              <a:pathLst>
                <a:path w="12700" h="21590">
                  <a:moveTo>
                    <a:pt x="3213" y="18859"/>
                  </a:moveTo>
                  <a:lnTo>
                    <a:pt x="2540" y="18821"/>
                  </a:lnTo>
                  <a:lnTo>
                    <a:pt x="1879" y="18745"/>
                  </a:lnTo>
                  <a:lnTo>
                    <a:pt x="1219" y="18605"/>
                  </a:lnTo>
                  <a:lnTo>
                    <a:pt x="825" y="19215"/>
                  </a:lnTo>
                  <a:lnTo>
                    <a:pt x="0" y="20434"/>
                  </a:lnTo>
                  <a:lnTo>
                    <a:pt x="1549" y="21513"/>
                  </a:lnTo>
                  <a:lnTo>
                    <a:pt x="2120" y="20624"/>
                  </a:lnTo>
                  <a:lnTo>
                    <a:pt x="2667" y="19735"/>
                  </a:lnTo>
                  <a:lnTo>
                    <a:pt x="3213" y="18859"/>
                  </a:lnTo>
                  <a:close/>
                </a:path>
                <a:path w="12700" h="21590">
                  <a:moveTo>
                    <a:pt x="9740" y="7251"/>
                  </a:moveTo>
                  <a:lnTo>
                    <a:pt x="8864" y="6642"/>
                  </a:lnTo>
                  <a:lnTo>
                    <a:pt x="8369" y="6997"/>
                  </a:lnTo>
                  <a:lnTo>
                    <a:pt x="8128" y="7150"/>
                  </a:lnTo>
                  <a:lnTo>
                    <a:pt x="6870" y="9486"/>
                  </a:lnTo>
                  <a:lnTo>
                    <a:pt x="5448" y="11925"/>
                  </a:lnTo>
                  <a:lnTo>
                    <a:pt x="3886" y="14439"/>
                  </a:lnTo>
                  <a:lnTo>
                    <a:pt x="4584" y="14935"/>
                  </a:lnTo>
                  <a:lnTo>
                    <a:pt x="9156" y="8407"/>
                  </a:lnTo>
                  <a:lnTo>
                    <a:pt x="9740" y="7251"/>
                  </a:lnTo>
                  <a:close/>
                </a:path>
                <a:path w="12700" h="21590">
                  <a:moveTo>
                    <a:pt x="12687" y="736"/>
                  </a:moveTo>
                  <a:lnTo>
                    <a:pt x="11633" y="0"/>
                  </a:lnTo>
                  <a:lnTo>
                    <a:pt x="11430" y="469"/>
                  </a:lnTo>
                  <a:lnTo>
                    <a:pt x="10998" y="1447"/>
                  </a:lnTo>
                  <a:lnTo>
                    <a:pt x="11315" y="1828"/>
                  </a:lnTo>
                  <a:lnTo>
                    <a:pt x="11607" y="2235"/>
                  </a:lnTo>
                  <a:lnTo>
                    <a:pt x="11887" y="2654"/>
                  </a:lnTo>
                  <a:lnTo>
                    <a:pt x="12166" y="2006"/>
                  </a:lnTo>
                  <a:lnTo>
                    <a:pt x="12433" y="1371"/>
                  </a:lnTo>
                  <a:lnTo>
                    <a:pt x="12687" y="736"/>
                  </a:lnTo>
                  <a:close/>
                </a:path>
              </a:pathLst>
            </a:custGeom>
            <a:solidFill>
              <a:srgbClr val="F8DA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7" name="object 639">
              <a:extLst>
                <a:ext uri="{FF2B5EF4-FFF2-40B4-BE49-F238E27FC236}">
                  <a16:creationId xmlns:a16="http://schemas.microsoft.com/office/drawing/2014/main" id="{576C04BE-8FB2-4D0D-82F1-27AA740907BF}"/>
                </a:ext>
              </a:extLst>
            </p:cNvPr>
            <p:cNvSpPr/>
            <p:nvPr/>
          </p:nvSpPr>
          <p:spPr>
            <a:xfrm>
              <a:off x="8126831" y="6148492"/>
              <a:ext cx="13335" cy="21590"/>
            </a:xfrm>
            <a:custGeom>
              <a:avLst/>
              <a:gdLst/>
              <a:ahLst/>
              <a:cxnLst/>
              <a:rect l="l" t="t" r="r" b="b"/>
              <a:pathLst>
                <a:path w="13334" h="21590">
                  <a:moveTo>
                    <a:pt x="2755" y="19342"/>
                  </a:moveTo>
                  <a:lnTo>
                    <a:pt x="2133" y="19202"/>
                  </a:lnTo>
                  <a:lnTo>
                    <a:pt x="1511" y="19024"/>
                  </a:lnTo>
                  <a:lnTo>
                    <a:pt x="901" y="18796"/>
                  </a:lnTo>
                  <a:lnTo>
                    <a:pt x="609" y="19227"/>
                  </a:lnTo>
                  <a:lnTo>
                    <a:pt x="0" y="20091"/>
                  </a:lnTo>
                  <a:lnTo>
                    <a:pt x="1536" y="21170"/>
                  </a:lnTo>
                  <a:lnTo>
                    <a:pt x="2362" y="19951"/>
                  </a:lnTo>
                  <a:lnTo>
                    <a:pt x="2755" y="19342"/>
                  </a:lnTo>
                  <a:close/>
                </a:path>
                <a:path w="13334" h="21590">
                  <a:moveTo>
                    <a:pt x="9677" y="7886"/>
                  </a:moveTo>
                  <a:lnTo>
                    <a:pt x="8839" y="8407"/>
                  </a:lnTo>
                  <a:lnTo>
                    <a:pt x="8128" y="8686"/>
                  </a:lnTo>
                  <a:lnTo>
                    <a:pt x="7442" y="8737"/>
                  </a:lnTo>
                  <a:lnTo>
                    <a:pt x="6832" y="9766"/>
                  </a:lnTo>
                  <a:lnTo>
                    <a:pt x="5524" y="11861"/>
                  </a:lnTo>
                  <a:lnTo>
                    <a:pt x="5689" y="12725"/>
                  </a:lnTo>
                  <a:lnTo>
                    <a:pt x="5562" y="13716"/>
                  </a:lnTo>
                  <a:lnTo>
                    <a:pt x="5105" y="14960"/>
                  </a:lnTo>
                  <a:lnTo>
                    <a:pt x="5422" y="15176"/>
                  </a:lnTo>
                  <a:lnTo>
                    <a:pt x="6985" y="12661"/>
                  </a:lnTo>
                  <a:lnTo>
                    <a:pt x="8407" y="10223"/>
                  </a:lnTo>
                  <a:lnTo>
                    <a:pt x="9677" y="7886"/>
                  </a:lnTo>
                  <a:close/>
                </a:path>
                <a:path w="13334" h="21590">
                  <a:moveTo>
                    <a:pt x="13182" y="736"/>
                  </a:moveTo>
                  <a:lnTo>
                    <a:pt x="12128" y="0"/>
                  </a:lnTo>
                  <a:lnTo>
                    <a:pt x="11950" y="393"/>
                  </a:lnTo>
                  <a:lnTo>
                    <a:pt x="11760" y="787"/>
                  </a:lnTo>
                  <a:lnTo>
                    <a:pt x="11557" y="1181"/>
                  </a:lnTo>
                  <a:lnTo>
                    <a:pt x="11912" y="1498"/>
                  </a:lnTo>
                  <a:lnTo>
                    <a:pt x="12242" y="1828"/>
                  </a:lnTo>
                  <a:lnTo>
                    <a:pt x="12534" y="2171"/>
                  </a:lnTo>
                  <a:lnTo>
                    <a:pt x="12750" y="1689"/>
                  </a:lnTo>
                  <a:lnTo>
                    <a:pt x="12979" y="1206"/>
                  </a:lnTo>
                  <a:lnTo>
                    <a:pt x="13182" y="736"/>
                  </a:lnTo>
                  <a:close/>
                </a:path>
              </a:pathLst>
            </a:custGeom>
            <a:solidFill>
              <a:srgbClr val="F9DA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8" name="object 640">
              <a:extLst>
                <a:ext uri="{FF2B5EF4-FFF2-40B4-BE49-F238E27FC236}">
                  <a16:creationId xmlns:a16="http://schemas.microsoft.com/office/drawing/2014/main" id="{9B8512F3-91D3-4215-8DD5-B985A0A14C57}"/>
                </a:ext>
              </a:extLst>
            </p:cNvPr>
            <p:cNvSpPr/>
            <p:nvPr/>
          </p:nvSpPr>
          <p:spPr>
            <a:xfrm>
              <a:off x="8125295" y="6147768"/>
              <a:ext cx="13970" cy="20955"/>
            </a:xfrm>
            <a:custGeom>
              <a:avLst/>
              <a:gdLst/>
              <a:ahLst/>
              <a:cxnLst/>
              <a:rect l="l" t="t" r="r" b="b"/>
              <a:pathLst>
                <a:path w="13970" h="20954">
                  <a:moveTo>
                    <a:pt x="2438" y="19519"/>
                  </a:moveTo>
                  <a:lnTo>
                    <a:pt x="1854" y="19304"/>
                  </a:lnTo>
                  <a:lnTo>
                    <a:pt x="1295" y="19024"/>
                  </a:lnTo>
                  <a:lnTo>
                    <a:pt x="749" y="18707"/>
                  </a:lnTo>
                  <a:lnTo>
                    <a:pt x="508" y="19050"/>
                  </a:lnTo>
                  <a:lnTo>
                    <a:pt x="0" y="19735"/>
                  </a:lnTo>
                  <a:lnTo>
                    <a:pt x="1536" y="20815"/>
                  </a:lnTo>
                  <a:lnTo>
                    <a:pt x="2146" y="19951"/>
                  </a:lnTo>
                  <a:lnTo>
                    <a:pt x="2438" y="19519"/>
                  </a:lnTo>
                  <a:close/>
                </a:path>
                <a:path w="13970" h="20954">
                  <a:moveTo>
                    <a:pt x="8978" y="9461"/>
                  </a:moveTo>
                  <a:lnTo>
                    <a:pt x="8420" y="9512"/>
                  </a:lnTo>
                  <a:lnTo>
                    <a:pt x="7886" y="9410"/>
                  </a:lnTo>
                  <a:lnTo>
                    <a:pt x="7315" y="9194"/>
                  </a:lnTo>
                  <a:lnTo>
                    <a:pt x="6959" y="9753"/>
                  </a:lnTo>
                  <a:lnTo>
                    <a:pt x="6223" y="10871"/>
                  </a:lnTo>
                  <a:lnTo>
                    <a:pt x="6654" y="11404"/>
                  </a:lnTo>
                  <a:lnTo>
                    <a:pt x="6934" y="11963"/>
                  </a:lnTo>
                  <a:lnTo>
                    <a:pt x="7061" y="12585"/>
                  </a:lnTo>
                  <a:lnTo>
                    <a:pt x="7734" y="11531"/>
                  </a:lnTo>
                  <a:lnTo>
                    <a:pt x="8369" y="10490"/>
                  </a:lnTo>
                  <a:lnTo>
                    <a:pt x="8978" y="9461"/>
                  </a:lnTo>
                  <a:close/>
                </a:path>
                <a:path w="13970" h="20954">
                  <a:moveTo>
                    <a:pt x="13665" y="736"/>
                  </a:moveTo>
                  <a:lnTo>
                    <a:pt x="12611" y="0"/>
                  </a:lnTo>
                  <a:lnTo>
                    <a:pt x="12420" y="368"/>
                  </a:lnTo>
                  <a:lnTo>
                    <a:pt x="12230" y="749"/>
                  </a:lnTo>
                  <a:lnTo>
                    <a:pt x="12026" y="1130"/>
                  </a:lnTo>
                  <a:lnTo>
                    <a:pt x="13093" y="1917"/>
                  </a:lnTo>
                  <a:lnTo>
                    <a:pt x="13665" y="736"/>
                  </a:lnTo>
                  <a:close/>
                </a:path>
              </a:pathLst>
            </a:custGeom>
            <a:solidFill>
              <a:srgbClr val="FADC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49" name="object 641">
              <a:extLst>
                <a:ext uri="{FF2B5EF4-FFF2-40B4-BE49-F238E27FC236}">
                  <a16:creationId xmlns:a16="http://schemas.microsoft.com/office/drawing/2014/main" id="{BC945090-1131-45F0-991B-87CC842208DD}"/>
                </a:ext>
              </a:extLst>
            </p:cNvPr>
            <p:cNvSpPr/>
            <p:nvPr/>
          </p:nvSpPr>
          <p:spPr>
            <a:xfrm>
              <a:off x="8123732" y="6147032"/>
              <a:ext cx="14604" cy="20955"/>
            </a:xfrm>
            <a:custGeom>
              <a:avLst/>
              <a:gdLst/>
              <a:ahLst/>
              <a:cxnLst/>
              <a:rect l="l" t="t" r="r" b="b"/>
              <a:pathLst>
                <a:path w="14604" h="20954">
                  <a:moveTo>
                    <a:pt x="2298" y="19443"/>
                  </a:moveTo>
                  <a:lnTo>
                    <a:pt x="2082" y="19316"/>
                  </a:lnTo>
                  <a:lnTo>
                    <a:pt x="1866" y="19177"/>
                  </a:lnTo>
                  <a:lnTo>
                    <a:pt x="1663" y="19024"/>
                  </a:lnTo>
                  <a:lnTo>
                    <a:pt x="1308" y="18783"/>
                  </a:lnTo>
                  <a:lnTo>
                    <a:pt x="1041" y="18542"/>
                  </a:lnTo>
                  <a:lnTo>
                    <a:pt x="850" y="18300"/>
                  </a:lnTo>
                  <a:lnTo>
                    <a:pt x="571" y="18656"/>
                  </a:lnTo>
                  <a:lnTo>
                    <a:pt x="292" y="19024"/>
                  </a:lnTo>
                  <a:lnTo>
                    <a:pt x="0" y="19392"/>
                  </a:lnTo>
                  <a:lnTo>
                    <a:pt x="1549" y="20472"/>
                  </a:lnTo>
                  <a:lnTo>
                    <a:pt x="2057" y="19786"/>
                  </a:lnTo>
                  <a:lnTo>
                    <a:pt x="2298" y="19443"/>
                  </a:lnTo>
                  <a:close/>
                </a:path>
                <a:path w="14604" h="20954">
                  <a:moveTo>
                    <a:pt x="8864" y="9931"/>
                  </a:moveTo>
                  <a:lnTo>
                    <a:pt x="8420" y="9766"/>
                  </a:lnTo>
                  <a:lnTo>
                    <a:pt x="7962" y="9512"/>
                  </a:lnTo>
                  <a:lnTo>
                    <a:pt x="7467" y="9194"/>
                  </a:lnTo>
                  <a:lnTo>
                    <a:pt x="6896" y="10045"/>
                  </a:lnTo>
                  <a:lnTo>
                    <a:pt x="6591" y="10477"/>
                  </a:lnTo>
                  <a:lnTo>
                    <a:pt x="7061" y="10858"/>
                  </a:lnTo>
                  <a:lnTo>
                    <a:pt x="7454" y="11214"/>
                  </a:lnTo>
                  <a:lnTo>
                    <a:pt x="7772" y="11607"/>
                  </a:lnTo>
                  <a:lnTo>
                    <a:pt x="8153" y="11036"/>
                  </a:lnTo>
                  <a:lnTo>
                    <a:pt x="8509" y="10490"/>
                  </a:lnTo>
                  <a:lnTo>
                    <a:pt x="8864" y="9931"/>
                  </a:lnTo>
                  <a:close/>
                </a:path>
                <a:path w="14604" h="20954">
                  <a:moveTo>
                    <a:pt x="14173" y="736"/>
                  </a:moveTo>
                  <a:lnTo>
                    <a:pt x="13131" y="0"/>
                  </a:lnTo>
                  <a:lnTo>
                    <a:pt x="12903" y="431"/>
                  </a:lnTo>
                  <a:lnTo>
                    <a:pt x="12420" y="1295"/>
                  </a:lnTo>
                  <a:lnTo>
                    <a:pt x="12750" y="1384"/>
                  </a:lnTo>
                  <a:lnTo>
                    <a:pt x="13144" y="1562"/>
                  </a:lnTo>
                  <a:lnTo>
                    <a:pt x="13601" y="1854"/>
                  </a:lnTo>
                  <a:lnTo>
                    <a:pt x="13792" y="1485"/>
                  </a:lnTo>
                  <a:lnTo>
                    <a:pt x="13995" y="1104"/>
                  </a:lnTo>
                  <a:lnTo>
                    <a:pt x="14173" y="736"/>
                  </a:lnTo>
                  <a:close/>
                </a:path>
              </a:pathLst>
            </a:custGeom>
            <a:solidFill>
              <a:srgbClr val="FAD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0" name="object 642">
              <a:extLst>
                <a:ext uri="{FF2B5EF4-FFF2-40B4-BE49-F238E27FC236}">
                  <a16:creationId xmlns:a16="http://schemas.microsoft.com/office/drawing/2014/main" id="{F18556CD-ED72-4084-B37D-8E202EEF619E}"/>
                </a:ext>
              </a:extLst>
            </p:cNvPr>
            <p:cNvSpPr/>
            <p:nvPr/>
          </p:nvSpPr>
          <p:spPr>
            <a:xfrm>
              <a:off x="8122196" y="6146295"/>
              <a:ext cx="15240" cy="20320"/>
            </a:xfrm>
            <a:custGeom>
              <a:avLst/>
              <a:gdLst/>
              <a:ahLst/>
              <a:cxnLst/>
              <a:rect l="l" t="t" r="r" b="b"/>
              <a:pathLst>
                <a:path w="15240" h="20320">
                  <a:moveTo>
                    <a:pt x="9017" y="9944"/>
                  </a:moveTo>
                  <a:lnTo>
                    <a:pt x="8216" y="9423"/>
                  </a:lnTo>
                  <a:lnTo>
                    <a:pt x="7708" y="9055"/>
                  </a:lnTo>
                  <a:lnTo>
                    <a:pt x="5435" y="12217"/>
                  </a:lnTo>
                  <a:lnTo>
                    <a:pt x="2857" y="15557"/>
                  </a:lnTo>
                  <a:lnTo>
                    <a:pt x="0" y="19037"/>
                  </a:lnTo>
                  <a:lnTo>
                    <a:pt x="1549" y="20129"/>
                  </a:lnTo>
                  <a:lnTo>
                    <a:pt x="2400" y="19037"/>
                  </a:lnTo>
                  <a:lnTo>
                    <a:pt x="1574" y="18021"/>
                  </a:lnTo>
                  <a:lnTo>
                    <a:pt x="2108" y="17043"/>
                  </a:lnTo>
                  <a:lnTo>
                    <a:pt x="6832" y="10287"/>
                  </a:lnTo>
                  <a:lnTo>
                    <a:pt x="8140" y="11226"/>
                  </a:lnTo>
                  <a:lnTo>
                    <a:pt x="9017" y="9944"/>
                  </a:lnTo>
                  <a:close/>
                </a:path>
                <a:path w="15240" h="20320">
                  <a:moveTo>
                    <a:pt x="14668" y="736"/>
                  </a:moveTo>
                  <a:lnTo>
                    <a:pt x="13627" y="0"/>
                  </a:lnTo>
                  <a:lnTo>
                    <a:pt x="12687" y="1625"/>
                  </a:lnTo>
                  <a:lnTo>
                    <a:pt x="11633" y="3314"/>
                  </a:lnTo>
                  <a:lnTo>
                    <a:pt x="10477" y="5054"/>
                  </a:lnTo>
                  <a:lnTo>
                    <a:pt x="12814" y="1727"/>
                  </a:lnTo>
                  <a:lnTo>
                    <a:pt x="13957" y="2032"/>
                  </a:lnTo>
                  <a:lnTo>
                    <a:pt x="14668" y="736"/>
                  </a:lnTo>
                  <a:close/>
                </a:path>
              </a:pathLst>
            </a:custGeom>
            <a:solidFill>
              <a:srgbClr val="FCDD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1" name="object 643">
              <a:extLst>
                <a:ext uri="{FF2B5EF4-FFF2-40B4-BE49-F238E27FC236}">
                  <a16:creationId xmlns:a16="http://schemas.microsoft.com/office/drawing/2014/main" id="{994F8291-CF71-4C91-BD9D-8199EE6A3DC5}"/>
                </a:ext>
              </a:extLst>
            </p:cNvPr>
            <p:cNvSpPr/>
            <p:nvPr/>
          </p:nvSpPr>
          <p:spPr>
            <a:xfrm>
              <a:off x="8120655" y="6145571"/>
              <a:ext cx="15240" cy="20320"/>
            </a:xfrm>
            <a:custGeom>
              <a:avLst/>
              <a:gdLst/>
              <a:ahLst/>
              <a:cxnLst/>
              <a:rect l="l" t="t" r="r" b="b"/>
              <a:pathLst>
                <a:path w="15240" h="20320">
                  <a:moveTo>
                    <a:pt x="14135" y="0"/>
                  </a:moveTo>
                  <a:lnTo>
                    <a:pt x="10731" y="5524"/>
                  </a:lnTo>
                  <a:lnTo>
                    <a:pt x="5905" y="11772"/>
                  </a:lnTo>
                  <a:lnTo>
                    <a:pt x="0" y="18681"/>
                  </a:lnTo>
                  <a:lnTo>
                    <a:pt x="1549" y="19761"/>
                  </a:lnTo>
                  <a:lnTo>
                    <a:pt x="4394" y="16268"/>
                  </a:lnTo>
                  <a:lnTo>
                    <a:pt x="6972" y="12941"/>
                  </a:lnTo>
                  <a:lnTo>
                    <a:pt x="9258" y="9778"/>
                  </a:lnTo>
                  <a:lnTo>
                    <a:pt x="12026" y="5778"/>
                  </a:lnTo>
                  <a:lnTo>
                    <a:pt x="13182" y="4038"/>
                  </a:lnTo>
                  <a:lnTo>
                    <a:pt x="14236" y="2349"/>
                  </a:lnTo>
                  <a:lnTo>
                    <a:pt x="15176" y="723"/>
                  </a:lnTo>
                  <a:lnTo>
                    <a:pt x="14135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2" name="object 644">
              <a:extLst>
                <a:ext uri="{FF2B5EF4-FFF2-40B4-BE49-F238E27FC236}">
                  <a16:creationId xmlns:a16="http://schemas.microsoft.com/office/drawing/2014/main" id="{75A46C98-EC3D-4BEB-8478-9C9CACF40C30}"/>
                </a:ext>
              </a:extLst>
            </p:cNvPr>
            <p:cNvSpPr/>
            <p:nvPr/>
          </p:nvSpPr>
          <p:spPr>
            <a:xfrm>
              <a:off x="8119095" y="6144845"/>
              <a:ext cx="15875" cy="19685"/>
            </a:xfrm>
            <a:custGeom>
              <a:avLst/>
              <a:gdLst/>
              <a:ahLst/>
              <a:cxnLst/>
              <a:rect l="l" t="t" r="r" b="b"/>
              <a:pathLst>
                <a:path w="15875" h="19684">
                  <a:moveTo>
                    <a:pt x="14655" y="0"/>
                  </a:moveTo>
                  <a:lnTo>
                    <a:pt x="11099" y="5410"/>
                  </a:lnTo>
                  <a:lnTo>
                    <a:pt x="6095" y="11531"/>
                  </a:lnTo>
                  <a:lnTo>
                    <a:pt x="0" y="18313"/>
                  </a:lnTo>
                  <a:lnTo>
                    <a:pt x="1562" y="19405"/>
                  </a:lnTo>
                  <a:lnTo>
                    <a:pt x="7467" y="12509"/>
                  </a:lnTo>
                  <a:lnTo>
                    <a:pt x="12280" y="6248"/>
                  </a:lnTo>
                  <a:lnTo>
                    <a:pt x="15697" y="723"/>
                  </a:lnTo>
                  <a:lnTo>
                    <a:pt x="14655" y="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3" name="object 645">
              <a:extLst>
                <a:ext uri="{FF2B5EF4-FFF2-40B4-BE49-F238E27FC236}">
                  <a16:creationId xmlns:a16="http://schemas.microsoft.com/office/drawing/2014/main" id="{F6858C9A-6254-44B3-AFF4-FE795DDA7B2B}"/>
                </a:ext>
              </a:extLst>
            </p:cNvPr>
            <p:cNvSpPr/>
            <p:nvPr/>
          </p:nvSpPr>
          <p:spPr>
            <a:xfrm>
              <a:off x="8117555" y="6144121"/>
              <a:ext cx="16510" cy="19050"/>
            </a:xfrm>
            <a:custGeom>
              <a:avLst/>
              <a:gdLst/>
              <a:ahLst/>
              <a:cxnLst/>
              <a:rect l="l" t="t" r="r" b="b"/>
              <a:pathLst>
                <a:path w="16509" h="19050">
                  <a:moveTo>
                    <a:pt x="15163" y="0"/>
                  </a:moveTo>
                  <a:lnTo>
                    <a:pt x="12509" y="3784"/>
                  </a:lnTo>
                  <a:lnTo>
                    <a:pt x="9105" y="7937"/>
                  </a:lnTo>
                  <a:lnTo>
                    <a:pt x="5092" y="12420"/>
                  </a:lnTo>
                  <a:lnTo>
                    <a:pt x="2438" y="16217"/>
                  </a:lnTo>
                  <a:lnTo>
                    <a:pt x="1828" y="16700"/>
                  </a:lnTo>
                  <a:lnTo>
                    <a:pt x="1130" y="16764"/>
                  </a:lnTo>
                  <a:lnTo>
                    <a:pt x="0" y="17957"/>
                  </a:lnTo>
                  <a:lnTo>
                    <a:pt x="1549" y="19050"/>
                  </a:lnTo>
                  <a:lnTo>
                    <a:pt x="7645" y="12255"/>
                  </a:lnTo>
                  <a:lnTo>
                    <a:pt x="12636" y="6134"/>
                  </a:lnTo>
                  <a:lnTo>
                    <a:pt x="16192" y="723"/>
                  </a:lnTo>
                  <a:lnTo>
                    <a:pt x="15163" y="0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4" name="object 646">
              <a:extLst>
                <a:ext uri="{FF2B5EF4-FFF2-40B4-BE49-F238E27FC236}">
                  <a16:creationId xmlns:a16="http://schemas.microsoft.com/office/drawing/2014/main" id="{1696E328-C640-44BC-A88D-77CC9B2054D9}"/>
                </a:ext>
              </a:extLst>
            </p:cNvPr>
            <p:cNvSpPr/>
            <p:nvPr/>
          </p:nvSpPr>
          <p:spPr>
            <a:xfrm>
              <a:off x="8116011" y="6143400"/>
              <a:ext cx="17145" cy="19050"/>
            </a:xfrm>
            <a:custGeom>
              <a:avLst/>
              <a:gdLst/>
              <a:ahLst/>
              <a:cxnLst/>
              <a:rect l="l" t="t" r="r" b="b"/>
              <a:pathLst>
                <a:path w="17145" h="19050">
                  <a:moveTo>
                    <a:pt x="2679" y="17487"/>
                  </a:moveTo>
                  <a:lnTo>
                    <a:pt x="2108" y="17538"/>
                  </a:lnTo>
                  <a:lnTo>
                    <a:pt x="1498" y="17322"/>
                  </a:lnTo>
                  <a:lnTo>
                    <a:pt x="749" y="16840"/>
                  </a:lnTo>
                  <a:lnTo>
                    <a:pt x="241" y="17348"/>
                  </a:lnTo>
                  <a:lnTo>
                    <a:pt x="0" y="17614"/>
                  </a:lnTo>
                  <a:lnTo>
                    <a:pt x="1549" y="18694"/>
                  </a:lnTo>
                  <a:lnTo>
                    <a:pt x="1917" y="18288"/>
                  </a:lnTo>
                  <a:lnTo>
                    <a:pt x="2298" y="17894"/>
                  </a:lnTo>
                  <a:lnTo>
                    <a:pt x="2679" y="17487"/>
                  </a:lnTo>
                  <a:close/>
                </a:path>
                <a:path w="17145" h="19050">
                  <a:moveTo>
                    <a:pt x="16700" y="723"/>
                  </a:moveTo>
                  <a:lnTo>
                    <a:pt x="15671" y="0"/>
                  </a:lnTo>
                  <a:lnTo>
                    <a:pt x="14732" y="1244"/>
                  </a:lnTo>
                  <a:lnTo>
                    <a:pt x="14224" y="1879"/>
                  </a:lnTo>
                  <a:lnTo>
                    <a:pt x="14122" y="2311"/>
                  </a:lnTo>
                  <a:lnTo>
                    <a:pt x="13868" y="2794"/>
                  </a:lnTo>
                  <a:lnTo>
                    <a:pt x="6629" y="13144"/>
                  </a:lnTo>
                  <a:lnTo>
                    <a:pt x="10642" y="8648"/>
                  </a:lnTo>
                  <a:lnTo>
                    <a:pt x="14046" y="4508"/>
                  </a:lnTo>
                  <a:lnTo>
                    <a:pt x="16700" y="723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5" name="object 647">
              <a:extLst>
                <a:ext uri="{FF2B5EF4-FFF2-40B4-BE49-F238E27FC236}">
                  <a16:creationId xmlns:a16="http://schemas.microsoft.com/office/drawing/2014/main" id="{A417A44C-7CC6-4322-97CF-EDC213517CCD}"/>
                </a:ext>
              </a:extLst>
            </p:cNvPr>
            <p:cNvSpPr/>
            <p:nvPr/>
          </p:nvSpPr>
          <p:spPr>
            <a:xfrm>
              <a:off x="8115834" y="6142688"/>
              <a:ext cx="15875" cy="18415"/>
            </a:xfrm>
            <a:custGeom>
              <a:avLst/>
              <a:gdLst/>
              <a:ahLst/>
              <a:cxnLst/>
              <a:rect l="l" t="t" r="r" b="b"/>
              <a:pathLst>
                <a:path w="15875" h="18415">
                  <a:moveTo>
                    <a:pt x="927" y="17538"/>
                  </a:moveTo>
                  <a:lnTo>
                    <a:pt x="596" y="17322"/>
                  </a:lnTo>
                  <a:lnTo>
                    <a:pt x="0" y="18186"/>
                  </a:lnTo>
                  <a:lnTo>
                    <a:pt x="165" y="18313"/>
                  </a:lnTo>
                  <a:lnTo>
                    <a:pt x="419" y="18046"/>
                  </a:lnTo>
                  <a:lnTo>
                    <a:pt x="927" y="17538"/>
                  </a:lnTo>
                  <a:close/>
                </a:path>
                <a:path w="15875" h="18415">
                  <a:moveTo>
                    <a:pt x="15849" y="723"/>
                  </a:moveTo>
                  <a:lnTo>
                    <a:pt x="14820" y="0"/>
                  </a:lnTo>
                  <a:lnTo>
                    <a:pt x="14033" y="977"/>
                  </a:lnTo>
                  <a:lnTo>
                    <a:pt x="14427" y="1485"/>
                  </a:lnTo>
                  <a:lnTo>
                    <a:pt x="14541" y="2006"/>
                  </a:lnTo>
                  <a:lnTo>
                    <a:pt x="14401" y="2603"/>
                  </a:lnTo>
                  <a:lnTo>
                    <a:pt x="14909" y="1968"/>
                  </a:lnTo>
                  <a:lnTo>
                    <a:pt x="15849" y="723"/>
                  </a:lnTo>
                  <a:close/>
                </a:path>
              </a:pathLst>
            </a:custGeom>
            <a:solidFill>
              <a:srgbClr val="FEE46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6" name="object 648">
              <a:extLst>
                <a:ext uri="{FF2B5EF4-FFF2-40B4-BE49-F238E27FC236}">
                  <a16:creationId xmlns:a16="http://schemas.microsoft.com/office/drawing/2014/main" id="{37BC220D-1363-409B-8DD6-6B0D5D90DB59}"/>
                </a:ext>
              </a:extLst>
            </p:cNvPr>
            <p:cNvSpPr/>
            <p:nvPr/>
          </p:nvSpPr>
          <p:spPr>
            <a:xfrm>
              <a:off x="8128930" y="6141958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698" y="0"/>
                  </a:moveTo>
                  <a:lnTo>
                    <a:pt x="469" y="266"/>
                  </a:lnTo>
                  <a:lnTo>
                    <a:pt x="241" y="546"/>
                  </a:lnTo>
                  <a:lnTo>
                    <a:pt x="0" y="812"/>
                  </a:lnTo>
                  <a:lnTo>
                    <a:pt x="406" y="1117"/>
                  </a:lnTo>
                  <a:lnTo>
                    <a:pt x="711" y="1409"/>
                  </a:lnTo>
                  <a:lnTo>
                    <a:pt x="939" y="1701"/>
                  </a:lnTo>
                  <a:lnTo>
                    <a:pt x="1727" y="723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FEE5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7" name="object 649">
              <a:extLst>
                <a:ext uri="{FF2B5EF4-FFF2-40B4-BE49-F238E27FC236}">
                  <a16:creationId xmlns:a16="http://schemas.microsoft.com/office/drawing/2014/main" id="{015EFE6E-3306-41E7-9060-07057A6DD03B}"/>
                </a:ext>
              </a:extLst>
            </p:cNvPr>
            <p:cNvSpPr/>
            <p:nvPr/>
          </p:nvSpPr>
          <p:spPr>
            <a:xfrm>
              <a:off x="8128641" y="6141695"/>
              <a:ext cx="1270" cy="1270"/>
            </a:xfrm>
            <a:custGeom>
              <a:avLst/>
              <a:gdLst/>
              <a:ahLst/>
              <a:cxnLst/>
              <a:rect l="l" t="t" r="r" b="b"/>
              <a:pathLst>
                <a:path w="1270" h="1270">
                  <a:moveTo>
                    <a:pt x="609" y="0"/>
                  </a:moveTo>
                  <a:lnTo>
                    <a:pt x="0" y="863"/>
                  </a:lnTo>
                  <a:lnTo>
                    <a:pt x="203" y="1003"/>
                  </a:lnTo>
                  <a:lnTo>
                    <a:pt x="990" y="266"/>
                  </a:lnTo>
                  <a:lnTo>
                    <a:pt x="609" y="0"/>
                  </a:lnTo>
                  <a:close/>
                </a:path>
              </a:pathLst>
            </a:custGeom>
            <a:solidFill>
              <a:srgbClr val="FEE66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8" name="object 650">
              <a:extLst>
                <a:ext uri="{FF2B5EF4-FFF2-40B4-BE49-F238E27FC236}">
                  <a16:creationId xmlns:a16="http://schemas.microsoft.com/office/drawing/2014/main" id="{AF1252AB-C153-410B-BA6B-29DFAE9DE4DA}"/>
                </a:ext>
              </a:extLst>
            </p:cNvPr>
            <p:cNvSpPr/>
            <p:nvPr/>
          </p:nvSpPr>
          <p:spPr>
            <a:xfrm>
              <a:off x="8167391" y="6173454"/>
              <a:ext cx="635" cy="1270"/>
            </a:xfrm>
            <a:custGeom>
              <a:avLst/>
              <a:gdLst/>
              <a:ahLst/>
              <a:cxnLst/>
              <a:rect l="l" t="t" r="r" b="b"/>
              <a:pathLst>
                <a:path w="634" h="1270">
                  <a:moveTo>
                    <a:pt x="0" y="0"/>
                  </a:moveTo>
                  <a:lnTo>
                    <a:pt x="25" y="508"/>
                  </a:lnTo>
                  <a:lnTo>
                    <a:pt x="25" y="762"/>
                  </a:lnTo>
                  <a:lnTo>
                    <a:pt x="393" y="39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59" name="object 651">
              <a:extLst>
                <a:ext uri="{FF2B5EF4-FFF2-40B4-BE49-F238E27FC236}">
                  <a16:creationId xmlns:a16="http://schemas.microsoft.com/office/drawing/2014/main" id="{94A792BD-D1B5-4DA2-9CDE-AFBCAA21B958}"/>
                </a:ext>
              </a:extLst>
            </p:cNvPr>
            <p:cNvSpPr/>
            <p:nvPr/>
          </p:nvSpPr>
          <p:spPr>
            <a:xfrm>
              <a:off x="8166186" y="6172282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0" y="0"/>
                  </a:moveTo>
                  <a:lnTo>
                    <a:pt x="50" y="1206"/>
                  </a:lnTo>
                  <a:lnTo>
                    <a:pt x="63" y="1816"/>
                  </a:lnTo>
                  <a:lnTo>
                    <a:pt x="317" y="1955"/>
                  </a:lnTo>
                  <a:lnTo>
                    <a:pt x="584" y="2120"/>
                  </a:lnTo>
                  <a:lnTo>
                    <a:pt x="863" y="2311"/>
                  </a:lnTo>
                  <a:lnTo>
                    <a:pt x="1231" y="1930"/>
                  </a:lnTo>
                  <a:lnTo>
                    <a:pt x="1219" y="1676"/>
                  </a:lnTo>
                  <a:lnTo>
                    <a:pt x="1219" y="1422"/>
                  </a:lnTo>
                  <a:lnTo>
                    <a:pt x="1206" y="11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0" name="object 652">
              <a:extLst>
                <a:ext uri="{FF2B5EF4-FFF2-40B4-BE49-F238E27FC236}">
                  <a16:creationId xmlns:a16="http://schemas.microsoft.com/office/drawing/2014/main" id="{495E0A74-0729-4302-8696-C478402575E4}"/>
                </a:ext>
              </a:extLst>
            </p:cNvPr>
            <p:cNvSpPr/>
            <p:nvPr/>
          </p:nvSpPr>
          <p:spPr>
            <a:xfrm>
              <a:off x="8165003" y="6171121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25" y="825"/>
                  </a:lnTo>
                  <a:lnTo>
                    <a:pt x="50" y="2514"/>
                  </a:lnTo>
                  <a:lnTo>
                    <a:pt x="419" y="2578"/>
                  </a:lnTo>
                  <a:lnTo>
                    <a:pt x="800" y="2743"/>
                  </a:lnTo>
                  <a:lnTo>
                    <a:pt x="1244" y="2984"/>
                  </a:lnTo>
                  <a:lnTo>
                    <a:pt x="1231" y="2374"/>
                  </a:lnTo>
                  <a:lnTo>
                    <a:pt x="1181" y="11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1" name="object 653">
              <a:extLst>
                <a:ext uri="{FF2B5EF4-FFF2-40B4-BE49-F238E27FC236}">
                  <a16:creationId xmlns:a16="http://schemas.microsoft.com/office/drawing/2014/main" id="{CFBC1831-2E53-453C-AB8D-89ADBBB5D68D}"/>
                </a:ext>
              </a:extLst>
            </p:cNvPr>
            <p:cNvSpPr/>
            <p:nvPr/>
          </p:nvSpPr>
          <p:spPr>
            <a:xfrm>
              <a:off x="8163821" y="6169964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25" y="2489"/>
                  </a:lnTo>
                  <a:lnTo>
                    <a:pt x="0" y="3759"/>
                  </a:lnTo>
                  <a:lnTo>
                    <a:pt x="393" y="3619"/>
                  </a:lnTo>
                  <a:lnTo>
                    <a:pt x="787" y="3581"/>
                  </a:lnTo>
                  <a:lnTo>
                    <a:pt x="1231" y="3670"/>
                  </a:lnTo>
                  <a:lnTo>
                    <a:pt x="1206" y="1981"/>
                  </a:lnTo>
                  <a:lnTo>
                    <a:pt x="1181" y="115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2" name="object 654">
              <a:extLst>
                <a:ext uri="{FF2B5EF4-FFF2-40B4-BE49-F238E27FC236}">
                  <a16:creationId xmlns:a16="http://schemas.microsoft.com/office/drawing/2014/main" id="{2F9FC92F-60A4-47CA-8C1C-4072D68D392D}"/>
                </a:ext>
              </a:extLst>
            </p:cNvPr>
            <p:cNvSpPr/>
            <p:nvPr/>
          </p:nvSpPr>
          <p:spPr>
            <a:xfrm>
              <a:off x="8162526" y="6168821"/>
              <a:ext cx="1905" cy="5715"/>
            </a:xfrm>
            <a:custGeom>
              <a:avLst/>
              <a:gdLst/>
              <a:ahLst/>
              <a:cxnLst/>
              <a:rect l="l" t="t" r="r" b="b"/>
              <a:pathLst>
                <a:path w="1904" h="5715">
                  <a:moveTo>
                    <a:pt x="126" y="0"/>
                  </a:moveTo>
                  <a:lnTo>
                    <a:pt x="139" y="1866"/>
                  </a:lnTo>
                  <a:lnTo>
                    <a:pt x="88" y="3771"/>
                  </a:lnTo>
                  <a:lnTo>
                    <a:pt x="0" y="5714"/>
                  </a:lnTo>
                  <a:lnTo>
                    <a:pt x="457" y="5321"/>
                  </a:lnTo>
                  <a:lnTo>
                    <a:pt x="876" y="5054"/>
                  </a:lnTo>
                  <a:lnTo>
                    <a:pt x="1295" y="4902"/>
                  </a:lnTo>
                  <a:lnTo>
                    <a:pt x="1320" y="3632"/>
                  </a:lnTo>
                  <a:lnTo>
                    <a:pt x="1295" y="1142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3" name="object 655">
              <a:extLst>
                <a:ext uri="{FF2B5EF4-FFF2-40B4-BE49-F238E27FC236}">
                  <a16:creationId xmlns:a16="http://schemas.microsoft.com/office/drawing/2014/main" id="{C691FB1C-8819-4011-93AA-9F29518FF63F}"/>
                </a:ext>
              </a:extLst>
            </p:cNvPr>
            <p:cNvSpPr/>
            <p:nvPr/>
          </p:nvSpPr>
          <p:spPr>
            <a:xfrm>
              <a:off x="8161132" y="6167959"/>
              <a:ext cx="1905" cy="8255"/>
            </a:xfrm>
            <a:custGeom>
              <a:avLst/>
              <a:gdLst/>
              <a:ahLst/>
              <a:cxnLst/>
              <a:rect l="l" t="t" r="r" b="b"/>
              <a:pathLst>
                <a:path w="1904" h="8254">
                  <a:moveTo>
                    <a:pt x="647" y="0"/>
                  </a:moveTo>
                  <a:lnTo>
                    <a:pt x="355" y="292"/>
                  </a:lnTo>
                  <a:lnTo>
                    <a:pt x="355" y="977"/>
                  </a:lnTo>
                  <a:lnTo>
                    <a:pt x="342" y="1333"/>
                  </a:lnTo>
                  <a:lnTo>
                    <a:pt x="1485" y="2946"/>
                  </a:lnTo>
                  <a:lnTo>
                    <a:pt x="1193" y="4038"/>
                  </a:lnTo>
                  <a:lnTo>
                    <a:pt x="177" y="5295"/>
                  </a:lnTo>
                  <a:lnTo>
                    <a:pt x="76" y="7048"/>
                  </a:lnTo>
                  <a:lnTo>
                    <a:pt x="0" y="7937"/>
                  </a:lnTo>
                  <a:lnTo>
                    <a:pt x="355" y="7556"/>
                  </a:lnTo>
                  <a:lnTo>
                    <a:pt x="1079" y="6845"/>
                  </a:lnTo>
                  <a:lnTo>
                    <a:pt x="1397" y="6565"/>
                  </a:lnTo>
                  <a:lnTo>
                    <a:pt x="1485" y="4635"/>
                  </a:lnTo>
                  <a:lnTo>
                    <a:pt x="1536" y="2730"/>
                  </a:lnTo>
                  <a:lnTo>
                    <a:pt x="1524" y="863"/>
                  </a:lnTo>
                  <a:lnTo>
                    <a:pt x="647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4" name="object 656">
              <a:extLst>
                <a:ext uri="{FF2B5EF4-FFF2-40B4-BE49-F238E27FC236}">
                  <a16:creationId xmlns:a16="http://schemas.microsoft.com/office/drawing/2014/main" id="{18516B34-5B6D-4342-A65C-0DC6A6214927}"/>
                </a:ext>
              </a:extLst>
            </p:cNvPr>
            <p:cNvSpPr/>
            <p:nvPr/>
          </p:nvSpPr>
          <p:spPr>
            <a:xfrm>
              <a:off x="8159585" y="6168254"/>
              <a:ext cx="1905" cy="9525"/>
            </a:xfrm>
            <a:custGeom>
              <a:avLst/>
              <a:gdLst/>
              <a:ahLst/>
              <a:cxnLst/>
              <a:rect l="l" t="t" r="r" b="b"/>
              <a:pathLst>
                <a:path w="1904" h="9525">
                  <a:moveTo>
                    <a:pt x="1727" y="5003"/>
                  </a:moveTo>
                  <a:lnTo>
                    <a:pt x="1447" y="5359"/>
                  </a:lnTo>
                  <a:lnTo>
                    <a:pt x="1117" y="5715"/>
                  </a:lnTo>
                  <a:lnTo>
                    <a:pt x="723" y="6108"/>
                  </a:lnTo>
                  <a:lnTo>
                    <a:pt x="279" y="6553"/>
                  </a:lnTo>
                  <a:lnTo>
                    <a:pt x="203" y="7442"/>
                  </a:lnTo>
                  <a:lnTo>
                    <a:pt x="0" y="9232"/>
                  </a:lnTo>
                  <a:lnTo>
                    <a:pt x="1549" y="7645"/>
                  </a:lnTo>
                  <a:lnTo>
                    <a:pt x="1625" y="6756"/>
                  </a:lnTo>
                  <a:lnTo>
                    <a:pt x="1727" y="5003"/>
                  </a:lnTo>
                  <a:close/>
                </a:path>
                <a:path w="1904" h="9525">
                  <a:moveTo>
                    <a:pt x="1905" y="0"/>
                  </a:moveTo>
                  <a:lnTo>
                    <a:pt x="1447" y="469"/>
                  </a:lnTo>
                  <a:lnTo>
                    <a:pt x="1612" y="673"/>
                  </a:lnTo>
                  <a:lnTo>
                    <a:pt x="1752" y="850"/>
                  </a:lnTo>
                  <a:lnTo>
                    <a:pt x="1892" y="1041"/>
                  </a:lnTo>
                  <a:lnTo>
                    <a:pt x="1905" y="685"/>
                  </a:lnTo>
                  <a:lnTo>
                    <a:pt x="1905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5" name="object 657">
              <a:extLst>
                <a:ext uri="{FF2B5EF4-FFF2-40B4-BE49-F238E27FC236}">
                  <a16:creationId xmlns:a16="http://schemas.microsoft.com/office/drawing/2014/main" id="{10EA5470-0CF8-4F7C-BEBF-3501769A5425}"/>
                </a:ext>
              </a:extLst>
            </p:cNvPr>
            <p:cNvSpPr/>
            <p:nvPr/>
          </p:nvSpPr>
          <p:spPr>
            <a:xfrm>
              <a:off x="8157851" y="6174802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2019" y="0"/>
                  </a:moveTo>
                  <a:lnTo>
                    <a:pt x="419" y="1638"/>
                  </a:lnTo>
                  <a:lnTo>
                    <a:pt x="292" y="2565"/>
                  </a:lnTo>
                  <a:lnTo>
                    <a:pt x="152" y="3492"/>
                  </a:lnTo>
                  <a:lnTo>
                    <a:pt x="0" y="4432"/>
                  </a:lnTo>
                  <a:lnTo>
                    <a:pt x="1727" y="2679"/>
                  </a:lnTo>
                  <a:lnTo>
                    <a:pt x="1930" y="888"/>
                  </a:lnTo>
                  <a:lnTo>
                    <a:pt x="2019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6" name="object 658">
              <a:extLst>
                <a:ext uri="{FF2B5EF4-FFF2-40B4-BE49-F238E27FC236}">
                  <a16:creationId xmlns:a16="http://schemas.microsoft.com/office/drawing/2014/main" id="{986D1974-D217-4244-9D24-C913BD0534FB}"/>
                </a:ext>
              </a:extLst>
            </p:cNvPr>
            <p:cNvSpPr/>
            <p:nvPr/>
          </p:nvSpPr>
          <p:spPr>
            <a:xfrm>
              <a:off x="8155950" y="6176436"/>
              <a:ext cx="2540" cy="5080"/>
            </a:xfrm>
            <a:custGeom>
              <a:avLst/>
              <a:gdLst/>
              <a:ahLst/>
              <a:cxnLst/>
              <a:rect l="l" t="t" r="r" b="b"/>
              <a:pathLst>
                <a:path w="2540" h="5079">
                  <a:moveTo>
                    <a:pt x="2324" y="0"/>
                  </a:moveTo>
                  <a:lnTo>
                    <a:pt x="546" y="1816"/>
                  </a:lnTo>
                  <a:lnTo>
                    <a:pt x="381" y="2781"/>
                  </a:lnTo>
                  <a:lnTo>
                    <a:pt x="0" y="4749"/>
                  </a:lnTo>
                  <a:lnTo>
                    <a:pt x="1905" y="2806"/>
                  </a:lnTo>
                  <a:lnTo>
                    <a:pt x="2057" y="1866"/>
                  </a:lnTo>
                  <a:lnTo>
                    <a:pt x="2197" y="927"/>
                  </a:lnTo>
                  <a:lnTo>
                    <a:pt x="2324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7" name="object 659">
              <a:extLst>
                <a:ext uri="{FF2B5EF4-FFF2-40B4-BE49-F238E27FC236}">
                  <a16:creationId xmlns:a16="http://schemas.microsoft.com/office/drawing/2014/main" id="{C213014A-5A0F-4F8C-A089-18EC885AEBF8}"/>
                </a:ext>
              </a:extLst>
            </p:cNvPr>
            <p:cNvSpPr/>
            <p:nvPr/>
          </p:nvSpPr>
          <p:spPr>
            <a:xfrm>
              <a:off x="8153809" y="6178259"/>
              <a:ext cx="3175" cy="5715"/>
            </a:xfrm>
            <a:custGeom>
              <a:avLst/>
              <a:gdLst/>
              <a:ahLst/>
              <a:cxnLst/>
              <a:rect l="l" t="t" r="r" b="b"/>
              <a:pathLst>
                <a:path w="3175" h="5715">
                  <a:moveTo>
                    <a:pt x="2679" y="0"/>
                  </a:moveTo>
                  <a:lnTo>
                    <a:pt x="711" y="2019"/>
                  </a:lnTo>
                  <a:lnTo>
                    <a:pt x="495" y="3048"/>
                  </a:lnTo>
                  <a:lnTo>
                    <a:pt x="0" y="5118"/>
                  </a:lnTo>
                  <a:lnTo>
                    <a:pt x="2146" y="2933"/>
                  </a:lnTo>
                  <a:lnTo>
                    <a:pt x="2514" y="965"/>
                  </a:lnTo>
                  <a:lnTo>
                    <a:pt x="2679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8" name="object 660">
              <a:extLst>
                <a:ext uri="{FF2B5EF4-FFF2-40B4-BE49-F238E27FC236}">
                  <a16:creationId xmlns:a16="http://schemas.microsoft.com/office/drawing/2014/main" id="{47DD1179-BD71-4A4F-9B93-5828F5DA0DA1}"/>
                </a:ext>
              </a:extLst>
            </p:cNvPr>
            <p:cNvSpPr/>
            <p:nvPr/>
          </p:nvSpPr>
          <p:spPr>
            <a:xfrm>
              <a:off x="8151393" y="6162221"/>
              <a:ext cx="5080" cy="24130"/>
            </a:xfrm>
            <a:custGeom>
              <a:avLst/>
              <a:gdLst/>
              <a:ahLst/>
              <a:cxnLst/>
              <a:rect l="l" t="t" r="r" b="b"/>
              <a:pathLst>
                <a:path w="5079" h="24129">
                  <a:moveTo>
                    <a:pt x="3124" y="18059"/>
                  </a:moveTo>
                  <a:lnTo>
                    <a:pt x="1447" y="19773"/>
                  </a:lnTo>
                  <a:lnTo>
                    <a:pt x="2578" y="13106"/>
                  </a:lnTo>
                  <a:lnTo>
                    <a:pt x="1879" y="16510"/>
                  </a:lnTo>
                  <a:lnTo>
                    <a:pt x="1016" y="20015"/>
                  </a:lnTo>
                  <a:lnTo>
                    <a:pt x="0" y="23634"/>
                  </a:lnTo>
                  <a:lnTo>
                    <a:pt x="2413" y="21158"/>
                  </a:lnTo>
                  <a:lnTo>
                    <a:pt x="2908" y="19088"/>
                  </a:lnTo>
                  <a:lnTo>
                    <a:pt x="3124" y="18059"/>
                  </a:lnTo>
                  <a:close/>
                </a:path>
                <a:path w="5079" h="24129">
                  <a:moveTo>
                    <a:pt x="4749" y="241"/>
                  </a:moveTo>
                  <a:lnTo>
                    <a:pt x="4495" y="0"/>
                  </a:lnTo>
                  <a:lnTo>
                    <a:pt x="4368" y="1562"/>
                  </a:lnTo>
                  <a:lnTo>
                    <a:pt x="4203" y="3149"/>
                  </a:lnTo>
                  <a:lnTo>
                    <a:pt x="3987" y="4775"/>
                  </a:lnTo>
                  <a:lnTo>
                    <a:pt x="4749" y="241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69" name="object 661">
              <a:extLst>
                <a:ext uri="{FF2B5EF4-FFF2-40B4-BE49-F238E27FC236}">
                  <a16:creationId xmlns:a16="http://schemas.microsoft.com/office/drawing/2014/main" id="{3B1EA424-73F3-4927-AC68-61404DE66702}"/>
                </a:ext>
              </a:extLst>
            </p:cNvPr>
            <p:cNvSpPr/>
            <p:nvPr/>
          </p:nvSpPr>
          <p:spPr>
            <a:xfrm>
              <a:off x="8148835" y="6161149"/>
              <a:ext cx="7620" cy="27305"/>
            </a:xfrm>
            <a:custGeom>
              <a:avLst/>
              <a:gdLst/>
              <a:ahLst/>
              <a:cxnLst/>
              <a:rect l="l" t="t" r="r" b="b"/>
              <a:pathLst>
                <a:path w="7620" h="27304">
                  <a:moveTo>
                    <a:pt x="5968" y="0"/>
                  </a:moveTo>
                  <a:lnTo>
                    <a:pt x="5143" y="6269"/>
                  </a:lnTo>
                  <a:lnTo>
                    <a:pt x="3870" y="12852"/>
                  </a:lnTo>
                  <a:lnTo>
                    <a:pt x="2154" y="19731"/>
                  </a:lnTo>
                  <a:lnTo>
                    <a:pt x="0" y="26885"/>
                  </a:lnTo>
                  <a:lnTo>
                    <a:pt x="203" y="27101"/>
                  </a:lnTo>
                  <a:lnTo>
                    <a:pt x="7061" y="1066"/>
                  </a:lnTo>
                  <a:lnTo>
                    <a:pt x="5968" y="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0" name="object 662">
              <a:extLst>
                <a:ext uri="{FF2B5EF4-FFF2-40B4-BE49-F238E27FC236}">
                  <a16:creationId xmlns:a16="http://schemas.microsoft.com/office/drawing/2014/main" id="{97A59BED-7135-4D07-A17B-9BA689B08E57}"/>
                </a:ext>
              </a:extLst>
            </p:cNvPr>
            <p:cNvSpPr/>
            <p:nvPr/>
          </p:nvSpPr>
          <p:spPr>
            <a:xfrm>
              <a:off x="8147360" y="6160095"/>
              <a:ext cx="7620" cy="27940"/>
            </a:xfrm>
            <a:custGeom>
              <a:avLst/>
              <a:gdLst/>
              <a:ahLst/>
              <a:cxnLst/>
              <a:rect l="l" t="t" r="r" b="b"/>
              <a:pathLst>
                <a:path w="7620" h="27940">
                  <a:moveTo>
                    <a:pt x="6375" y="0"/>
                  </a:moveTo>
                  <a:lnTo>
                    <a:pt x="5452" y="6172"/>
                  </a:lnTo>
                  <a:lnTo>
                    <a:pt x="4078" y="12657"/>
                  </a:lnTo>
                  <a:lnTo>
                    <a:pt x="2258" y="19439"/>
                  </a:lnTo>
                  <a:lnTo>
                    <a:pt x="0" y="26504"/>
                  </a:lnTo>
                  <a:lnTo>
                    <a:pt x="1473" y="27939"/>
                  </a:lnTo>
                  <a:lnTo>
                    <a:pt x="3629" y="20785"/>
                  </a:lnTo>
                  <a:lnTo>
                    <a:pt x="5349" y="13906"/>
                  </a:lnTo>
                  <a:lnTo>
                    <a:pt x="6627" y="7323"/>
                  </a:lnTo>
                  <a:lnTo>
                    <a:pt x="7454" y="1054"/>
                  </a:lnTo>
                  <a:lnTo>
                    <a:pt x="6375" y="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1" name="object 663">
              <a:extLst>
                <a:ext uri="{FF2B5EF4-FFF2-40B4-BE49-F238E27FC236}">
                  <a16:creationId xmlns:a16="http://schemas.microsoft.com/office/drawing/2014/main" id="{2E7C5526-7BF5-414D-AC55-71E9B2160662}"/>
                </a:ext>
              </a:extLst>
            </p:cNvPr>
            <p:cNvSpPr/>
            <p:nvPr/>
          </p:nvSpPr>
          <p:spPr>
            <a:xfrm>
              <a:off x="8146966" y="6159056"/>
              <a:ext cx="6985" cy="27940"/>
            </a:xfrm>
            <a:custGeom>
              <a:avLst/>
              <a:gdLst/>
              <a:ahLst/>
              <a:cxnLst/>
              <a:rect l="l" t="t" r="r" b="b"/>
              <a:pathLst>
                <a:path w="6984" h="27940">
                  <a:moveTo>
                    <a:pt x="5702" y="0"/>
                  </a:moveTo>
                  <a:lnTo>
                    <a:pt x="4927" y="5918"/>
                  </a:lnTo>
                  <a:lnTo>
                    <a:pt x="3441" y="12331"/>
                  </a:lnTo>
                  <a:lnTo>
                    <a:pt x="1282" y="19177"/>
                  </a:lnTo>
                  <a:lnTo>
                    <a:pt x="0" y="27165"/>
                  </a:lnTo>
                  <a:lnTo>
                    <a:pt x="6769" y="1041"/>
                  </a:lnTo>
                  <a:lnTo>
                    <a:pt x="5702" y="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2" name="object 664">
              <a:extLst>
                <a:ext uri="{FF2B5EF4-FFF2-40B4-BE49-F238E27FC236}">
                  <a16:creationId xmlns:a16="http://schemas.microsoft.com/office/drawing/2014/main" id="{1B956870-989A-48C5-8A82-8525B9A5F72E}"/>
                </a:ext>
              </a:extLst>
            </p:cNvPr>
            <p:cNvSpPr/>
            <p:nvPr/>
          </p:nvSpPr>
          <p:spPr>
            <a:xfrm>
              <a:off x="8148253" y="6158026"/>
              <a:ext cx="4445" cy="20320"/>
            </a:xfrm>
            <a:custGeom>
              <a:avLst/>
              <a:gdLst/>
              <a:ahLst/>
              <a:cxnLst/>
              <a:rect l="l" t="t" r="r" b="b"/>
              <a:pathLst>
                <a:path w="4445" h="20320">
                  <a:moveTo>
                    <a:pt x="3365" y="0"/>
                  </a:moveTo>
                  <a:lnTo>
                    <a:pt x="3060" y="2019"/>
                  </a:lnTo>
                  <a:lnTo>
                    <a:pt x="2666" y="4102"/>
                  </a:lnTo>
                  <a:lnTo>
                    <a:pt x="2197" y="6248"/>
                  </a:lnTo>
                  <a:lnTo>
                    <a:pt x="0" y="20205"/>
                  </a:lnTo>
                  <a:lnTo>
                    <a:pt x="2146" y="13373"/>
                  </a:lnTo>
                  <a:lnTo>
                    <a:pt x="3632" y="6946"/>
                  </a:lnTo>
                  <a:lnTo>
                    <a:pt x="4419" y="1028"/>
                  </a:lnTo>
                  <a:lnTo>
                    <a:pt x="3365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3" name="object 665">
              <a:extLst>
                <a:ext uri="{FF2B5EF4-FFF2-40B4-BE49-F238E27FC236}">
                  <a16:creationId xmlns:a16="http://schemas.microsoft.com/office/drawing/2014/main" id="{86F37D6C-502D-4838-8FBA-3E8622CB9B58}"/>
                </a:ext>
              </a:extLst>
            </p:cNvPr>
            <p:cNvSpPr/>
            <p:nvPr/>
          </p:nvSpPr>
          <p:spPr>
            <a:xfrm>
              <a:off x="8148511" y="6157013"/>
              <a:ext cx="3175" cy="9525"/>
            </a:xfrm>
            <a:custGeom>
              <a:avLst/>
              <a:gdLst/>
              <a:ahLst/>
              <a:cxnLst/>
              <a:rect l="l" t="t" r="r" b="b"/>
              <a:pathLst>
                <a:path w="3175" h="9525">
                  <a:moveTo>
                    <a:pt x="2070" y="0"/>
                  </a:moveTo>
                  <a:lnTo>
                    <a:pt x="1752" y="1777"/>
                  </a:lnTo>
                  <a:lnTo>
                    <a:pt x="2108" y="2692"/>
                  </a:lnTo>
                  <a:lnTo>
                    <a:pt x="2260" y="3695"/>
                  </a:lnTo>
                  <a:lnTo>
                    <a:pt x="2159" y="4648"/>
                  </a:lnTo>
                  <a:lnTo>
                    <a:pt x="838" y="6007"/>
                  </a:lnTo>
                  <a:lnTo>
                    <a:pt x="584" y="7073"/>
                  </a:lnTo>
                  <a:lnTo>
                    <a:pt x="0" y="9232"/>
                  </a:lnTo>
                  <a:lnTo>
                    <a:pt x="1943" y="7264"/>
                  </a:lnTo>
                  <a:lnTo>
                    <a:pt x="2413" y="5118"/>
                  </a:lnTo>
                  <a:lnTo>
                    <a:pt x="2806" y="3035"/>
                  </a:lnTo>
                  <a:lnTo>
                    <a:pt x="3111" y="1015"/>
                  </a:lnTo>
                  <a:lnTo>
                    <a:pt x="2070" y="0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4" name="object 666">
              <a:extLst>
                <a:ext uri="{FF2B5EF4-FFF2-40B4-BE49-F238E27FC236}">
                  <a16:creationId xmlns:a16="http://schemas.microsoft.com/office/drawing/2014/main" id="{B9232086-7E3F-4A0A-AD4E-FB0B400F0A3B}"/>
                </a:ext>
              </a:extLst>
            </p:cNvPr>
            <p:cNvSpPr/>
            <p:nvPr/>
          </p:nvSpPr>
          <p:spPr>
            <a:xfrm>
              <a:off x="8146250" y="6156798"/>
              <a:ext cx="4445" cy="12065"/>
            </a:xfrm>
            <a:custGeom>
              <a:avLst/>
              <a:gdLst/>
              <a:ahLst/>
              <a:cxnLst/>
              <a:rect l="l" t="t" r="r" b="b"/>
              <a:pathLst>
                <a:path w="4445" h="12065">
                  <a:moveTo>
                    <a:pt x="3086" y="6223"/>
                  </a:moveTo>
                  <a:lnTo>
                    <a:pt x="1079" y="8280"/>
                  </a:lnTo>
                  <a:lnTo>
                    <a:pt x="381" y="10579"/>
                  </a:lnTo>
                  <a:lnTo>
                    <a:pt x="0" y="11760"/>
                  </a:lnTo>
                  <a:lnTo>
                    <a:pt x="2260" y="9448"/>
                  </a:lnTo>
                  <a:lnTo>
                    <a:pt x="2552" y="8369"/>
                  </a:lnTo>
                  <a:lnTo>
                    <a:pt x="2832" y="7289"/>
                  </a:lnTo>
                  <a:lnTo>
                    <a:pt x="3086" y="6223"/>
                  </a:lnTo>
                  <a:close/>
                </a:path>
                <a:path w="4445" h="12065">
                  <a:moveTo>
                    <a:pt x="4318" y="228"/>
                  </a:moveTo>
                  <a:lnTo>
                    <a:pt x="4089" y="0"/>
                  </a:lnTo>
                  <a:lnTo>
                    <a:pt x="3352" y="749"/>
                  </a:lnTo>
                  <a:lnTo>
                    <a:pt x="3619" y="1143"/>
                  </a:lnTo>
                  <a:lnTo>
                    <a:pt x="3822" y="1562"/>
                  </a:lnTo>
                  <a:lnTo>
                    <a:pt x="4000" y="2006"/>
                  </a:lnTo>
                  <a:lnTo>
                    <a:pt x="4114" y="1409"/>
                  </a:lnTo>
                  <a:lnTo>
                    <a:pt x="4318" y="228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5" name="object 667">
              <a:extLst>
                <a:ext uri="{FF2B5EF4-FFF2-40B4-BE49-F238E27FC236}">
                  <a16:creationId xmlns:a16="http://schemas.microsoft.com/office/drawing/2014/main" id="{751479DA-FE64-47BD-9371-4653F95F500A}"/>
                </a:ext>
              </a:extLst>
            </p:cNvPr>
            <p:cNvSpPr/>
            <p:nvPr/>
          </p:nvSpPr>
          <p:spPr>
            <a:xfrm>
              <a:off x="8140128" y="6165079"/>
              <a:ext cx="7620" cy="15240"/>
            </a:xfrm>
            <a:custGeom>
              <a:avLst/>
              <a:gdLst/>
              <a:ahLst/>
              <a:cxnLst/>
              <a:rect l="l" t="t" r="r" b="b"/>
              <a:pathLst>
                <a:path w="7620" h="15240">
                  <a:moveTo>
                    <a:pt x="1054" y="14020"/>
                  </a:moveTo>
                  <a:lnTo>
                    <a:pt x="863" y="13728"/>
                  </a:lnTo>
                  <a:lnTo>
                    <a:pt x="698" y="13462"/>
                  </a:lnTo>
                  <a:lnTo>
                    <a:pt x="546" y="13208"/>
                  </a:lnTo>
                  <a:lnTo>
                    <a:pt x="368" y="13627"/>
                  </a:lnTo>
                  <a:lnTo>
                    <a:pt x="190" y="14033"/>
                  </a:lnTo>
                  <a:lnTo>
                    <a:pt x="0" y="14452"/>
                  </a:lnTo>
                  <a:lnTo>
                    <a:pt x="317" y="14770"/>
                  </a:lnTo>
                  <a:lnTo>
                    <a:pt x="1054" y="14020"/>
                  </a:lnTo>
                  <a:close/>
                </a:path>
                <a:path w="7620" h="15240">
                  <a:moveTo>
                    <a:pt x="7200" y="0"/>
                  </a:moveTo>
                  <a:lnTo>
                    <a:pt x="4838" y="2413"/>
                  </a:lnTo>
                  <a:lnTo>
                    <a:pt x="3937" y="4940"/>
                  </a:lnTo>
                  <a:lnTo>
                    <a:pt x="3429" y="6235"/>
                  </a:lnTo>
                  <a:lnTo>
                    <a:pt x="6121" y="3479"/>
                  </a:lnTo>
                  <a:lnTo>
                    <a:pt x="6502" y="2311"/>
                  </a:lnTo>
                  <a:lnTo>
                    <a:pt x="7200" y="0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6" name="object 668">
              <a:extLst>
                <a:ext uri="{FF2B5EF4-FFF2-40B4-BE49-F238E27FC236}">
                  <a16:creationId xmlns:a16="http://schemas.microsoft.com/office/drawing/2014/main" id="{350A9D1C-0C72-43A4-9A1B-2AAD4C77CC9F}"/>
                </a:ext>
              </a:extLst>
            </p:cNvPr>
            <p:cNvSpPr/>
            <p:nvPr/>
          </p:nvSpPr>
          <p:spPr>
            <a:xfrm>
              <a:off x="8138710" y="6167484"/>
              <a:ext cx="6350" cy="12065"/>
            </a:xfrm>
            <a:custGeom>
              <a:avLst/>
              <a:gdLst/>
              <a:ahLst/>
              <a:cxnLst/>
              <a:rect l="l" t="t" r="r" b="b"/>
              <a:pathLst>
                <a:path w="6350" h="12065">
                  <a:moveTo>
                    <a:pt x="828" y="8906"/>
                  </a:moveTo>
                  <a:lnTo>
                    <a:pt x="0" y="10655"/>
                  </a:lnTo>
                  <a:lnTo>
                    <a:pt x="1422" y="12039"/>
                  </a:lnTo>
                  <a:lnTo>
                    <a:pt x="1968" y="10795"/>
                  </a:lnTo>
                  <a:lnTo>
                    <a:pt x="828" y="8906"/>
                  </a:lnTo>
                  <a:close/>
                </a:path>
                <a:path w="6350" h="12065">
                  <a:moveTo>
                    <a:pt x="1658" y="7091"/>
                  </a:moveTo>
                  <a:lnTo>
                    <a:pt x="1015" y="7747"/>
                  </a:lnTo>
                  <a:lnTo>
                    <a:pt x="634" y="8585"/>
                  </a:lnTo>
                  <a:lnTo>
                    <a:pt x="828" y="8906"/>
                  </a:lnTo>
                  <a:lnTo>
                    <a:pt x="1658" y="7091"/>
                  </a:lnTo>
                  <a:close/>
                </a:path>
                <a:path w="6350" h="12065">
                  <a:moveTo>
                    <a:pt x="6273" y="0"/>
                  </a:moveTo>
                  <a:lnTo>
                    <a:pt x="3441" y="2895"/>
                  </a:lnTo>
                  <a:lnTo>
                    <a:pt x="2400" y="5410"/>
                  </a:lnTo>
                  <a:lnTo>
                    <a:pt x="1658" y="7091"/>
                  </a:lnTo>
                  <a:lnTo>
                    <a:pt x="4864" y="3822"/>
                  </a:lnTo>
                  <a:lnTo>
                    <a:pt x="5829" y="1257"/>
                  </a:lnTo>
                  <a:lnTo>
                    <a:pt x="6273" y="0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7" name="object 669">
              <a:extLst>
                <a:ext uri="{FF2B5EF4-FFF2-40B4-BE49-F238E27FC236}">
                  <a16:creationId xmlns:a16="http://schemas.microsoft.com/office/drawing/2014/main" id="{C676B80C-2201-4F50-9620-706A3DD311A3}"/>
                </a:ext>
              </a:extLst>
            </p:cNvPr>
            <p:cNvSpPr/>
            <p:nvPr/>
          </p:nvSpPr>
          <p:spPr>
            <a:xfrm>
              <a:off x="8137292" y="6170376"/>
              <a:ext cx="5080" cy="8255"/>
            </a:xfrm>
            <a:custGeom>
              <a:avLst/>
              <a:gdLst/>
              <a:ahLst/>
              <a:cxnLst/>
              <a:rect l="l" t="t" r="r" b="b"/>
              <a:pathLst>
                <a:path w="5079" h="8254">
                  <a:moveTo>
                    <a:pt x="4864" y="0"/>
                  </a:moveTo>
                  <a:lnTo>
                    <a:pt x="3098" y="1803"/>
                  </a:lnTo>
                  <a:lnTo>
                    <a:pt x="2540" y="2362"/>
                  </a:lnTo>
                  <a:lnTo>
                    <a:pt x="2057" y="2794"/>
                  </a:lnTo>
                  <a:lnTo>
                    <a:pt x="1600" y="3098"/>
                  </a:lnTo>
                  <a:lnTo>
                    <a:pt x="1092" y="4178"/>
                  </a:lnTo>
                  <a:lnTo>
                    <a:pt x="0" y="6388"/>
                  </a:lnTo>
                  <a:lnTo>
                    <a:pt x="1422" y="7759"/>
                  </a:lnTo>
                  <a:lnTo>
                    <a:pt x="2667" y="5105"/>
                  </a:lnTo>
                  <a:lnTo>
                    <a:pt x="3822" y="2527"/>
                  </a:lnTo>
                  <a:lnTo>
                    <a:pt x="4864" y="0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8" name="object 670">
              <a:extLst>
                <a:ext uri="{FF2B5EF4-FFF2-40B4-BE49-F238E27FC236}">
                  <a16:creationId xmlns:a16="http://schemas.microsoft.com/office/drawing/2014/main" id="{82B990D5-8807-4BB1-90CF-56E25FC6F645}"/>
                </a:ext>
              </a:extLst>
            </p:cNvPr>
            <p:cNvSpPr/>
            <p:nvPr/>
          </p:nvSpPr>
          <p:spPr>
            <a:xfrm>
              <a:off x="8135900" y="6173477"/>
              <a:ext cx="3175" cy="3810"/>
            </a:xfrm>
            <a:custGeom>
              <a:avLst/>
              <a:gdLst/>
              <a:ahLst/>
              <a:cxnLst/>
              <a:rect l="l" t="t" r="r" b="b"/>
              <a:pathLst>
                <a:path w="3175" h="3809">
                  <a:moveTo>
                    <a:pt x="2997" y="0"/>
                  </a:moveTo>
                  <a:lnTo>
                    <a:pt x="2260" y="457"/>
                  </a:lnTo>
                  <a:lnTo>
                    <a:pt x="1600" y="596"/>
                  </a:lnTo>
                  <a:lnTo>
                    <a:pt x="800" y="355"/>
                  </a:lnTo>
                  <a:lnTo>
                    <a:pt x="266" y="1384"/>
                  </a:lnTo>
                  <a:lnTo>
                    <a:pt x="0" y="1917"/>
                  </a:lnTo>
                  <a:lnTo>
                    <a:pt x="1396" y="3276"/>
                  </a:lnTo>
                  <a:lnTo>
                    <a:pt x="1955" y="2171"/>
                  </a:lnTo>
                  <a:lnTo>
                    <a:pt x="2997" y="0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79" name="object 671">
              <a:extLst>
                <a:ext uri="{FF2B5EF4-FFF2-40B4-BE49-F238E27FC236}">
                  <a16:creationId xmlns:a16="http://schemas.microsoft.com/office/drawing/2014/main" id="{A7A27154-6E53-4864-B81C-51501D6CE9A0}"/>
                </a:ext>
              </a:extLst>
            </p:cNvPr>
            <p:cNvSpPr/>
            <p:nvPr/>
          </p:nvSpPr>
          <p:spPr>
            <a:xfrm>
              <a:off x="8134506" y="6172996"/>
              <a:ext cx="2540" cy="2540"/>
            </a:xfrm>
            <a:custGeom>
              <a:avLst/>
              <a:gdLst/>
              <a:ahLst/>
              <a:cxnLst/>
              <a:rect l="l" t="t" r="r" b="b"/>
              <a:pathLst>
                <a:path w="2540" h="2540">
                  <a:moveTo>
                    <a:pt x="558" y="0"/>
                  </a:moveTo>
                  <a:lnTo>
                    <a:pt x="368" y="342"/>
                  </a:lnTo>
                  <a:lnTo>
                    <a:pt x="190" y="685"/>
                  </a:lnTo>
                  <a:lnTo>
                    <a:pt x="0" y="1028"/>
                  </a:lnTo>
                  <a:lnTo>
                    <a:pt x="1396" y="2387"/>
                  </a:lnTo>
                  <a:lnTo>
                    <a:pt x="1930" y="1346"/>
                  </a:lnTo>
                  <a:lnTo>
                    <a:pt x="2197" y="838"/>
                  </a:lnTo>
                  <a:lnTo>
                    <a:pt x="1714" y="698"/>
                  </a:lnTo>
                  <a:lnTo>
                    <a:pt x="1181" y="419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0" name="object 672">
              <a:extLst>
                <a:ext uri="{FF2B5EF4-FFF2-40B4-BE49-F238E27FC236}">
                  <a16:creationId xmlns:a16="http://schemas.microsoft.com/office/drawing/2014/main" id="{B2A9E2B7-4537-429F-8412-93E495255C10}"/>
                </a:ext>
              </a:extLst>
            </p:cNvPr>
            <p:cNvSpPr/>
            <p:nvPr/>
          </p:nvSpPr>
          <p:spPr>
            <a:xfrm>
              <a:off x="8133984" y="6172761"/>
              <a:ext cx="1270" cy="1270"/>
            </a:xfrm>
            <a:custGeom>
              <a:avLst/>
              <a:gdLst/>
              <a:ahLst/>
              <a:cxnLst/>
              <a:rect l="l" t="t" r="r" b="b"/>
              <a:pathLst>
                <a:path w="1270" h="1270">
                  <a:moveTo>
                    <a:pt x="736" y="0"/>
                  </a:moveTo>
                  <a:lnTo>
                    <a:pt x="0" y="749"/>
                  </a:lnTo>
                  <a:lnTo>
                    <a:pt x="520" y="1269"/>
                  </a:lnTo>
                  <a:lnTo>
                    <a:pt x="711" y="914"/>
                  </a:lnTo>
                  <a:lnTo>
                    <a:pt x="901" y="584"/>
                  </a:lnTo>
                  <a:lnTo>
                    <a:pt x="1079" y="241"/>
                  </a:lnTo>
                  <a:lnTo>
                    <a:pt x="863" y="88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1" name="object 673">
              <a:extLst>
                <a:ext uri="{FF2B5EF4-FFF2-40B4-BE49-F238E27FC236}">
                  <a16:creationId xmlns:a16="http://schemas.microsoft.com/office/drawing/2014/main" id="{268093FA-EEEA-48B9-BECF-C7D73F5D0A82}"/>
                </a:ext>
              </a:extLst>
            </p:cNvPr>
            <p:cNvSpPr/>
            <p:nvPr/>
          </p:nvSpPr>
          <p:spPr>
            <a:xfrm>
              <a:off x="8179219" y="6188967"/>
              <a:ext cx="2540" cy="6350"/>
            </a:xfrm>
            <a:custGeom>
              <a:avLst/>
              <a:gdLst/>
              <a:ahLst/>
              <a:cxnLst/>
              <a:rect l="l" t="t" r="r" b="b"/>
              <a:pathLst>
                <a:path w="2540" h="6350">
                  <a:moveTo>
                    <a:pt x="1676" y="4140"/>
                  </a:moveTo>
                  <a:lnTo>
                    <a:pt x="1422" y="1917"/>
                  </a:lnTo>
                  <a:lnTo>
                    <a:pt x="0" y="0"/>
                  </a:lnTo>
                  <a:lnTo>
                    <a:pt x="215" y="1892"/>
                  </a:lnTo>
                  <a:lnTo>
                    <a:pt x="406" y="3810"/>
                  </a:lnTo>
                  <a:lnTo>
                    <a:pt x="558" y="5740"/>
                  </a:lnTo>
                  <a:lnTo>
                    <a:pt x="1676" y="4140"/>
                  </a:lnTo>
                  <a:close/>
                </a:path>
                <a:path w="2540" h="6350">
                  <a:moveTo>
                    <a:pt x="2349" y="3175"/>
                  </a:moveTo>
                  <a:lnTo>
                    <a:pt x="1422" y="1917"/>
                  </a:lnTo>
                  <a:lnTo>
                    <a:pt x="1600" y="3403"/>
                  </a:lnTo>
                  <a:lnTo>
                    <a:pt x="1676" y="4140"/>
                  </a:lnTo>
                  <a:lnTo>
                    <a:pt x="2349" y="3175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2" name="object 674">
              <a:extLst>
                <a:ext uri="{FF2B5EF4-FFF2-40B4-BE49-F238E27FC236}">
                  <a16:creationId xmlns:a16="http://schemas.microsoft.com/office/drawing/2014/main" id="{C075F1A6-8FAA-41FC-9A96-88000752C646}"/>
                </a:ext>
              </a:extLst>
            </p:cNvPr>
            <p:cNvSpPr/>
            <p:nvPr/>
          </p:nvSpPr>
          <p:spPr>
            <a:xfrm>
              <a:off x="8176438" y="6185233"/>
              <a:ext cx="3810" cy="12700"/>
            </a:xfrm>
            <a:custGeom>
              <a:avLst/>
              <a:gdLst/>
              <a:ahLst/>
              <a:cxnLst/>
              <a:rect l="l" t="t" r="r" b="b"/>
              <a:pathLst>
                <a:path w="3809" h="12700">
                  <a:moveTo>
                    <a:pt x="3352" y="9486"/>
                  </a:moveTo>
                  <a:lnTo>
                    <a:pt x="3009" y="5626"/>
                  </a:lnTo>
                  <a:lnTo>
                    <a:pt x="2794" y="3733"/>
                  </a:lnTo>
                  <a:lnTo>
                    <a:pt x="1384" y="1854"/>
                  </a:lnTo>
                  <a:lnTo>
                    <a:pt x="0" y="0"/>
                  </a:lnTo>
                  <a:lnTo>
                    <a:pt x="101" y="927"/>
                  </a:lnTo>
                  <a:lnTo>
                    <a:pt x="266" y="2806"/>
                  </a:lnTo>
                  <a:lnTo>
                    <a:pt x="1397" y="5334"/>
                  </a:lnTo>
                  <a:lnTo>
                    <a:pt x="1409" y="8343"/>
                  </a:lnTo>
                  <a:lnTo>
                    <a:pt x="749" y="11010"/>
                  </a:lnTo>
                  <a:lnTo>
                    <a:pt x="774" y="11633"/>
                  </a:lnTo>
                  <a:lnTo>
                    <a:pt x="1536" y="12090"/>
                  </a:lnTo>
                  <a:lnTo>
                    <a:pt x="2133" y="11226"/>
                  </a:lnTo>
                  <a:lnTo>
                    <a:pt x="3352" y="9486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3" name="object 675">
              <a:extLst>
                <a:ext uri="{FF2B5EF4-FFF2-40B4-BE49-F238E27FC236}">
                  <a16:creationId xmlns:a16="http://schemas.microsoft.com/office/drawing/2014/main" id="{E9E97019-C3C1-4038-B368-A1899D7D54C2}"/>
                </a:ext>
              </a:extLst>
            </p:cNvPr>
            <p:cNvSpPr/>
            <p:nvPr/>
          </p:nvSpPr>
          <p:spPr>
            <a:xfrm>
              <a:off x="8175079" y="6183392"/>
              <a:ext cx="2540" cy="13970"/>
            </a:xfrm>
            <a:custGeom>
              <a:avLst/>
              <a:gdLst/>
              <a:ahLst/>
              <a:cxnLst/>
              <a:rect l="l" t="t" r="r" b="b"/>
              <a:pathLst>
                <a:path w="2540" h="13970">
                  <a:moveTo>
                    <a:pt x="1625" y="4635"/>
                  </a:moveTo>
                  <a:lnTo>
                    <a:pt x="1536" y="3695"/>
                  </a:lnTo>
                  <a:lnTo>
                    <a:pt x="1460" y="2755"/>
                  </a:lnTo>
                  <a:lnTo>
                    <a:pt x="1358" y="1828"/>
                  </a:lnTo>
                  <a:lnTo>
                    <a:pt x="0" y="0"/>
                  </a:lnTo>
                  <a:lnTo>
                    <a:pt x="152" y="1612"/>
                  </a:lnTo>
                  <a:lnTo>
                    <a:pt x="215" y="2425"/>
                  </a:lnTo>
                  <a:lnTo>
                    <a:pt x="508" y="2768"/>
                  </a:lnTo>
                  <a:lnTo>
                    <a:pt x="660" y="2984"/>
                  </a:lnTo>
                  <a:lnTo>
                    <a:pt x="1054" y="3505"/>
                  </a:lnTo>
                  <a:lnTo>
                    <a:pt x="1358" y="4051"/>
                  </a:lnTo>
                  <a:lnTo>
                    <a:pt x="1625" y="4635"/>
                  </a:lnTo>
                  <a:close/>
                </a:path>
                <a:path w="2540" h="13970">
                  <a:moveTo>
                    <a:pt x="2133" y="13258"/>
                  </a:moveTo>
                  <a:lnTo>
                    <a:pt x="2108" y="12839"/>
                  </a:lnTo>
                  <a:lnTo>
                    <a:pt x="2070" y="13017"/>
                  </a:lnTo>
                  <a:lnTo>
                    <a:pt x="1968" y="13373"/>
                  </a:lnTo>
                  <a:lnTo>
                    <a:pt x="2133" y="13474"/>
                  </a:lnTo>
                  <a:lnTo>
                    <a:pt x="2133" y="13258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4" name="object 676">
              <a:extLst>
                <a:ext uri="{FF2B5EF4-FFF2-40B4-BE49-F238E27FC236}">
                  <a16:creationId xmlns:a16="http://schemas.microsoft.com/office/drawing/2014/main" id="{11906F67-C678-46E9-B4CB-863B34152C6B}"/>
                </a:ext>
              </a:extLst>
            </p:cNvPr>
            <p:cNvSpPr/>
            <p:nvPr/>
          </p:nvSpPr>
          <p:spPr>
            <a:xfrm>
              <a:off x="8173745" y="6181586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0" y="0"/>
                  </a:moveTo>
                  <a:lnTo>
                    <a:pt x="101" y="1092"/>
                  </a:lnTo>
                  <a:lnTo>
                    <a:pt x="190" y="2184"/>
                  </a:lnTo>
                  <a:lnTo>
                    <a:pt x="266" y="3289"/>
                  </a:lnTo>
                  <a:lnTo>
                    <a:pt x="660" y="3390"/>
                  </a:lnTo>
                  <a:lnTo>
                    <a:pt x="1066" y="3682"/>
                  </a:lnTo>
                  <a:lnTo>
                    <a:pt x="1549" y="4229"/>
                  </a:lnTo>
                  <a:lnTo>
                    <a:pt x="1422" y="2616"/>
                  </a:lnTo>
                  <a:lnTo>
                    <a:pt x="1333" y="18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5" name="object 677">
              <a:extLst>
                <a:ext uri="{FF2B5EF4-FFF2-40B4-BE49-F238E27FC236}">
                  <a16:creationId xmlns:a16="http://schemas.microsoft.com/office/drawing/2014/main" id="{25613082-35E7-4682-A36A-68FD153BF5FF}"/>
                </a:ext>
              </a:extLst>
            </p:cNvPr>
            <p:cNvSpPr/>
            <p:nvPr/>
          </p:nvSpPr>
          <p:spPr>
            <a:xfrm>
              <a:off x="8172425" y="6179823"/>
              <a:ext cx="1905" cy="14604"/>
            </a:xfrm>
            <a:custGeom>
              <a:avLst/>
              <a:gdLst/>
              <a:ahLst/>
              <a:cxnLst/>
              <a:rect l="l" t="t" r="r" b="b"/>
              <a:pathLst>
                <a:path w="1904" h="14604">
                  <a:moveTo>
                    <a:pt x="1498" y="13817"/>
                  </a:moveTo>
                  <a:lnTo>
                    <a:pt x="749" y="12814"/>
                  </a:lnTo>
                  <a:lnTo>
                    <a:pt x="520" y="12890"/>
                  </a:lnTo>
                  <a:lnTo>
                    <a:pt x="520" y="13436"/>
                  </a:lnTo>
                  <a:lnTo>
                    <a:pt x="508" y="13995"/>
                  </a:lnTo>
                  <a:lnTo>
                    <a:pt x="508" y="14554"/>
                  </a:lnTo>
                  <a:lnTo>
                    <a:pt x="1498" y="13817"/>
                  </a:lnTo>
                  <a:close/>
                </a:path>
                <a:path w="1904" h="14604">
                  <a:moveTo>
                    <a:pt x="1587" y="5054"/>
                  </a:moveTo>
                  <a:lnTo>
                    <a:pt x="1511" y="3949"/>
                  </a:lnTo>
                  <a:lnTo>
                    <a:pt x="1409" y="2857"/>
                  </a:lnTo>
                  <a:lnTo>
                    <a:pt x="1320" y="1765"/>
                  </a:lnTo>
                  <a:lnTo>
                    <a:pt x="0" y="0"/>
                  </a:lnTo>
                  <a:lnTo>
                    <a:pt x="152" y="1752"/>
                  </a:lnTo>
                  <a:lnTo>
                    <a:pt x="266" y="3517"/>
                  </a:lnTo>
                  <a:lnTo>
                    <a:pt x="355" y="5308"/>
                  </a:lnTo>
                  <a:lnTo>
                    <a:pt x="787" y="5067"/>
                  </a:lnTo>
                  <a:lnTo>
                    <a:pt x="1181" y="4965"/>
                  </a:lnTo>
                  <a:lnTo>
                    <a:pt x="1587" y="5054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6" name="object 678">
              <a:extLst>
                <a:ext uri="{FF2B5EF4-FFF2-40B4-BE49-F238E27FC236}">
                  <a16:creationId xmlns:a16="http://schemas.microsoft.com/office/drawing/2014/main" id="{C894FDF5-A2AF-4291-BAAC-6273E8F70283}"/>
                </a:ext>
              </a:extLst>
            </p:cNvPr>
            <p:cNvSpPr/>
            <p:nvPr/>
          </p:nvSpPr>
          <p:spPr>
            <a:xfrm>
              <a:off x="8171129" y="6178083"/>
              <a:ext cx="1905" cy="17780"/>
            </a:xfrm>
            <a:custGeom>
              <a:avLst/>
              <a:gdLst/>
              <a:ahLst/>
              <a:cxnLst/>
              <a:rect l="l" t="t" r="r" b="b"/>
              <a:pathLst>
                <a:path w="1904" h="17779">
                  <a:moveTo>
                    <a:pt x="1651" y="7048"/>
                  </a:moveTo>
                  <a:lnTo>
                    <a:pt x="1562" y="5257"/>
                  </a:lnTo>
                  <a:lnTo>
                    <a:pt x="1447" y="3492"/>
                  </a:lnTo>
                  <a:lnTo>
                    <a:pt x="1295" y="1752"/>
                  </a:lnTo>
                  <a:lnTo>
                    <a:pt x="0" y="0"/>
                  </a:lnTo>
                  <a:lnTo>
                    <a:pt x="203" y="2578"/>
                  </a:lnTo>
                  <a:lnTo>
                    <a:pt x="330" y="5207"/>
                  </a:lnTo>
                  <a:lnTo>
                    <a:pt x="393" y="7899"/>
                  </a:lnTo>
                  <a:lnTo>
                    <a:pt x="1270" y="7251"/>
                  </a:lnTo>
                  <a:lnTo>
                    <a:pt x="1651" y="7048"/>
                  </a:lnTo>
                  <a:close/>
                </a:path>
                <a:path w="1904" h="17779">
                  <a:moveTo>
                    <a:pt x="1816" y="14630"/>
                  </a:moveTo>
                  <a:lnTo>
                    <a:pt x="1282" y="14782"/>
                  </a:lnTo>
                  <a:lnTo>
                    <a:pt x="812" y="14897"/>
                  </a:lnTo>
                  <a:lnTo>
                    <a:pt x="368" y="14960"/>
                  </a:lnTo>
                  <a:lnTo>
                    <a:pt x="355" y="15773"/>
                  </a:lnTo>
                  <a:lnTo>
                    <a:pt x="304" y="17411"/>
                  </a:lnTo>
                  <a:lnTo>
                    <a:pt x="1803" y="16294"/>
                  </a:lnTo>
                  <a:lnTo>
                    <a:pt x="1803" y="15735"/>
                  </a:lnTo>
                  <a:lnTo>
                    <a:pt x="1816" y="15189"/>
                  </a:lnTo>
                  <a:lnTo>
                    <a:pt x="1816" y="1463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7" name="object 679">
              <a:extLst>
                <a:ext uri="{FF2B5EF4-FFF2-40B4-BE49-F238E27FC236}">
                  <a16:creationId xmlns:a16="http://schemas.microsoft.com/office/drawing/2014/main" id="{5484B1F3-B2D6-457F-8900-10BEDE4347E3}"/>
                </a:ext>
              </a:extLst>
            </p:cNvPr>
            <p:cNvSpPr/>
            <p:nvPr/>
          </p:nvSpPr>
          <p:spPr>
            <a:xfrm>
              <a:off x="8169847" y="6176661"/>
              <a:ext cx="1905" cy="20320"/>
            </a:xfrm>
            <a:custGeom>
              <a:avLst/>
              <a:gdLst/>
              <a:ahLst/>
              <a:cxnLst/>
              <a:rect l="l" t="t" r="r" b="b"/>
              <a:pathLst>
                <a:path w="1904" h="20320">
                  <a:moveTo>
                    <a:pt x="1663" y="16370"/>
                  </a:moveTo>
                  <a:lnTo>
                    <a:pt x="1117" y="16446"/>
                  </a:lnTo>
                  <a:lnTo>
                    <a:pt x="635" y="16433"/>
                  </a:lnTo>
                  <a:lnTo>
                    <a:pt x="190" y="16344"/>
                  </a:lnTo>
                  <a:lnTo>
                    <a:pt x="139" y="17564"/>
                  </a:lnTo>
                  <a:lnTo>
                    <a:pt x="76" y="18783"/>
                  </a:lnTo>
                  <a:lnTo>
                    <a:pt x="0" y="20015"/>
                  </a:lnTo>
                  <a:lnTo>
                    <a:pt x="1587" y="18834"/>
                  </a:lnTo>
                  <a:lnTo>
                    <a:pt x="1663" y="16370"/>
                  </a:lnTo>
                  <a:close/>
                </a:path>
                <a:path w="1904" h="20320">
                  <a:moveTo>
                    <a:pt x="1676" y="9321"/>
                  </a:moveTo>
                  <a:lnTo>
                    <a:pt x="1612" y="6629"/>
                  </a:lnTo>
                  <a:lnTo>
                    <a:pt x="1485" y="3987"/>
                  </a:lnTo>
                  <a:lnTo>
                    <a:pt x="1282" y="1422"/>
                  </a:lnTo>
                  <a:lnTo>
                    <a:pt x="228" y="0"/>
                  </a:lnTo>
                  <a:lnTo>
                    <a:pt x="38" y="139"/>
                  </a:lnTo>
                  <a:lnTo>
                    <a:pt x="139" y="1917"/>
                  </a:lnTo>
                  <a:lnTo>
                    <a:pt x="355" y="2438"/>
                  </a:lnTo>
                  <a:lnTo>
                    <a:pt x="381" y="2895"/>
                  </a:lnTo>
                  <a:lnTo>
                    <a:pt x="215" y="3340"/>
                  </a:lnTo>
                  <a:lnTo>
                    <a:pt x="317" y="5613"/>
                  </a:lnTo>
                  <a:lnTo>
                    <a:pt x="355" y="7937"/>
                  </a:lnTo>
                  <a:lnTo>
                    <a:pt x="342" y="10312"/>
                  </a:lnTo>
                  <a:lnTo>
                    <a:pt x="1676" y="9321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8" name="object 680">
              <a:extLst>
                <a:ext uri="{FF2B5EF4-FFF2-40B4-BE49-F238E27FC236}">
                  <a16:creationId xmlns:a16="http://schemas.microsoft.com/office/drawing/2014/main" id="{C29743B3-AEFA-4E0A-B173-8BBAD54EBEF4}"/>
                </a:ext>
              </a:extLst>
            </p:cNvPr>
            <p:cNvSpPr/>
            <p:nvPr/>
          </p:nvSpPr>
          <p:spPr>
            <a:xfrm>
              <a:off x="8167344" y="6176801"/>
              <a:ext cx="3175" cy="28575"/>
            </a:xfrm>
            <a:custGeom>
              <a:avLst/>
              <a:gdLst/>
              <a:ahLst/>
              <a:cxnLst/>
              <a:rect l="l" t="t" r="r" b="b"/>
              <a:pathLst>
                <a:path w="3175" h="28575">
                  <a:moveTo>
                    <a:pt x="1651" y="27673"/>
                  </a:moveTo>
                  <a:lnTo>
                    <a:pt x="1485" y="26708"/>
                  </a:lnTo>
                  <a:lnTo>
                    <a:pt x="1066" y="26682"/>
                  </a:lnTo>
                  <a:lnTo>
                    <a:pt x="622" y="26631"/>
                  </a:lnTo>
                  <a:lnTo>
                    <a:pt x="203" y="26568"/>
                  </a:lnTo>
                  <a:lnTo>
                    <a:pt x="127" y="27076"/>
                  </a:lnTo>
                  <a:lnTo>
                    <a:pt x="0" y="28105"/>
                  </a:lnTo>
                  <a:lnTo>
                    <a:pt x="1651" y="27673"/>
                  </a:lnTo>
                  <a:close/>
                </a:path>
                <a:path w="3175" h="28575">
                  <a:moveTo>
                    <a:pt x="2641" y="1778"/>
                  </a:moveTo>
                  <a:lnTo>
                    <a:pt x="2616" y="1181"/>
                  </a:lnTo>
                  <a:lnTo>
                    <a:pt x="2540" y="0"/>
                  </a:lnTo>
                  <a:lnTo>
                    <a:pt x="1879" y="482"/>
                  </a:lnTo>
                  <a:lnTo>
                    <a:pt x="2235" y="952"/>
                  </a:lnTo>
                  <a:lnTo>
                    <a:pt x="2489" y="1384"/>
                  </a:lnTo>
                  <a:lnTo>
                    <a:pt x="2641" y="1778"/>
                  </a:lnTo>
                  <a:close/>
                </a:path>
                <a:path w="3175" h="28575">
                  <a:moveTo>
                    <a:pt x="2705" y="16205"/>
                  </a:moveTo>
                  <a:lnTo>
                    <a:pt x="2171" y="16090"/>
                  </a:lnTo>
                  <a:lnTo>
                    <a:pt x="1689" y="15862"/>
                  </a:lnTo>
                  <a:lnTo>
                    <a:pt x="1244" y="15506"/>
                  </a:lnTo>
                  <a:lnTo>
                    <a:pt x="1130" y="17360"/>
                  </a:lnTo>
                  <a:lnTo>
                    <a:pt x="977" y="19240"/>
                  </a:lnTo>
                  <a:lnTo>
                    <a:pt x="812" y="21132"/>
                  </a:lnTo>
                  <a:lnTo>
                    <a:pt x="2501" y="19875"/>
                  </a:lnTo>
                  <a:lnTo>
                    <a:pt x="2578" y="18643"/>
                  </a:lnTo>
                  <a:lnTo>
                    <a:pt x="2705" y="16205"/>
                  </a:lnTo>
                  <a:close/>
                </a:path>
                <a:path w="3175" h="28575">
                  <a:moveTo>
                    <a:pt x="2844" y="7797"/>
                  </a:moveTo>
                  <a:lnTo>
                    <a:pt x="2806" y="5473"/>
                  </a:lnTo>
                  <a:lnTo>
                    <a:pt x="2705" y="3200"/>
                  </a:lnTo>
                  <a:lnTo>
                    <a:pt x="2540" y="3670"/>
                  </a:lnTo>
                  <a:lnTo>
                    <a:pt x="2133" y="4140"/>
                  </a:lnTo>
                  <a:lnTo>
                    <a:pt x="1485" y="4622"/>
                  </a:lnTo>
                  <a:lnTo>
                    <a:pt x="1524" y="6781"/>
                  </a:lnTo>
                  <a:lnTo>
                    <a:pt x="1498" y="8978"/>
                  </a:lnTo>
                  <a:lnTo>
                    <a:pt x="1435" y="11214"/>
                  </a:lnTo>
                  <a:lnTo>
                    <a:pt x="2832" y="10172"/>
                  </a:lnTo>
                  <a:lnTo>
                    <a:pt x="2844" y="7797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89" name="object 681">
              <a:extLst>
                <a:ext uri="{FF2B5EF4-FFF2-40B4-BE49-F238E27FC236}">
                  <a16:creationId xmlns:a16="http://schemas.microsoft.com/office/drawing/2014/main" id="{C4667B91-CC7D-4633-AE86-2B9DE09362B8}"/>
                </a:ext>
              </a:extLst>
            </p:cNvPr>
            <p:cNvSpPr/>
            <p:nvPr/>
          </p:nvSpPr>
          <p:spPr>
            <a:xfrm>
              <a:off x="8165465" y="6181436"/>
              <a:ext cx="3810" cy="24130"/>
            </a:xfrm>
            <a:custGeom>
              <a:avLst/>
              <a:gdLst/>
              <a:ahLst/>
              <a:cxnLst/>
              <a:rect l="l" t="t" r="r" b="b"/>
              <a:pathLst>
                <a:path w="3809" h="24129">
                  <a:moveTo>
                    <a:pt x="2082" y="21932"/>
                  </a:moveTo>
                  <a:lnTo>
                    <a:pt x="1511" y="21856"/>
                  </a:lnTo>
                  <a:lnTo>
                    <a:pt x="927" y="21742"/>
                  </a:lnTo>
                  <a:lnTo>
                    <a:pt x="368" y="21590"/>
                  </a:lnTo>
                  <a:lnTo>
                    <a:pt x="254" y="22377"/>
                  </a:lnTo>
                  <a:lnTo>
                    <a:pt x="0" y="23952"/>
                  </a:lnTo>
                  <a:lnTo>
                    <a:pt x="1879" y="23469"/>
                  </a:lnTo>
                  <a:lnTo>
                    <a:pt x="1955" y="22961"/>
                  </a:lnTo>
                  <a:lnTo>
                    <a:pt x="2082" y="21932"/>
                  </a:lnTo>
                  <a:close/>
                </a:path>
                <a:path w="3809" h="24129">
                  <a:moveTo>
                    <a:pt x="3111" y="10871"/>
                  </a:moveTo>
                  <a:lnTo>
                    <a:pt x="2641" y="10515"/>
                  </a:lnTo>
                  <a:lnTo>
                    <a:pt x="2197" y="10020"/>
                  </a:lnTo>
                  <a:lnTo>
                    <a:pt x="1701" y="9410"/>
                  </a:lnTo>
                  <a:lnTo>
                    <a:pt x="1562" y="11264"/>
                  </a:lnTo>
                  <a:lnTo>
                    <a:pt x="1473" y="12192"/>
                  </a:lnTo>
                  <a:lnTo>
                    <a:pt x="1841" y="13258"/>
                  </a:lnTo>
                  <a:lnTo>
                    <a:pt x="1765" y="14274"/>
                  </a:lnTo>
                  <a:lnTo>
                    <a:pt x="1155" y="15430"/>
                  </a:lnTo>
                  <a:lnTo>
                    <a:pt x="1003" y="16827"/>
                  </a:lnTo>
                  <a:lnTo>
                    <a:pt x="914" y="17526"/>
                  </a:lnTo>
                  <a:lnTo>
                    <a:pt x="1054" y="17703"/>
                  </a:lnTo>
                  <a:lnTo>
                    <a:pt x="2679" y="16497"/>
                  </a:lnTo>
                  <a:lnTo>
                    <a:pt x="2857" y="14592"/>
                  </a:lnTo>
                  <a:lnTo>
                    <a:pt x="2997" y="12725"/>
                  </a:lnTo>
                  <a:lnTo>
                    <a:pt x="3111" y="10871"/>
                  </a:lnTo>
                  <a:close/>
                </a:path>
                <a:path w="3809" h="24129">
                  <a:moveTo>
                    <a:pt x="3416" y="2159"/>
                  </a:moveTo>
                  <a:lnTo>
                    <a:pt x="3378" y="0"/>
                  </a:lnTo>
                  <a:lnTo>
                    <a:pt x="2070" y="977"/>
                  </a:lnTo>
                  <a:lnTo>
                    <a:pt x="2044" y="3175"/>
                  </a:lnTo>
                  <a:lnTo>
                    <a:pt x="1955" y="5422"/>
                  </a:lnTo>
                  <a:lnTo>
                    <a:pt x="1816" y="7708"/>
                  </a:lnTo>
                  <a:lnTo>
                    <a:pt x="3314" y="6591"/>
                  </a:lnTo>
                  <a:lnTo>
                    <a:pt x="3390" y="4356"/>
                  </a:lnTo>
                  <a:lnTo>
                    <a:pt x="3416" y="2159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0" name="object 682">
              <a:extLst>
                <a:ext uri="{FF2B5EF4-FFF2-40B4-BE49-F238E27FC236}">
                  <a16:creationId xmlns:a16="http://schemas.microsoft.com/office/drawing/2014/main" id="{AB207919-9600-4206-96F3-BE2809EFC713}"/>
                </a:ext>
              </a:extLst>
            </p:cNvPr>
            <p:cNvSpPr/>
            <p:nvPr/>
          </p:nvSpPr>
          <p:spPr>
            <a:xfrm>
              <a:off x="8163522" y="6182401"/>
              <a:ext cx="4445" cy="24130"/>
            </a:xfrm>
            <a:custGeom>
              <a:avLst/>
              <a:gdLst/>
              <a:ahLst/>
              <a:cxnLst/>
              <a:rect l="l" t="t" r="r" b="b"/>
              <a:pathLst>
                <a:path w="4445" h="24129">
                  <a:moveTo>
                    <a:pt x="2298" y="20637"/>
                  </a:moveTo>
                  <a:lnTo>
                    <a:pt x="1727" y="20485"/>
                  </a:lnTo>
                  <a:lnTo>
                    <a:pt x="1155" y="20307"/>
                  </a:lnTo>
                  <a:lnTo>
                    <a:pt x="596" y="20091"/>
                  </a:lnTo>
                  <a:lnTo>
                    <a:pt x="406" y="21221"/>
                  </a:lnTo>
                  <a:lnTo>
                    <a:pt x="0" y="23507"/>
                  </a:lnTo>
                  <a:lnTo>
                    <a:pt x="1943" y="22999"/>
                  </a:lnTo>
                  <a:lnTo>
                    <a:pt x="2070" y="22212"/>
                  </a:lnTo>
                  <a:lnTo>
                    <a:pt x="2298" y="20637"/>
                  </a:lnTo>
                  <a:close/>
                </a:path>
                <a:path w="4445" h="24129">
                  <a:moveTo>
                    <a:pt x="3098" y="14465"/>
                  </a:moveTo>
                  <a:lnTo>
                    <a:pt x="2882" y="14871"/>
                  </a:lnTo>
                  <a:lnTo>
                    <a:pt x="2603" y="15303"/>
                  </a:lnTo>
                  <a:lnTo>
                    <a:pt x="2247" y="15748"/>
                  </a:lnTo>
                  <a:lnTo>
                    <a:pt x="2857" y="16560"/>
                  </a:lnTo>
                  <a:lnTo>
                    <a:pt x="2946" y="15862"/>
                  </a:lnTo>
                  <a:lnTo>
                    <a:pt x="3098" y="14465"/>
                  </a:lnTo>
                  <a:close/>
                </a:path>
                <a:path w="4445" h="24129">
                  <a:moveTo>
                    <a:pt x="4013" y="0"/>
                  </a:moveTo>
                  <a:lnTo>
                    <a:pt x="2628" y="1041"/>
                  </a:lnTo>
                  <a:lnTo>
                    <a:pt x="2514" y="3606"/>
                  </a:lnTo>
                  <a:lnTo>
                    <a:pt x="2324" y="6210"/>
                  </a:lnTo>
                  <a:lnTo>
                    <a:pt x="2070" y="8877"/>
                  </a:lnTo>
                  <a:lnTo>
                    <a:pt x="2705" y="9728"/>
                  </a:lnTo>
                  <a:lnTo>
                    <a:pt x="3162" y="10490"/>
                  </a:lnTo>
                  <a:lnTo>
                    <a:pt x="3416" y="11239"/>
                  </a:lnTo>
                  <a:lnTo>
                    <a:pt x="3581" y="9372"/>
                  </a:lnTo>
                  <a:lnTo>
                    <a:pt x="3644" y="8445"/>
                  </a:lnTo>
                  <a:lnTo>
                    <a:pt x="2857" y="7404"/>
                  </a:lnTo>
                  <a:lnTo>
                    <a:pt x="3759" y="6743"/>
                  </a:lnTo>
                  <a:lnTo>
                    <a:pt x="3898" y="4457"/>
                  </a:lnTo>
                  <a:lnTo>
                    <a:pt x="3975" y="2209"/>
                  </a:lnTo>
                  <a:lnTo>
                    <a:pt x="4013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1" name="object 683">
              <a:extLst>
                <a:ext uri="{FF2B5EF4-FFF2-40B4-BE49-F238E27FC236}">
                  <a16:creationId xmlns:a16="http://schemas.microsoft.com/office/drawing/2014/main" id="{305C7273-786C-4078-B967-9FB7EA875165}"/>
                </a:ext>
              </a:extLst>
            </p:cNvPr>
            <p:cNvSpPr/>
            <p:nvPr/>
          </p:nvSpPr>
          <p:spPr>
            <a:xfrm>
              <a:off x="8161845" y="6183430"/>
              <a:ext cx="4445" cy="22860"/>
            </a:xfrm>
            <a:custGeom>
              <a:avLst/>
              <a:gdLst/>
              <a:ahLst/>
              <a:cxnLst/>
              <a:rect l="l" t="t" r="r" b="b"/>
              <a:pathLst>
                <a:path w="4445" h="22859">
                  <a:moveTo>
                    <a:pt x="2286" y="19062"/>
                  </a:moveTo>
                  <a:lnTo>
                    <a:pt x="1701" y="18846"/>
                  </a:lnTo>
                  <a:lnTo>
                    <a:pt x="1130" y="18580"/>
                  </a:lnTo>
                  <a:lnTo>
                    <a:pt x="584" y="18288"/>
                  </a:lnTo>
                  <a:lnTo>
                    <a:pt x="406" y="19316"/>
                  </a:lnTo>
                  <a:lnTo>
                    <a:pt x="0" y="21386"/>
                  </a:lnTo>
                  <a:lnTo>
                    <a:pt x="952" y="22669"/>
                  </a:lnTo>
                  <a:lnTo>
                    <a:pt x="1689" y="22479"/>
                  </a:lnTo>
                  <a:lnTo>
                    <a:pt x="2095" y="20193"/>
                  </a:lnTo>
                  <a:lnTo>
                    <a:pt x="2286" y="19062"/>
                  </a:lnTo>
                  <a:close/>
                </a:path>
                <a:path w="4445" h="22859">
                  <a:moveTo>
                    <a:pt x="4305" y="0"/>
                  </a:moveTo>
                  <a:lnTo>
                    <a:pt x="2819" y="1104"/>
                  </a:lnTo>
                  <a:lnTo>
                    <a:pt x="2641" y="3416"/>
                  </a:lnTo>
                  <a:lnTo>
                    <a:pt x="2413" y="5765"/>
                  </a:lnTo>
                  <a:lnTo>
                    <a:pt x="2120" y="8153"/>
                  </a:lnTo>
                  <a:lnTo>
                    <a:pt x="3327" y="7264"/>
                  </a:lnTo>
                  <a:lnTo>
                    <a:pt x="3746" y="7835"/>
                  </a:lnTo>
                  <a:lnTo>
                    <a:pt x="4000" y="5181"/>
                  </a:lnTo>
                  <a:lnTo>
                    <a:pt x="4178" y="2565"/>
                  </a:lnTo>
                  <a:lnTo>
                    <a:pt x="4305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2" name="object 684">
              <a:extLst>
                <a:ext uri="{FF2B5EF4-FFF2-40B4-BE49-F238E27FC236}">
                  <a16:creationId xmlns:a16="http://schemas.microsoft.com/office/drawing/2014/main" id="{5A930BF0-EFFC-40FA-AF4B-33F9009684D0}"/>
                </a:ext>
              </a:extLst>
            </p:cNvPr>
            <p:cNvSpPr/>
            <p:nvPr/>
          </p:nvSpPr>
          <p:spPr>
            <a:xfrm>
              <a:off x="8160347" y="6184548"/>
              <a:ext cx="4445" cy="20320"/>
            </a:xfrm>
            <a:custGeom>
              <a:avLst/>
              <a:gdLst/>
              <a:ahLst/>
              <a:cxnLst/>
              <a:rect l="l" t="t" r="r" b="b"/>
              <a:pathLst>
                <a:path w="4445" h="20320">
                  <a:moveTo>
                    <a:pt x="2082" y="17170"/>
                  </a:moveTo>
                  <a:lnTo>
                    <a:pt x="1511" y="16852"/>
                  </a:lnTo>
                  <a:lnTo>
                    <a:pt x="965" y="16497"/>
                  </a:lnTo>
                  <a:lnTo>
                    <a:pt x="444" y="16103"/>
                  </a:lnTo>
                  <a:lnTo>
                    <a:pt x="304" y="16814"/>
                  </a:lnTo>
                  <a:lnTo>
                    <a:pt x="139" y="17538"/>
                  </a:lnTo>
                  <a:lnTo>
                    <a:pt x="0" y="18249"/>
                  </a:lnTo>
                  <a:lnTo>
                    <a:pt x="1498" y="20269"/>
                  </a:lnTo>
                  <a:lnTo>
                    <a:pt x="1905" y="18199"/>
                  </a:lnTo>
                  <a:lnTo>
                    <a:pt x="2082" y="17170"/>
                  </a:lnTo>
                  <a:close/>
                </a:path>
                <a:path w="4445" h="20320">
                  <a:moveTo>
                    <a:pt x="4330" y="0"/>
                  </a:moveTo>
                  <a:lnTo>
                    <a:pt x="2730" y="1181"/>
                  </a:lnTo>
                  <a:lnTo>
                    <a:pt x="2476" y="3556"/>
                  </a:lnTo>
                  <a:lnTo>
                    <a:pt x="2171" y="5956"/>
                  </a:lnTo>
                  <a:lnTo>
                    <a:pt x="1790" y="8407"/>
                  </a:lnTo>
                  <a:lnTo>
                    <a:pt x="3632" y="7048"/>
                  </a:lnTo>
                  <a:lnTo>
                    <a:pt x="3924" y="4660"/>
                  </a:lnTo>
                  <a:lnTo>
                    <a:pt x="4152" y="2298"/>
                  </a:lnTo>
                  <a:lnTo>
                    <a:pt x="4330" y="0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3" name="object 685">
              <a:extLst>
                <a:ext uri="{FF2B5EF4-FFF2-40B4-BE49-F238E27FC236}">
                  <a16:creationId xmlns:a16="http://schemas.microsoft.com/office/drawing/2014/main" id="{51B0F881-14FE-4458-A6BC-0EF1E2FCB318}"/>
                </a:ext>
              </a:extLst>
            </p:cNvPr>
            <p:cNvSpPr/>
            <p:nvPr/>
          </p:nvSpPr>
          <p:spPr>
            <a:xfrm>
              <a:off x="8158848" y="6185729"/>
              <a:ext cx="4445" cy="17145"/>
            </a:xfrm>
            <a:custGeom>
              <a:avLst/>
              <a:gdLst/>
              <a:ahLst/>
              <a:cxnLst/>
              <a:rect l="l" t="t" r="r" b="b"/>
              <a:pathLst>
                <a:path w="4445" h="17145">
                  <a:moveTo>
                    <a:pt x="1930" y="14909"/>
                  </a:moveTo>
                  <a:lnTo>
                    <a:pt x="1371" y="14478"/>
                  </a:lnTo>
                  <a:lnTo>
                    <a:pt x="850" y="13982"/>
                  </a:lnTo>
                  <a:lnTo>
                    <a:pt x="368" y="13436"/>
                  </a:lnTo>
                  <a:lnTo>
                    <a:pt x="127" y="14528"/>
                  </a:lnTo>
                  <a:lnTo>
                    <a:pt x="0" y="15074"/>
                  </a:lnTo>
                  <a:lnTo>
                    <a:pt x="1485" y="17068"/>
                  </a:lnTo>
                  <a:lnTo>
                    <a:pt x="1790" y="15621"/>
                  </a:lnTo>
                  <a:lnTo>
                    <a:pt x="1930" y="14909"/>
                  </a:lnTo>
                  <a:close/>
                </a:path>
                <a:path w="4445" h="17145">
                  <a:moveTo>
                    <a:pt x="4229" y="0"/>
                  </a:moveTo>
                  <a:lnTo>
                    <a:pt x="2527" y="1270"/>
                  </a:lnTo>
                  <a:lnTo>
                    <a:pt x="2197" y="3708"/>
                  </a:lnTo>
                  <a:lnTo>
                    <a:pt x="1790" y="6184"/>
                  </a:lnTo>
                  <a:lnTo>
                    <a:pt x="1320" y="8699"/>
                  </a:lnTo>
                  <a:lnTo>
                    <a:pt x="3289" y="7226"/>
                  </a:lnTo>
                  <a:lnTo>
                    <a:pt x="3670" y="4787"/>
                  </a:lnTo>
                  <a:lnTo>
                    <a:pt x="3975" y="2374"/>
                  </a:lnTo>
                  <a:lnTo>
                    <a:pt x="4229" y="0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4" name="object 686">
              <a:extLst>
                <a:ext uri="{FF2B5EF4-FFF2-40B4-BE49-F238E27FC236}">
                  <a16:creationId xmlns:a16="http://schemas.microsoft.com/office/drawing/2014/main" id="{3B2D6F4A-7145-4A2E-8053-FC5908457FB9}"/>
                </a:ext>
              </a:extLst>
            </p:cNvPr>
            <p:cNvSpPr/>
            <p:nvPr/>
          </p:nvSpPr>
          <p:spPr>
            <a:xfrm>
              <a:off x="8157388" y="6186987"/>
              <a:ext cx="4445" cy="13970"/>
            </a:xfrm>
            <a:custGeom>
              <a:avLst/>
              <a:gdLst/>
              <a:ahLst/>
              <a:cxnLst/>
              <a:rect l="l" t="t" r="r" b="b"/>
              <a:pathLst>
                <a:path w="4445" h="13970">
                  <a:moveTo>
                    <a:pt x="390" y="10265"/>
                  </a:moveTo>
                  <a:lnTo>
                    <a:pt x="12" y="11849"/>
                  </a:lnTo>
                  <a:lnTo>
                    <a:pt x="1473" y="13817"/>
                  </a:lnTo>
                  <a:lnTo>
                    <a:pt x="1841" y="12166"/>
                  </a:lnTo>
                  <a:lnTo>
                    <a:pt x="1358" y="11569"/>
                  </a:lnTo>
                  <a:lnTo>
                    <a:pt x="390" y="10265"/>
                  </a:lnTo>
                  <a:close/>
                </a:path>
                <a:path w="4445" h="13970">
                  <a:moveTo>
                    <a:pt x="679" y="9051"/>
                  </a:moveTo>
                  <a:lnTo>
                    <a:pt x="0" y="9740"/>
                  </a:lnTo>
                  <a:lnTo>
                    <a:pt x="390" y="10265"/>
                  </a:lnTo>
                  <a:lnTo>
                    <a:pt x="679" y="9051"/>
                  </a:lnTo>
                  <a:close/>
                </a:path>
                <a:path w="4445" h="13970">
                  <a:moveTo>
                    <a:pt x="3987" y="0"/>
                  </a:moveTo>
                  <a:lnTo>
                    <a:pt x="2158" y="1358"/>
                  </a:lnTo>
                  <a:lnTo>
                    <a:pt x="1546" y="4914"/>
                  </a:lnTo>
                  <a:lnTo>
                    <a:pt x="863" y="8280"/>
                  </a:lnTo>
                  <a:lnTo>
                    <a:pt x="679" y="9051"/>
                  </a:lnTo>
                  <a:lnTo>
                    <a:pt x="888" y="8839"/>
                  </a:lnTo>
                  <a:lnTo>
                    <a:pt x="2781" y="7429"/>
                  </a:lnTo>
                  <a:lnTo>
                    <a:pt x="3273" y="4775"/>
                  </a:lnTo>
                  <a:lnTo>
                    <a:pt x="3644" y="2438"/>
                  </a:lnTo>
                  <a:lnTo>
                    <a:pt x="3987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5" name="object 687">
              <a:extLst>
                <a:ext uri="{FF2B5EF4-FFF2-40B4-BE49-F238E27FC236}">
                  <a16:creationId xmlns:a16="http://schemas.microsoft.com/office/drawing/2014/main" id="{8E5110EE-A1AA-416A-898E-FE3EA4376BDC}"/>
                </a:ext>
              </a:extLst>
            </p:cNvPr>
            <p:cNvSpPr/>
            <p:nvPr/>
          </p:nvSpPr>
          <p:spPr>
            <a:xfrm>
              <a:off x="8155956" y="6188346"/>
              <a:ext cx="3810" cy="10795"/>
            </a:xfrm>
            <a:custGeom>
              <a:avLst/>
              <a:gdLst/>
              <a:ahLst/>
              <a:cxnLst/>
              <a:rect l="l" t="t" r="r" b="b"/>
              <a:pathLst>
                <a:path w="3809" h="10795">
                  <a:moveTo>
                    <a:pt x="3594" y="0"/>
                  </a:moveTo>
                  <a:lnTo>
                    <a:pt x="1612" y="1473"/>
                  </a:lnTo>
                  <a:lnTo>
                    <a:pt x="1142" y="3797"/>
                  </a:lnTo>
                  <a:lnTo>
                    <a:pt x="609" y="6159"/>
                  </a:lnTo>
                  <a:lnTo>
                    <a:pt x="0" y="8547"/>
                  </a:lnTo>
                  <a:lnTo>
                    <a:pt x="1447" y="10490"/>
                  </a:lnTo>
                  <a:lnTo>
                    <a:pt x="2285" y="6921"/>
                  </a:lnTo>
                  <a:lnTo>
                    <a:pt x="3009" y="3416"/>
                  </a:lnTo>
                  <a:lnTo>
                    <a:pt x="3594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6" name="object 688">
              <a:extLst>
                <a:ext uri="{FF2B5EF4-FFF2-40B4-BE49-F238E27FC236}">
                  <a16:creationId xmlns:a16="http://schemas.microsoft.com/office/drawing/2014/main" id="{CBDCB06C-0EBB-4268-B043-2DE3CE34E9A2}"/>
                </a:ext>
              </a:extLst>
            </p:cNvPr>
            <p:cNvSpPr/>
            <p:nvPr/>
          </p:nvSpPr>
          <p:spPr>
            <a:xfrm>
              <a:off x="8154532" y="6189822"/>
              <a:ext cx="3175" cy="7620"/>
            </a:xfrm>
            <a:custGeom>
              <a:avLst/>
              <a:gdLst/>
              <a:ahLst/>
              <a:cxnLst/>
              <a:rect l="l" t="t" r="r" b="b"/>
              <a:pathLst>
                <a:path w="3175" h="7620">
                  <a:moveTo>
                    <a:pt x="3035" y="0"/>
                  </a:moveTo>
                  <a:lnTo>
                    <a:pt x="1816" y="901"/>
                  </a:lnTo>
                  <a:lnTo>
                    <a:pt x="1498" y="1142"/>
                  </a:lnTo>
                  <a:lnTo>
                    <a:pt x="1206" y="1333"/>
                  </a:lnTo>
                  <a:lnTo>
                    <a:pt x="914" y="1473"/>
                  </a:lnTo>
                  <a:lnTo>
                    <a:pt x="330" y="3911"/>
                  </a:lnTo>
                  <a:lnTo>
                    <a:pt x="0" y="5156"/>
                  </a:lnTo>
                  <a:lnTo>
                    <a:pt x="1422" y="7073"/>
                  </a:lnTo>
                  <a:lnTo>
                    <a:pt x="2032" y="4686"/>
                  </a:lnTo>
                  <a:lnTo>
                    <a:pt x="2565" y="2324"/>
                  </a:lnTo>
                  <a:lnTo>
                    <a:pt x="3035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7" name="object 689">
              <a:extLst>
                <a:ext uri="{FF2B5EF4-FFF2-40B4-BE49-F238E27FC236}">
                  <a16:creationId xmlns:a16="http://schemas.microsoft.com/office/drawing/2014/main" id="{008425DE-C29A-4956-BC23-F1D55172813A}"/>
                </a:ext>
              </a:extLst>
            </p:cNvPr>
            <p:cNvSpPr/>
            <p:nvPr/>
          </p:nvSpPr>
          <p:spPr>
            <a:xfrm>
              <a:off x="8153117" y="6191291"/>
              <a:ext cx="2540" cy="3810"/>
            </a:xfrm>
            <a:custGeom>
              <a:avLst/>
              <a:gdLst/>
              <a:ahLst/>
              <a:cxnLst/>
              <a:rect l="l" t="t" r="r" b="b"/>
              <a:pathLst>
                <a:path w="2540" h="3809">
                  <a:moveTo>
                    <a:pt x="2336" y="0"/>
                  </a:moveTo>
                  <a:lnTo>
                    <a:pt x="1638" y="342"/>
                  </a:lnTo>
                  <a:lnTo>
                    <a:pt x="1041" y="381"/>
                  </a:lnTo>
                  <a:lnTo>
                    <a:pt x="469" y="88"/>
                  </a:lnTo>
                  <a:lnTo>
                    <a:pt x="330" y="647"/>
                  </a:lnTo>
                  <a:lnTo>
                    <a:pt x="152" y="1219"/>
                  </a:lnTo>
                  <a:lnTo>
                    <a:pt x="0" y="1790"/>
                  </a:lnTo>
                  <a:lnTo>
                    <a:pt x="1409" y="3683"/>
                  </a:lnTo>
                  <a:lnTo>
                    <a:pt x="1739" y="2438"/>
                  </a:lnTo>
                  <a:lnTo>
                    <a:pt x="2044" y="1219"/>
                  </a:lnTo>
                  <a:lnTo>
                    <a:pt x="2336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8" name="object 690">
              <a:extLst>
                <a:ext uri="{FF2B5EF4-FFF2-40B4-BE49-F238E27FC236}">
                  <a16:creationId xmlns:a16="http://schemas.microsoft.com/office/drawing/2014/main" id="{8FDA99C2-6195-4296-B195-D4F5D2186DC1}"/>
                </a:ext>
              </a:extLst>
            </p:cNvPr>
            <p:cNvSpPr/>
            <p:nvPr/>
          </p:nvSpPr>
          <p:spPr>
            <a:xfrm>
              <a:off x="8151728" y="6189990"/>
              <a:ext cx="1905" cy="3175"/>
            </a:xfrm>
            <a:custGeom>
              <a:avLst/>
              <a:gdLst/>
              <a:ahLst/>
              <a:cxnLst/>
              <a:rect l="l" t="t" r="r" b="b"/>
              <a:pathLst>
                <a:path w="1904" h="3175">
                  <a:moveTo>
                    <a:pt x="406" y="0"/>
                  </a:moveTo>
                  <a:lnTo>
                    <a:pt x="0" y="1219"/>
                  </a:lnTo>
                  <a:lnTo>
                    <a:pt x="1384" y="3086"/>
                  </a:lnTo>
                  <a:lnTo>
                    <a:pt x="1714" y="1955"/>
                  </a:lnTo>
                  <a:lnTo>
                    <a:pt x="1854" y="1384"/>
                  </a:lnTo>
                  <a:lnTo>
                    <a:pt x="1384" y="1155"/>
                  </a:lnTo>
                  <a:lnTo>
                    <a:pt x="927" y="685"/>
                  </a:lnTo>
                  <a:lnTo>
                    <a:pt x="406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99" name="object 691">
              <a:extLst>
                <a:ext uri="{FF2B5EF4-FFF2-40B4-BE49-F238E27FC236}">
                  <a16:creationId xmlns:a16="http://schemas.microsoft.com/office/drawing/2014/main" id="{40C5CFBD-41DB-4E94-901B-C312B7206F9F}"/>
                </a:ext>
              </a:extLst>
            </p:cNvPr>
            <p:cNvSpPr/>
            <p:nvPr/>
          </p:nvSpPr>
          <p:spPr>
            <a:xfrm>
              <a:off x="8151291" y="6190052"/>
              <a:ext cx="1270" cy="1270"/>
            </a:xfrm>
            <a:custGeom>
              <a:avLst/>
              <a:gdLst/>
              <a:ahLst/>
              <a:cxnLst/>
              <a:rect l="l" t="t" r="r" b="b"/>
              <a:pathLst>
                <a:path w="1270" h="1270">
                  <a:moveTo>
                    <a:pt x="774" y="0"/>
                  </a:moveTo>
                  <a:lnTo>
                    <a:pt x="0" y="571"/>
                  </a:lnTo>
                  <a:lnTo>
                    <a:pt x="431" y="1155"/>
                  </a:lnTo>
                  <a:lnTo>
                    <a:pt x="546" y="774"/>
                  </a:lnTo>
                  <a:lnTo>
                    <a:pt x="660" y="380"/>
                  </a:lnTo>
                  <a:lnTo>
                    <a:pt x="774" y="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0" name="object 692">
              <a:extLst>
                <a:ext uri="{FF2B5EF4-FFF2-40B4-BE49-F238E27FC236}">
                  <a16:creationId xmlns:a16="http://schemas.microsoft.com/office/drawing/2014/main" id="{9FC2E021-D490-41BA-9A1A-15589AE95350}"/>
                </a:ext>
              </a:extLst>
            </p:cNvPr>
            <p:cNvSpPr/>
            <p:nvPr/>
          </p:nvSpPr>
          <p:spPr>
            <a:xfrm>
              <a:off x="8188488" y="6203817"/>
              <a:ext cx="3175" cy="15240"/>
            </a:xfrm>
            <a:custGeom>
              <a:avLst/>
              <a:gdLst/>
              <a:ahLst/>
              <a:cxnLst/>
              <a:rect l="l" t="t" r="r" b="b"/>
              <a:pathLst>
                <a:path w="3175" h="15240">
                  <a:moveTo>
                    <a:pt x="0" y="0"/>
                  </a:moveTo>
                  <a:lnTo>
                    <a:pt x="419" y="3492"/>
                  </a:lnTo>
                  <a:lnTo>
                    <a:pt x="1397" y="5422"/>
                  </a:lnTo>
                  <a:lnTo>
                    <a:pt x="1638" y="6997"/>
                  </a:lnTo>
                  <a:lnTo>
                    <a:pt x="901" y="8267"/>
                  </a:lnTo>
                  <a:lnTo>
                    <a:pt x="1092" y="10490"/>
                  </a:lnTo>
                  <a:lnTo>
                    <a:pt x="1371" y="14986"/>
                  </a:lnTo>
                  <a:lnTo>
                    <a:pt x="1917" y="14681"/>
                  </a:lnTo>
                  <a:lnTo>
                    <a:pt x="2400" y="14287"/>
                  </a:lnTo>
                  <a:lnTo>
                    <a:pt x="2794" y="13830"/>
                  </a:lnTo>
                  <a:lnTo>
                    <a:pt x="2514" y="10248"/>
                  </a:lnTo>
                  <a:lnTo>
                    <a:pt x="2159" y="6731"/>
                  </a:lnTo>
                  <a:lnTo>
                    <a:pt x="1714" y="326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1" name="object 693">
              <a:extLst>
                <a:ext uri="{FF2B5EF4-FFF2-40B4-BE49-F238E27FC236}">
                  <a16:creationId xmlns:a16="http://schemas.microsoft.com/office/drawing/2014/main" id="{AD8A5823-EF5F-48F8-A98B-026FC11D2337}"/>
                </a:ext>
              </a:extLst>
            </p:cNvPr>
            <p:cNvSpPr/>
            <p:nvPr/>
          </p:nvSpPr>
          <p:spPr>
            <a:xfrm>
              <a:off x="8186788" y="6200613"/>
              <a:ext cx="3175" cy="19050"/>
            </a:xfrm>
            <a:custGeom>
              <a:avLst/>
              <a:gdLst/>
              <a:ahLst/>
              <a:cxnLst/>
              <a:rect l="l" t="t" r="r" b="b"/>
              <a:pathLst>
                <a:path w="3175" h="19050">
                  <a:moveTo>
                    <a:pt x="2120" y="6705"/>
                  </a:moveTo>
                  <a:lnTo>
                    <a:pt x="1841" y="4368"/>
                  </a:lnTo>
                  <a:lnTo>
                    <a:pt x="1689" y="3213"/>
                  </a:lnTo>
                  <a:lnTo>
                    <a:pt x="0" y="0"/>
                  </a:lnTo>
                  <a:lnTo>
                    <a:pt x="228" y="1701"/>
                  </a:lnTo>
                  <a:lnTo>
                    <a:pt x="431" y="3416"/>
                  </a:lnTo>
                  <a:lnTo>
                    <a:pt x="609" y="5130"/>
                  </a:lnTo>
                  <a:lnTo>
                    <a:pt x="1104" y="5194"/>
                  </a:lnTo>
                  <a:lnTo>
                    <a:pt x="1536" y="5588"/>
                  </a:lnTo>
                  <a:lnTo>
                    <a:pt x="2019" y="6515"/>
                  </a:lnTo>
                  <a:lnTo>
                    <a:pt x="2120" y="6705"/>
                  </a:lnTo>
                  <a:close/>
                </a:path>
                <a:path w="3175" h="19050">
                  <a:moveTo>
                    <a:pt x="3073" y="18199"/>
                  </a:moveTo>
                  <a:lnTo>
                    <a:pt x="2946" y="15938"/>
                  </a:lnTo>
                  <a:lnTo>
                    <a:pt x="2603" y="11480"/>
                  </a:lnTo>
                  <a:lnTo>
                    <a:pt x="2311" y="11976"/>
                  </a:lnTo>
                  <a:lnTo>
                    <a:pt x="1866" y="12420"/>
                  </a:lnTo>
                  <a:lnTo>
                    <a:pt x="1257" y="12827"/>
                  </a:lnTo>
                  <a:lnTo>
                    <a:pt x="1384" y="14795"/>
                  </a:lnTo>
                  <a:lnTo>
                    <a:pt x="1485" y="16776"/>
                  </a:lnTo>
                  <a:lnTo>
                    <a:pt x="1549" y="18783"/>
                  </a:lnTo>
                  <a:lnTo>
                    <a:pt x="2006" y="18681"/>
                  </a:lnTo>
                  <a:lnTo>
                    <a:pt x="2451" y="18529"/>
                  </a:lnTo>
                  <a:lnTo>
                    <a:pt x="2971" y="18262"/>
                  </a:lnTo>
                  <a:close/>
                </a:path>
              </a:pathLst>
            </a:custGeom>
            <a:solidFill>
              <a:srgbClr val="DD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2" name="object 694">
              <a:extLst>
                <a:ext uri="{FF2B5EF4-FFF2-40B4-BE49-F238E27FC236}">
                  <a16:creationId xmlns:a16="http://schemas.microsoft.com/office/drawing/2014/main" id="{18C0BEE3-E91A-4F23-A850-E2BA86C39B34}"/>
                </a:ext>
              </a:extLst>
            </p:cNvPr>
            <p:cNvSpPr/>
            <p:nvPr/>
          </p:nvSpPr>
          <p:spPr>
            <a:xfrm>
              <a:off x="8185137" y="6197464"/>
              <a:ext cx="3810" cy="22225"/>
            </a:xfrm>
            <a:custGeom>
              <a:avLst/>
              <a:gdLst/>
              <a:ahLst/>
              <a:cxnLst/>
              <a:rect l="l" t="t" r="r" b="b"/>
              <a:pathLst>
                <a:path w="3809" h="22225">
                  <a:moveTo>
                    <a:pt x="2260" y="8280"/>
                  </a:moveTo>
                  <a:lnTo>
                    <a:pt x="2082" y="6553"/>
                  </a:lnTo>
                  <a:lnTo>
                    <a:pt x="1663" y="3149"/>
                  </a:lnTo>
                  <a:lnTo>
                    <a:pt x="0" y="0"/>
                  </a:lnTo>
                  <a:lnTo>
                    <a:pt x="368" y="2832"/>
                  </a:lnTo>
                  <a:lnTo>
                    <a:pt x="685" y="5702"/>
                  </a:lnTo>
                  <a:lnTo>
                    <a:pt x="939" y="8623"/>
                  </a:lnTo>
                  <a:lnTo>
                    <a:pt x="1460" y="8369"/>
                  </a:lnTo>
                  <a:lnTo>
                    <a:pt x="1879" y="8229"/>
                  </a:lnTo>
                  <a:lnTo>
                    <a:pt x="2260" y="8280"/>
                  </a:lnTo>
                  <a:close/>
                </a:path>
                <a:path w="3809" h="22225">
                  <a:moveTo>
                    <a:pt x="3200" y="21932"/>
                  </a:moveTo>
                  <a:lnTo>
                    <a:pt x="3136" y="19926"/>
                  </a:lnTo>
                  <a:lnTo>
                    <a:pt x="3035" y="17945"/>
                  </a:lnTo>
                  <a:lnTo>
                    <a:pt x="2908" y="15976"/>
                  </a:lnTo>
                  <a:lnTo>
                    <a:pt x="2705" y="16116"/>
                  </a:lnTo>
                  <a:lnTo>
                    <a:pt x="2260" y="16370"/>
                  </a:lnTo>
                  <a:lnTo>
                    <a:pt x="1714" y="16637"/>
                  </a:lnTo>
                  <a:lnTo>
                    <a:pt x="1460" y="16738"/>
                  </a:lnTo>
                  <a:lnTo>
                    <a:pt x="1536" y="18478"/>
                  </a:lnTo>
                  <a:lnTo>
                    <a:pt x="1587" y="20231"/>
                  </a:lnTo>
                  <a:lnTo>
                    <a:pt x="1625" y="21996"/>
                  </a:lnTo>
                  <a:lnTo>
                    <a:pt x="2133" y="22059"/>
                  </a:lnTo>
                  <a:lnTo>
                    <a:pt x="2667" y="22047"/>
                  </a:lnTo>
                  <a:lnTo>
                    <a:pt x="3200" y="21932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3" name="object 695">
              <a:extLst>
                <a:ext uri="{FF2B5EF4-FFF2-40B4-BE49-F238E27FC236}">
                  <a16:creationId xmlns:a16="http://schemas.microsoft.com/office/drawing/2014/main" id="{6E2E40B3-A320-4A5A-B28A-BA76C5123026}"/>
                </a:ext>
              </a:extLst>
            </p:cNvPr>
            <p:cNvSpPr/>
            <p:nvPr/>
          </p:nvSpPr>
          <p:spPr>
            <a:xfrm>
              <a:off x="8184070" y="6197210"/>
              <a:ext cx="3175" cy="22860"/>
            </a:xfrm>
            <a:custGeom>
              <a:avLst/>
              <a:gdLst/>
              <a:ahLst/>
              <a:cxnLst/>
              <a:rect l="l" t="t" r="r" b="b"/>
              <a:pathLst>
                <a:path w="3175" h="22859">
                  <a:moveTo>
                    <a:pt x="2006" y="8877"/>
                  </a:moveTo>
                  <a:lnTo>
                    <a:pt x="1752" y="5956"/>
                  </a:lnTo>
                  <a:lnTo>
                    <a:pt x="1435" y="3086"/>
                  </a:lnTo>
                  <a:lnTo>
                    <a:pt x="1066" y="254"/>
                  </a:lnTo>
                  <a:lnTo>
                    <a:pt x="927" y="0"/>
                  </a:lnTo>
                  <a:lnTo>
                    <a:pt x="0" y="495"/>
                  </a:lnTo>
                  <a:lnTo>
                    <a:pt x="749" y="1905"/>
                  </a:lnTo>
                  <a:lnTo>
                    <a:pt x="850" y="2844"/>
                  </a:lnTo>
                  <a:lnTo>
                    <a:pt x="177" y="3619"/>
                  </a:lnTo>
                  <a:lnTo>
                    <a:pt x="368" y="5588"/>
                  </a:lnTo>
                  <a:lnTo>
                    <a:pt x="660" y="9575"/>
                  </a:lnTo>
                  <a:lnTo>
                    <a:pt x="1397" y="9182"/>
                  </a:lnTo>
                  <a:lnTo>
                    <a:pt x="2006" y="8877"/>
                  </a:lnTo>
                  <a:close/>
                </a:path>
                <a:path w="3175" h="22859">
                  <a:moveTo>
                    <a:pt x="2679" y="22250"/>
                  </a:moveTo>
                  <a:lnTo>
                    <a:pt x="2641" y="20485"/>
                  </a:lnTo>
                  <a:lnTo>
                    <a:pt x="2590" y="18732"/>
                  </a:lnTo>
                  <a:lnTo>
                    <a:pt x="2527" y="16992"/>
                  </a:lnTo>
                  <a:lnTo>
                    <a:pt x="1993" y="17208"/>
                  </a:lnTo>
                  <a:lnTo>
                    <a:pt x="1485" y="17335"/>
                  </a:lnTo>
                  <a:lnTo>
                    <a:pt x="1003" y="17386"/>
                  </a:lnTo>
                  <a:lnTo>
                    <a:pt x="1041" y="18834"/>
                  </a:lnTo>
                  <a:lnTo>
                    <a:pt x="1066" y="21767"/>
                  </a:lnTo>
                  <a:lnTo>
                    <a:pt x="1587" y="22021"/>
                  </a:lnTo>
                  <a:lnTo>
                    <a:pt x="2120" y="22186"/>
                  </a:lnTo>
                  <a:lnTo>
                    <a:pt x="2679" y="2225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4" name="object 696">
              <a:extLst>
                <a:ext uri="{FF2B5EF4-FFF2-40B4-BE49-F238E27FC236}">
                  <a16:creationId xmlns:a16="http://schemas.microsoft.com/office/drawing/2014/main" id="{8A06F597-A4B4-49B7-99AD-BE1EFAE8D4B8}"/>
                </a:ext>
              </a:extLst>
            </p:cNvPr>
            <p:cNvSpPr/>
            <p:nvPr/>
          </p:nvSpPr>
          <p:spPr>
            <a:xfrm>
              <a:off x="8182991" y="6200842"/>
              <a:ext cx="2540" cy="18415"/>
            </a:xfrm>
            <a:custGeom>
              <a:avLst/>
              <a:gdLst/>
              <a:ahLst/>
              <a:cxnLst/>
              <a:rect l="l" t="t" r="r" b="b"/>
              <a:pathLst>
                <a:path w="2540" h="18415">
                  <a:moveTo>
                    <a:pt x="1739" y="5943"/>
                  </a:moveTo>
                  <a:lnTo>
                    <a:pt x="1612" y="3937"/>
                  </a:lnTo>
                  <a:lnTo>
                    <a:pt x="1447" y="1955"/>
                  </a:lnTo>
                  <a:lnTo>
                    <a:pt x="1257" y="0"/>
                  </a:lnTo>
                  <a:lnTo>
                    <a:pt x="977" y="330"/>
                  </a:lnTo>
                  <a:lnTo>
                    <a:pt x="558" y="635"/>
                  </a:lnTo>
                  <a:lnTo>
                    <a:pt x="0" y="927"/>
                  </a:lnTo>
                  <a:lnTo>
                    <a:pt x="139" y="2832"/>
                  </a:lnTo>
                  <a:lnTo>
                    <a:pt x="254" y="4749"/>
                  </a:lnTo>
                  <a:lnTo>
                    <a:pt x="342" y="6680"/>
                  </a:lnTo>
                  <a:lnTo>
                    <a:pt x="1739" y="5943"/>
                  </a:lnTo>
                  <a:close/>
                </a:path>
                <a:path w="2540" h="18415">
                  <a:moveTo>
                    <a:pt x="2146" y="18135"/>
                  </a:moveTo>
                  <a:lnTo>
                    <a:pt x="2120" y="15201"/>
                  </a:lnTo>
                  <a:lnTo>
                    <a:pt x="2082" y="13754"/>
                  </a:lnTo>
                  <a:lnTo>
                    <a:pt x="1536" y="13804"/>
                  </a:lnTo>
                  <a:lnTo>
                    <a:pt x="1016" y="13741"/>
                  </a:lnTo>
                  <a:lnTo>
                    <a:pt x="508" y="13550"/>
                  </a:lnTo>
                  <a:lnTo>
                    <a:pt x="520" y="14732"/>
                  </a:lnTo>
                  <a:lnTo>
                    <a:pt x="520" y="15913"/>
                  </a:lnTo>
                  <a:lnTo>
                    <a:pt x="508" y="17106"/>
                  </a:lnTo>
                  <a:lnTo>
                    <a:pt x="1016" y="17513"/>
                  </a:lnTo>
                  <a:lnTo>
                    <a:pt x="1562" y="17881"/>
                  </a:lnTo>
                  <a:lnTo>
                    <a:pt x="2146" y="18135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5" name="object 697">
              <a:extLst>
                <a:ext uri="{FF2B5EF4-FFF2-40B4-BE49-F238E27FC236}">
                  <a16:creationId xmlns:a16="http://schemas.microsoft.com/office/drawing/2014/main" id="{BEFDDA6D-F2E2-40CB-8E77-718F196E06D4}"/>
                </a:ext>
              </a:extLst>
            </p:cNvPr>
            <p:cNvSpPr/>
            <p:nvPr/>
          </p:nvSpPr>
          <p:spPr>
            <a:xfrm>
              <a:off x="8180082" y="6201756"/>
              <a:ext cx="3810" cy="17780"/>
            </a:xfrm>
            <a:custGeom>
              <a:avLst/>
              <a:gdLst/>
              <a:ahLst/>
              <a:cxnLst/>
              <a:rect l="l" t="t" r="r" b="b"/>
              <a:pathLst>
                <a:path w="3809" h="17779">
                  <a:moveTo>
                    <a:pt x="3238" y="5753"/>
                  </a:moveTo>
                  <a:lnTo>
                    <a:pt x="3149" y="3822"/>
                  </a:lnTo>
                  <a:lnTo>
                    <a:pt x="3035" y="1905"/>
                  </a:lnTo>
                  <a:lnTo>
                    <a:pt x="2895" y="0"/>
                  </a:lnTo>
                  <a:lnTo>
                    <a:pt x="1739" y="622"/>
                  </a:lnTo>
                  <a:lnTo>
                    <a:pt x="1739" y="4559"/>
                  </a:lnTo>
                  <a:lnTo>
                    <a:pt x="1663" y="2628"/>
                  </a:lnTo>
                  <a:lnTo>
                    <a:pt x="1739" y="4559"/>
                  </a:lnTo>
                  <a:lnTo>
                    <a:pt x="1739" y="622"/>
                  </a:lnTo>
                  <a:lnTo>
                    <a:pt x="1562" y="711"/>
                  </a:lnTo>
                  <a:lnTo>
                    <a:pt x="165" y="1447"/>
                  </a:lnTo>
                  <a:lnTo>
                    <a:pt x="228" y="3390"/>
                  </a:lnTo>
                  <a:lnTo>
                    <a:pt x="266" y="5346"/>
                  </a:lnTo>
                  <a:lnTo>
                    <a:pt x="266" y="7327"/>
                  </a:lnTo>
                  <a:lnTo>
                    <a:pt x="1790" y="6527"/>
                  </a:lnTo>
                  <a:lnTo>
                    <a:pt x="3238" y="5753"/>
                  </a:lnTo>
                  <a:close/>
                </a:path>
                <a:path w="3809" h="17779">
                  <a:moveTo>
                    <a:pt x="3429" y="13817"/>
                  </a:moveTo>
                  <a:lnTo>
                    <a:pt x="3416" y="12636"/>
                  </a:lnTo>
                  <a:lnTo>
                    <a:pt x="2882" y="12433"/>
                  </a:lnTo>
                  <a:lnTo>
                    <a:pt x="2349" y="12103"/>
                  </a:lnTo>
                  <a:lnTo>
                    <a:pt x="1828" y="11607"/>
                  </a:lnTo>
                  <a:lnTo>
                    <a:pt x="1828" y="12573"/>
                  </a:lnTo>
                  <a:lnTo>
                    <a:pt x="1816" y="13563"/>
                  </a:lnTo>
                  <a:lnTo>
                    <a:pt x="1828" y="12573"/>
                  </a:lnTo>
                  <a:lnTo>
                    <a:pt x="1828" y="11607"/>
                  </a:lnTo>
                  <a:lnTo>
                    <a:pt x="1308" y="11074"/>
                  </a:lnTo>
                  <a:lnTo>
                    <a:pt x="787" y="10401"/>
                  </a:lnTo>
                  <a:lnTo>
                    <a:pt x="254" y="9550"/>
                  </a:lnTo>
                  <a:lnTo>
                    <a:pt x="228" y="12204"/>
                  </a:lnTo>
                  <a:lnTo>
                    <a:pt x="139" y="14897"/>
                  </a:lnTo>
                  <a:lnTo>
                    <a:pt x="0" y="17614"/>
                  </a:lnTo>
                  <a:lnTo>
                    <a:pt x="762" y="16522"/>
                  </a:lnTo>
                  <a:lnTo>
                    <a:pt x="1511" y="15557"/>
                  </a:lnTo>
                  <a:lnTo>
                    <a:pt x="1651" y="14363"/>
                  </a:lnTo>
                  <a:lnTo>
                    <a:pt x="1790" y="14528"/>
                  </a:lnTo>
                  <a:lnTo>
                    <a:pt x="2286" y="15151"/>
                  </a:lnTo>
                  <a:lnTo>
                    <a:pt x="2832" y="15709"/>
                  </a:lnTo>
                  <a:lnTo>
                    <a:pt x="3416" y="16192"/>
                  </a:lnTo>
                  <a:lnTo>
                    <a:pt x="3429" y="14998"/>
                  </a:lnTo>
                  <a:lnTo>
                    <a:pt x="3429" y="13817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6" name="object 698">
              <a:extLst>
                <a:ext uri="{FF2B5EF4-FFF2-40B4-BE49-F238E27FC236}">
                  <a16:creationId xmlns:a16="http://schemas.microsoft.com/office/drawing/2014/main" id="{4509932C-5A22-4181-8DD5-4E16B51E2DC8}"/>
                </a:ext>
              </a:extLst>
            </p:cNvPr>
            <p:cNvSpPr/>
            <p:nvPr/>
          </p:nvSpPr>
          <p:spPr>
            <a:xfrm>
              <a:off x="8175295" y="6203217"/>
              <a:ext cx="5080" cy="26670"/>
            </a:xfrm>
            <a:custGeom>
              <a:avLst/>
              <a:gdLst/>
              <a:ahLst/>
              <a:cxnLst/>
              <a:rect l="l" t="t" r="r" b="b"/>
              <a:pathLst>
                <a:path w="5079" h="26670">
                  <a:moveTo>
                    <a:pt x="635" y="22174"/>
                  </a:moveTo>
                  <a:lnTo>
                    <a:pt x="0" y="23114"/>
                  </a:lnTo>
                  <a:lnTo>
                    <a:pt x="381" y="23990"/>
                  </a:lnTo>
                  <a:lnTo>
                    <a:pt x="635" y="22174"/>
                  </a:lnTo>
                  <a:close/>
                </a:path>
                <a:path w="5079" h="26670">
                  <a:moveTo>
                    <a:pt x="1117" y="25641"/>
                  </a:moveTo>
                  <a:lnTo>
                    <a:pt x="381" y="23990"/>
                  </a:lnTo>
                  <a:lnTo>
                    <a:pt x="165" y="25641"/>
                  </a:lnTo>
                  <a:lnTo>
                    <a:pt x="177" y="26136"/>
                  </a:lnTo>
                  <a:lnTo>
                    <a:pt x="1117" y="25641"/>
                  </a:lnTo>
                  <a:close/>
                </a:path>
                <a:path w="5079" h="26670">
                  <a:moveTo>
                    <a:pt x="5054" y="3886"/>
                  </a:moveTo>
                  <a:lnTo>
                    <a:pt x="5016" y="1930"/>
                  </a:lnTo>
                  <a:lnTo>
                    <a:pt x="4953" y="0"/>
                  </a:lnTo>
                  <a:lnTo>
                    <a:pt x="3530" y="749"/>
                  </a:lnTo>
                  <a:lnTo>
                    <a:pt x="3530" y="2717"/>
                  </a:lnTo>
                  <a:lnTo>
                    <a:pt x="3505" y="4051"/>
                  </a:lnTo>
                  <a:lnTo>
                    <a:pt x="3517" y="2717"/>
                  </a:lnTo>
                  <a:lnTo>
                    <a:pt x="3530" y="749"/>
                  </a:lnTo>
                  <a:lnTo>
                    <a:pt x="1981" y="1562"/>
                  </a:lnTo>
                  <a:lnTo>
                    <a:pt x="1955" y="3543"/>
                  </a:lnTo>
                  <a:lnTo>
                    <a:pt x="1905" y="5549"/>
                  </a:lnTo>
                  <a:lnTo>
                    <a:pt x="1803" y="7581"/>
                  </a:lnTo>
                  <a:lnTo>
                    <a:pt x="2755" y="7086"/>
                  </a:lnTo>
                  <a:lnTo>
                    <a:pt x="3327" y="8153"/>
                  </a:lnTo>
                  <a:lnTo>
                    <a:pt x="3416" y="8572"/>
                  </a:lnTo>
                  <a:lnTo>
                    <a:pt x="3390" y="9601"/>
                  </a:lnTo>
                  <a:lnTo>
                    <a:pt x="3378" y="10706"/>
                  </a:lnTo>
                  <a:lnTo>
                    <a:pt x="3302" y="12179"/>
                  </a:lnTo>
                  <a:lnTo>
                    <a:pt x="3390" y="9626"/>
                  </a:lnTo>
                  <a:lnTo>
                    <a:pt x="1536" y="12255"/>
                  </a:lnTo>
                  <a:lnTo>
                    <a:pt x="1231" y="16751"/>
                  </a:lnTo>
                  <a:lnTo>
                    <a:pt x="749" y="21336"/>
                  </a:lnTo>
                  <a:lnTo>
                    <a:pt x="635" y="22174"/>
                  </a:lnTo>
                  <a:lnTo>
                    <a:pt x="2819" y="18910"/>
                  </a:lnTo>
                  <a:lnTo>
                    <a:pt x="3175" y="14770"/>
                  </a:lnTo>
                  <a:lnTo>
                    <a:pt x="2819" y="18910"/>
                  </a:lnTo>
                  <a:lnTo>
                    <a:pt x="4787" y="16167"/>
                  </a:lnTo>
                  <a:lnTo>
                    <a:pt x="4927" y="13449"/>
                  </a:lnTo>
                  <a:lnTo>
                    <a:pt x="5016" y="10756"/>
                  </a:lnTo>
                  <a:lnTo>
                    <a:pt x="5041" y="8102"/>
                  </a:lnTo>
                  <a:lnTo>
                    <a:pt x="4597" y="7353"/>
                  </a:lnTo>
                  <a:lnTo>
                    <a:pt x="4368" y="6921"/>
                  </a:lnTo>
                  <a:lnTo>
                    <a:pt x="4076" y="6388"/>
                  </a:lnTo>
                  <a:lnTo>
                    <a:pt x="5054" y="5867"/>
                  </a:lnTo>
                  <a:lnTo>
                    <a:pt x="5054" y="3886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7" name="object 699">
              <a:extLst>
                <a:ext uri="{FF2B5EF4-FFF2-40B4-BE49-F238E27FC236}">
                  <a16:creationId xmlns:a16="http://schemas.microsoft.com/office/drawing/2014/main" id="{560E25D0-F827-4601-BCDA-BA08A47C8725}"/>
                </a:ext>
              </a:extLst>
            </p:cNvPr>
            <p:cNvSpPr/>
            <p:nvPr/>
          </p:nvSpPr>
          <p:spPr>
            <a:xfrm>
              <a:off x="8173822" y="6204766"/>
              <a:ext cx="3810" cy="24765"/>
            </a:xfrm>
            <a:custGeom>
              <a:avLst/>
              <a:gdLst/>
              <a:ahLst/>
              <a:cxnLst/>
              <a:rect l="l" t="t" r="r" b="b"/>
              <a:pathLst>
                <a:path w="3809" h="24765">
                  <a:moveTo>
                    <a:pt x="3009" y="10718"/>
                  </a:moveTo>
                  <a:lnTo>
                    <a:pt x="2362" y="11607"/>
                  </a:lnTo>
                  <a:lnTo>
                    <a:pt x="990" y="13436"/>
                  </a:lnTo>
                  <a:lnTo>
                    <a:pt x="711" y="16078"/>
                  </a:lnTo>
                  <a:lnTo>
                    <a:pt x="381" y="18757"/>
                  </a:lnTo>
                  <a:lnTo>
                    <a:pt x="0" y="21450"/>
                  </a:lnTo>
                  <a:lnTo>
                    <a:pt x="1574" y="24447"/>
                  </a:lnTo>
                  <a:lnTo>
                    <a:pt x="2222" y="19799"/>
                  </a:lnTo>
                  <a:lnTo>
                    <a:pt x="2692" y="15214"/>
                  </a:lnTo>
                  <a:lnTo>
                    <a:pt x="3009" y="10718"/>
                  </a:lnTo>
                  <a:close/>
                </a:path>
                <a:path w="3809" h="24765">
                  <a:moveTo>
                    <a:pt x="3467" y="0"/>
                  </a:moveTo>
                  <a:lnTo>
                    <a:pt x="1879" y="838"/>
                  </a:lnTo>
                  <a:lnTo>
                    <a:pt x="1803" y="2857"/>
                  </a:lnTo>
                  <a:lnTo>
                    <a:pt x="1701" y="4889"/>
                  </a:lnTo>
                  <a:lnTo>
                    <a:pt x="1549" y="6934"/>
                  </a:lnTo>
                  <a:lnTo>
                    <a:pt x="3289" y="6019"/>
                  </a:lnTo>
                  <a:lnTo>
                    <a:pt x="3378" y="4000"/>
                  </a:lnTo>
                  <a:lnTo>
                    <a:pt x="3441" y="1993"/>
                  </a:lnTo>
                  <a:lnTo>
                    <a:pt x="3467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8" name="object 700">
              <a:extLst>
                <a:ext uri="{FF2B5EF4-FFF2-40B4-BE49-F238E27FC236}">
                  <a16:creationId xmlns:a16="http://schemas.microsoft.com/office/drawing/2014/main" id="{E9CD714B-79DA-4705-893C-4799DF033035}"/>
                </a:ext>
              </a:extLst>
            </p:cNvPr>
            <p:cNvSpPr/>
            <p:nvPr/>
          </p:nvSpPr>
          <p:spPr>
            <a:xfrm>
              <a:off x="8172260" y="6205604"/>
              <a:ext cx="3810" cy="20955"/>
            </a:xfrm>
            <a:custGeom>
              <a:avLst/>
              <a:gdLst/>
              <a:ahLst/>
              <a:cxnLst/>
              <a:rect l="l" t="t" r="r" b="b"/>
              <a:pathLst>
                <a:path w="3809" h="20954">
                  <a:moveTo>
                    <a:pt x="2552" y="12598"/>
                  </a:moveTo>
                  <a:lnTo>
                    <a:pt x="1270" y="14300"/>
                  </a:lnTo>
                  <a:lnTo>
                    <a:pt x="622" y="15163"/>
                  </a:lnTo>
                  <a:lnTo>
                    <a:pt x="304" y="15608"/>
                  </a:lnTo>
                  <a:lnTo>
                    <a:pt x="0" y="17653"/>
                  </a:lnTo>
                  <a:lnTo>
                    <a:pt x="1562" y="20612"/>
                  </a:lnTo>
                  <a:lnTo>
                    <a:pt x="1943" y="17919"/>
                  </a:lnTo>
                  <a:lnTo>
                    <a:pt x="2273" y="15240"/>
                  </a:lnTo>
                  <a:lnTo>
                    <a:pt x="2552" y="12598"/>
                  </a:lnTo>
                  <a:close/>
                </a:path>
                <a:path w="3809" h="20954">
                  <a:moveTo>
                    <a:pt x="3441" y="0"/>
                  </a:moveTo>
                  <a:lnTo>
                    <a:pt x="1778" y="876"/>
                  </a:lnTo>
                  <a:lnTo>
                    <a:pt x="1651" y="2908"/>
                  </a:lnTo>
                  <a:lnTo>
                    <a:pt x="1485" y="4978"/>
                  </a:lnTo>
                  <a:lnTo>
                    <a:pt x="1295" y="7048"/>
                  </a:lnTo>
                  <a:lnTo>
                    <a:pt x="3111" y="6096"/>
                  </a:lnTo>
                  <a:lnTo>
                    <a:pt x="3263" y="4038"/>
                  </a:lnTo>
                  <a:lnTo>
                    <a:pt x="3365" y="2006"/>
                  </a:lnTo>
                  <a:lnTo>
                    <a:pt x="3441" y="0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09" name="object 701">
              <a:extLst>
                <a:ext uri="{FF2B5EF4-FFF2-40B4-BE49-F238E27FC236}">
                  <a16:creationId xmlns:a16="http://schemas.microsoft.com/office/drawing/2014/main" id="{9F98A635-AF2C-4A25-8FD0-57AF7829180C}"/>
                </a:ext>
              </a:extLst>
            </p:cNvPr>
            <p:cNvSpPr/>
            <p:nvPr/>
          </p:nvSpPr>
          <p:spPr>
            <a:xfrm>
              <a:off x="8171650" y="6206481"/>
              <a:ext cx="2540" cy="17145"/>
            </a:xfrm>
            <a:custGeom>
              <a:avLst/>
              <a:gdLst/>
              <a:ahLst/>
              <a:cxnLst/>
              <a:rect l="l" t="t" r="r" b="b"/>
              <a:pathLst>
                <a:path w="2540" h="17145">
                  <a:moveTo>
                    <a:pt x="901" y="14732"/>
                  </a:moveTo>
                  <a:lnTo>
                    <a:pt x="622" y="15100"/>
                  </a:lnTo>
                  <a:lnTo>
                    <a:pt x="368" y="15481"/>
                  </a:lnTo>
                  <a:lnTo>
                    <a:pt x="139" y="15887"/>
                  </a:lnTo>
                  <a:lnTo>
                    <a:pt x="609" y="16776"/>
                  </a:lnTo>
                  <a:lnTo>
                    <a:pt x="812" y="15417"/>
                  </a:lnTo>
                  <a:lnTo>
                    <a:pt x="901" y="14732"/>
                  </a:lnTo>
                  <a:close/>
                </a:path>
                <a:path w="2540" h="17145">
                  <a:moveTo>
                    <a:pt x="2387" y="0"/>
                  </a:moveTo>
                  <a:lnTo>
                    <a:pt x="647" y="914"/>
                  </a:lnTo>
                  <a:lnTo>
                    <a:pt x="469" y="2984"/>
                  </a:lnTo>
                  <a:lnTo>
                    <a:pt x="254" y="5080"/>
                  </a:lnTo>
                  <a:lnTo>
                    <a:pt x="0" y="7188"/>
                  </a:lnTo>
                  <a:lnTo>
                    <a:pt x="1905" y="6172"/>
                  </a:lnTo>
                  <a:lnTo>
                    <a:pt x="2095" y="4102"/>
                  </a:lnTo>
                  <a:lnTo>
                    <a:pt x="2260" y="2032"/>
                  </a:lnTo>
                  <a:lnTo>
                    <a:pt x="2387" y="0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0" name="object 702">
              <a:extLst>
                <a:ext uri="{FF2B5EF4-FFF2-40B4-BE49-F238E27FC236}">
                  <a16:creationId xmlns:a16="http://schemas.microsoft.com/office/drawing/2014/main" id="{9E1ED36C-6C01-4092-95A7-BB5DFADA068D}"/>
                </a:ext>
              </a:extLst>
            </p:cNvPr>
            <p:cNvSpPr/>
            <p:nvPr/>
          </p:nvSpPr>
          <p:spPr>
            <a:xfrm>
              <a:off x="8169233" y="6207391"/>
              <a:ext cx="3175" cy="11430"/>
            </a:xfrm>
            <a:custGeom>
              <a:avLst/>
              <a:gdLst/>
              <a:ahLst/>
              <a:cxnLst/>
              <a:rect l="l" t="t" r="r" b="b"/>
              <a:pathLst>
                <a:path w="3175" h="11429">
                  <a:moveTo>
                    <a:pt x="277" y="8363"/>
                  </a:moveTo>
                  <a:lnTo>
                    <a:pt x="0" y="10083"/>
                  </a:lnTo>
                  <a:lnTo>
                    <a:pt x="393" y="10833"/>
                  </a:lnTo>
                  <a:lnTo>
                    <a:pt x="1320" y="10350"/>
                  </a:lnTo>
                  <a:lnTo>
                    <a:pt x="277" y="8363"/>
                  </a:lnTo>
                  <a:close/>
                </a:path>
                <a:path w="3175" h="11429">
                  <a:moveTo>
                    <a:pt x="3060" y="0"/>
                  </a:moveTo>
                  <a:lnTo>
                    <a:pt x="1231" y="965"/>
                  </a:lnTo>
                  <a:lnTo>
                    <a:pt x="874" y="4165"/>
                  </a:lnTo>
                  <a:lnTo>
                    <a:pt x="448" y="7302"/>
                  </a:lnTo>
                  <a:lnTo>
                    <a:pt x="311" y="8149"/>
                  </a:lnTo>
                  <a:lnTo>
                    <a:pt x="507" y="7302"/>
                  </a:lnTo>
                  <a:lnTo>
                    <a:pt x="2412" y="6273"/>
                  </a:lnTo>
                  <a:lnTo>
                    <a:pt x="2687" y="3962"/>
                  </a:lnTo>
                  <a:lnTo>
                    <a:pt x="3060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1" name="object 703">
              <a:extLst>
                <a:ext uri="{FF2B5EF4-FFF2-40B4-BE49-F238E27FC236}">
                  <a16:creationId xmlns:a16="http://schemas.microsoft.com/office/drawing/2014/main" id="{61705C1F-A3C6-4A54-9E94-F7968A9C000C}"/>
                </a:ext>
              </a:extLst>
            </p:cNvPr>
            <p:cNvSpPr/>
            <p:nvPr/>
          </p:nvSpPr>
          <p:spPr>
            <a:xfrm>
              <a:off x="8167753" y="6208361"/>
              <a:ext cx="3175" cy="9525"/>
            </a:xfrm>
            <a:custGeom>
              <a:avLst/>
              <a:gdLst/>
              <a:ahLst/>
              <a:cxnLst/>
              <a:rect l="l" t="t" r="r" b="b"/>
              <a:pathLst>
                <a:path w="3175" h="9525">
                  <a:moveTo>
                    <a:pt x="2717" y="0"/>
                  </a:moveTo>
                  <a:lnTo>
                    <a:pt x="1524" y="622"/>
                  </a:lnTo>
                  <a:lnTo>
                    <a:pt x="1028" y="863"/>
                  </a:lnTo>
                  <a:lnTo>
                    <a:pt x="800" y="952"/>
                  </a:lnTo>
                  <a:lnTo>
                    <a:pt x="558" y="2730"/>
                  </a:lnTo>
                  <a:lnTo>
                    <a:pt x="292" y="4495"/>
                  </a:lnTo>
                  <a:lnTo>
                    <a:pt x="0" y="6299"/>
                  </a:lnTo>
                  <a:lnTo>
                    <a:pt x="1473" y="9118"/>
                  </a:lnTo>
                  <a:lnTo>
                    <a:pt x="1968" y="6032"/>
                  </a:lnTo>
                  <a:lnTo>
                    <a:pt x="2374" y="2997"/>
                  </a:lnTo>
                  <a:lnTo>
                    <a:pt x="2717" y="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2" name="object 704">
              <a:extLst>
                <a:ext uri="{FF2B5EF4-FFF2-40B4-BE49-F238E27FC236}">
                  <a16:creationId xmlns:a16="http://schemas.microsoft.com/office/drawing/2014/main" id="{4E7A9BE0-0E0F-4A1E-8E1B-5795E31DA749}"/>
                </a:ext>
              </a:extLst>
            </p:cNvPr>
            <p:cNvSpPr/>
            <p:nvPr/>
          </p:nvSpPr>
          <p:spPr>
            <a:xfrm>
              <a:off x="8166275" y="6209323"/>
              <a:ext cx="2540" cy="5715"/>
            </a:xfrm>
            <a:custGeom>
              <a:avLst/>
              <a:gdLst/>
              <a:ahLst/>
              <a:cxnLst/>
              <a:rect l="l" t="t" r="r" b="b"/>
              <a:pathLst>
                <a:path w="2540" h="5715">
                  <a:moveTo>
                    <a:pt x="2273" y="0"/>
                  </a:moveTo>
                  <a:lnTo>
                    <a:pt x="1536" y="279"/>
                  </a:lnTo>
                  <a:lnTo>
                    <a:pt x="939" y="304"/>
                  </a:lnTo>
                  <a:lnTo>
                    <a:pt x="419" y="38"/>
                  </a:lnTo>
                  <a:lnTo>
                    <a:pt x="292" y="876"/>
                  </a:lnTo>
                  <a:lnTo>
                    <a:pt x="152" y="1714"/>
                  </a:lnTo>
                  <a:lnTo>
                    <a:pt x="0" y="2552"/>
                  </a:lnTo>
                  <a:lnTo>
                    <a:pt x="1473" y="5334"/>
                  </a:lnTo>
                  <a:lnTo>
                    <a:pt x="1765" y="3530"/>
                  </a:lnTo>
                  <a:lnTo>
                    <a:pt x="2032" y="1765"/>
                  </a:lnTo>
                  <a:lnTo>
                    <a:pt x="2273" y="0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3" name="object 705">
              <a:extLst>
                <a:ext uri="{FF2B5EF4-FFF2-40B4-BE49-F238E27FC236}">
                  <a16:creationId xmlns:a16="http://schemas.microsoft.com/office/drawing/2014/main" id="{920907B8-BED6-46B4-850A-E5533DF71373}"/>
                </a:ext>
              </a:extLst>
            </p:cNvPr>
            <p:cNvSpPr/>
            <p:nvPr/>
          </p:nvSpPr>
          <p:spPr>
            <a:xfrm>
              <a:off x="8164834" y="6207613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393" y="0"/>
                  </a:moveTo>
                  <a:lnTo>
                    <a:pt x="266" y="63"/>
                  </a:lnTo>
                  <a:lnTo>
                    <a:pt x="177" y="558"/>
                  </a:lnTo>
                  <a:lnTo>
                    <a:pt x="101" y="1041"/>
                  </a:lnTo>
                  <a:lnTo>
                    <a:pt x="0" y="1536"/>
                  </a:lnTo>
                  <a:lnTo>
                    <a:pt x="1447" y="4267"/>
                  </a:lnTo>
                  <a:lnTo>
                    <a:pt x="1727" y="2578"/>
                  </a:lnTo>
                  <a:lnTo>
                    <a:pt x="1854" y="1752"/>
                  </a:lnTo>
                  <a:lnTo>
                    <a:pt x="1320" y="1473"/>
                  </a:lnTo>
                  <a:lnTo>
                    <a:pt x="863" y="901"/>
                  </a:lnTo>
                  <a:lnTo>
                    <a:pt x="393" y="0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4" name="object 706">
              <a:extLst>
                <a:ext uri="{FF2B5EF4-FFF2-40B4-BE49-F238E27FC236}">
                  <a16:creationId xmlns:a16="http://schemas.microsoft.com/office/drawing/2014/main" id="{5DEF757E-893C-4A03-92C9-D375C89AF4F4}"/>
                </a:ext>
              </a:extLst>
            </p:cNvPr>
            <p:cNvSpPr/>
            <p:nvPr/>
          </p:nvSpPr>
          <p:spPr>
            <a:xfrm>
              <a:off x="8164291" y="6207685"/>
              <a:ext cx="1270" cy="1905"/>
            </a:xfrm>
            <a:custGeom>
              <a:avLst/>
              <a:gdLst/>
              <a:ahLst/>
              <a:cxnLst/>
              <a:rect l="l" t="t" r="r" b="b"/>
              <a:pathLst>
                <a:path w="1270" h="1904">
                  <a:moveTo>
                    <a:pt x="800" y="0"/>
                  </a:moveTo>
                  <a:lnTo>
                    <a:pt x="0" y="419"/>
                  </a:lnTo>
                  <a:lnTo>
                    <a:pt x="546" y="1460"/>
                  </a:lnTo>
                  <a:lnTo>
                    <a:pt x="723" y="482"/>
                  </a:lnTo>
                  <a:lnTo>
                    <a:pt x="800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5" name="object 707">
              <a:extLst>
                <a:ext uri="{FF2B5EF4-FFF2-40B4-BE49-F238E27FC236}">
                  <a16:creationId xmlns:a16="http://schemas.microsoft.com/office/drawing/2014/main" id="{1FD2C1AB-9128-404D-A4D3-BBA6272E9ABF}"/>
                </a:ext>
              </a:extLst>
            </p:cNvPr>
            <p:cNvSpPr/>
            <p:nvPr/>
          </p:nvSpPr>
          <p:spPr>
            <a:xfrm>
              <a:off x="8189659" y="6223524"/>
              <a:ext cx="2540" cy="23495"/>
            </a:xfrm>
            <a:custGeom>
              <a:avLst/>
              <a:gdLst/>
              <a:ahLst/>
              <a:cxnLst/>
              <a:rect l="l" t="t" r="r" b="b"/>
              <a:pathLst>
                <a:path w="2540" h="23495">
                  <a:moveTo>
                    <a:pt x="1943" y="21361"/>
                  </a:moveTo>
                  <a:lnTo>
                    <a:pt x="279" y="16510"/>
                  </a:lnTo>
                  <a:lnTo>
                    <a:pt x="114" y="19850"/>
                  </a:lnTo>
                  <a:lnTo>
                    <a:pt x="0" y="21526"/>
                  </a:lnTo>
                  <a:lnTo>
                    <a:pt x="457" y="21831"/>
                  </a:lnTo>
                  <a:lnTo>
                    <a:pt x="863" y="22402"/>
                  </a:lnTo>
                  <a:lnTo>
                    <a:pt x="1320" y="23368"/>
                  </a:lnTo>
                  <a:lnTo>
                    <a:pt x="1841" y="23190"/>
                  </a:lnTo>
                  <a:lnTo>
                    <a:pt x="1917" y="21958"/>
                  </a:lnTo>
                  <a:lnTo>
                    <a:pt x="1943" y="21361"/>
                  </a:lnTo>
                  <a:close/>
                </a:path>
                <a:path w="2540" h="23495">
                  <a:moveTo>
                    <a:pt x="2159" y="4699"/>
                  </a:moveTo>
                  <a:lnTo>
                    <a:pt x="393" y="0"/>
                  </a:lnTo>
                  <a:lnTo>
                    <a:pt x="444" y="1663"/>
                  </a:lnTo>
                  <a:lnTo>
                    <a:pt x="482" y="3327"/>
                  </a:lnTo>
                  <a:lnTo>
                    <a:pt x="495" y="5003"/>
                  </a:lnTo>
                  <a:lnTo>
                    <a:pt x="1079" y="4864"/>
                  </a:lnTo>
                  <a:lnTo>
                    <a:pt x="1625" y="4775"/>
                  </a:lnTo>
                  <a:lnTo>
                    <a:pt x="2159" y="4699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6" name="object 708">
              <a:extLst>
                <a:ext uri="{FF2B5EF4-FFF2-40B4-BE49-F238E27FC236}">
                  <a16:creationId xmlns:a16="http://schemas.microsoft.com/office/drawing/2014/main" id="{C0BC0E5B-2526-45CA-BD17-16EC5631070F}"/>
                </a:ext>
              </a:extLst>
            </p:cNvPr>
            <p:cNvSpPr/>
            <p:nvPr/>
          </p:nvSpPr>
          <p:spPr>
            <a:xfrm>
              <a:off x="8187677" y="6223511"/>
              <a:ext cx="2540" cy="21590"/>
            </a:xfrm>
            <a:custGeom>
              <a:avLst/>
              <a:gdLst/>
              <a:ahLst/>
              <a:cxnLst/>
              <a:rect l="l" t="t" r="r" b="b"/>
              <a:pathLst>
                <a:path w="2540" h="21590">
                  <a:moveTo>
                    <a:pt x="2260" y="16522"/>
                  </a:moveTo>
                  <a:lnTo>
                    <a:pt x="952" y="12725"/>
                  </a:lnTo>
                  <a:lnTo>
                    <a:pt x="558" y="12865"/>
                  </a:lnTo>
                  <a:lnTo>
                    <a:pt x="431" y="15709"/>
                  </a:lnTo>
                  <a:lnTo>
                    <a:pt x="241" y="18580"/>
                  </a:lnTo>
                  <a:lnTo>
                    <a:pt x="0" y="21475"/>
                  </a:lnTo>
                  <a:lnTo>
                    <a:pt x="838" y="21234"/>
                  </a:lnTo>
                  <a:lnTo>
                    <a:pt x="1447" y="21221"/>
                  </a:lnTo>
                  <a:lnTo>
                    <a:pt x="1968" y="21551"/>
                  </a:lnTo>
                  <a:lnTo>
                    <a:pt x="2184" y="18199"/>
                  </a:lnTo>
                  <a:lnTo>
                    <a:pt x="2260" y="16522"/>
                  </a:lnTo>
                  <a:close/>
                </a:path>
                <a:path w="2540" h="21590">
                  <a:moveTo>
                    <a:pt x="2476" y="5016"/>
                  </a:moveTo>
                  <a:lnTo>
                    <a:pt x="2463" y="3340"/>
                  </a:lnTo>
                  <a:lnTo>
                    <a:pt x="2425" y="1663"/>
                  </a:lnTo>
                  <a:lnTo>
                    <a:pt x="2374" y="12"/>
                  </a:lnTo>
                  <a:lnTo>
                    <a:pt x="1828" y="0"/>
                  </a:lnTo>
                  <a:lnTo>
                    <a:pt x="1295" y="12"/>
                  </a:lnTo>
                  <a:lnTo>
                    <a:pt x="762" y="50"/>
                  </a:lnTo>
                  <a:lnTo>
                    <a:pt x="787" y="1854"/>
                  </a:lnTo>
                  <a:lnTo>
                    <a:pt x="787" y="3657"/>
                  </a:lnTo>
                  <a:lnTo>
                    <a:pt x="774" y="5473"/>
                  </a:lnTo>
                  <a:lnTo>
                    <a:pt x="1371" y="5295"/>
                  </a:lnTo>
                  <a:lnTo>
                    <a:pt x="1930" y="5143"/>
                  </a:lnTo>
                  <a:lnTo>
                    <a:pt x="2476" y="5016"/>
                  </a:lnTo>
                  <a:close/>
                </a:path>
              </a:pathLst>
            </a:custGeom>
            <a:solidFill>
              <a:srgbClr val="DD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7" name="object 709">
              <a:extLst>
                <a:ext uri="{FF2B5EF4-FFF2-40B4-BE49-F238E27FC236}">
                  <a16:creationId xmlns:a16="http://schemas.microsoft.com/office/drawing/2014/main" id="{01D80783-07C0-4C6B-BB4C-5FE979A084F8}"/>
                </a:ext>
              </a:extLst>
            </p:cNvPr>
            <p:cNvSpPr/>
            <p:nvPr/>
          </p:nvSpPr>
          <p:spPr>
            <a:xfrm>
              <a:off x="8185582" y="6223562"/>
              <a:ext cx="3175" cy="22225"/>
            </a:xfrm>
            <a:custGeom>
              <a:avLst/>
              <a:gdLst/>
              <a:ahLst/>
              <a:cxnLst/>
              <a:rect l="l" t="t" r="r" b="b"/>
              <a:pathLst>
                <a:path w="3175" h="22225">
                  <a:moveTo>
                    <a:pt x="2501" y="16090"/>
                  </a:moveTo>
                  <a:lnTo>
                    <a:pt x="495" y="16865"/>
                  </a:lnTo>
                  <a:lnTo>
                    <a:pt x="190" y="20345"/>
                  </a:lnTo>
                  <a:lnTo>
                    <a:pt x="0" y="22110"/>
                  </a:lnTo>
                  <a:lnTo>
                    <a:pt x="1816" y="21488"/>
                  </a:lnTo>
                  <a:lnTo>
                    <a:pt x="2095" y="21424"/>
                  </a:lnTo>
                  <a:lnTo>
                    <a:pt x="2336" y="18529"/>
                  </a:lnTo>
                  <a:lnTo>
                    <a:pt x="2501" y="16090"/>
                  </a:lnTo>
                  <a:close/>
                </a:path>
                <a:path w="3175" h="22225">
                  <a:moveTo>
                    <a:pt x="2667" y="12814"/>
                  </a:moveTo>
                  <a:lnTo>
                    <a:pt x="1879" y="13081"/>
                  </a:lnTo>
                  <a:lnTo>
                    <a:pt x="2476" y="15316"/>
                  </a:lnTo>
                  <a:lnTo>
                    <a:pt x="2514" y="15862"/>
                  </a:lnTo>
                  <a:lnTo>
                    <a:pt x="2667" y="12814"/>
                  </a:lnTo>
                  <a:close/>
                </a:path>
                <a:path w="3175" h="22225">
                  <a:moveTo>
                    <a:pt x="2882" y="1803"/>
                  </a:moveTo>
                  <a:lnTo>
                    <a:pt x="2857" y="0"/>
                  </a:lnTo>
                  <a:lnTo>
                    <a:pt x="2298" y="50"/>
                  </a:lnTo>
                  <a:lnTo>
                    <a:pt x="1752" y="127"/>
                  </a:lnTo>
                  <a:lnTo>
                    <a:pt x="1206" y="228"/>
                  </a:lnTo>
                  <a:lnTo>
                    <a:pt x="1206" y="2146"/>
                  </a:lnTo>
                  <a:lnTo>
                    <a:pt x="1168" y="4076"/>
                  </a:lnTo>
                  <a:lnTo>
                    <a:pt x="1104" y="6019"/>
                  </a:lnTo>
                  <a:lnTo>
                    <a:pt x="1955" y="5715"/>
                  </a:lnTo>
                  <a:lnTo>
                    <a:pt x="2565" y="5511"/>
                  </a:lnTo>
                  <a:lnTo>
                    <a:pt x="2870" y="5422"/>
                  </a:lnTo>
                  <a:lnTo>
                    <a:pt x="2882" y="3606"/>
                  </a:lnTo>
                  <a:lnTo>
                    <a:pt x="2882" y="1803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8" name="object 710">
              <a:extLst>
                <a:ext uri="{FF2B5EF4-FFF2-40B4-BE49-F238E27FC236}">
                  <a16:creationId xmlns:a16="http://schemas.microsoft.com/office/drawing/2014/main" id="{7B0B4630-FBB1-4EBC-AFF2-C1ED58DA86A2}"/>
                </a:ext>
              </a:extLst>
            </p:cNvPr>
            <p:cNvSpPr/>
            <p:nvPr/>
          </p:nvSpPr>
          <p:spPr>
            <a:xfrm>
              <a:off x="8183410" y="6223791"/>
              <a:ext cx="3810" cy="22860"/>
            </a:xfrm>
            <a:custGeom>
              <a:avLst/>
              <a:gdLst/>
              <a:ahLst/>
              <a:cxnLst/>
              <a:rect l="l" t="t" r="r" b="b"/>
              <a:pathLst>
                <a:path w="3809" h="22859">
                  <a:moveTo>
                    <a:pt x="2667" y="16637"/>
                  </a:moveTo>
                  <a:lnTo>
                    <a:pt x="1676" y="16979"/>
                  </a:lnTo>
                  <a:lnTo>
                    <a:pt x="1130" y="17145"/>
                  </a:lnTo>
                  <a:lnTo>
                    <a:pt x="622" y="17259"/>
                  </a:lnTo>
                  <a:lnTo>
                    <a:pt x="444" y="19037"/>
                  </a:lnTo>
                  <a:lnTo>
                    <a:pt x="228" y="20828"/>
                  </a:lnTo>
                  <a:lnTo>
                    <a:pt x="0" y="22618"/>
                  </a:lnTo>
                  <a:lnTo>
                    <a:pt x="2171" y="21882"/>
                  </a:lnTo>
                  <a:lnTo>
                    <a:pt x="2362" y="20129"/>
                  </a:lnTo>
                  <a:lnTo>
                    <a:pt x="2527" y="18376"/>
                  </a:lnTo>
                  <a:lnTo>
                    <a:pt x="2667" y="16637"/>
                  </a:lnTo>
                  <a:close/>
                </a:path>
                <a:path w="3809" h="22859">
                  <a:moveTo>
                    <a:pt x="3378" y="0"/>
                  </a:moveTo>
                  <a:lnTo>
                    <a:pt x="2794" y="114"/>
                  </a:lnTo>
                  <a:lnTo>
                    <a:pt x="2235" y="266"/>
                  </a:lnTo>
                  <a:lnTo>
                    <a:pt x="1676" y="444"/>
                  </a:lnTo>
                  <a:lnTo>
                    <a:pt x="1625" y="2463"/>
                  </a:lnTo>
                  <a:lnTo>
                    <a:pt x="1549" y="4495"/>
                  </a:lnTo>
                  <a:lnTo>
                    <a:pt x="1447" y="6527"/>
                  </a:lnTo>
                  <a:lnTo>
                    <a:pt x="2019" y="6273"/>
                  </a:lnTo>
                  <a:lnTo>
                    <a:pt x="2628" y="6032"/>
                  </a:lnTo>
                  <a:lnTo>
                    <a:pt x="3276" y="5791"/>
                  </a:lnTo>
                  <a:lnTo>
                    <a:pt x="3340" y="3848"/>
                  </a:lnTo>
                  <a:lnTo>
                    <a:pt x="3378" y="1917"/>
                  </a:lnTo>
                  <a:lnTo>
                    <a:pt x="3378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19" name="object 711">
              <a:extLst>
                <a:ext uri="{FF2B5EF4-FFF2-40B4-BE49-F238E27FC236}">
                  <a16:creationId xmlns:a16="http://schemas.microsoft.com/office/drawing/2014/main" id="{CF5EB0D2-43B6-495B-A1EE-93C18CE15532}"/>
                </a:ext>
              </a:extLst>
            </p:cNvPr>
            <p:cNvSpPr/>
            <p:nvPr/>
          </p:nvSpPr>
          <p:spPr>
            <a:xfrm>
              <a:off x="8181505" y="6224248"/>
              <a:ext cx="3810" cy="22860"/>
            </a:xfrm>
            <a:custGeom>
              <a:avLst/>
              <a:gdLst/>
              <a:ahLst/>
              <a:cxnLst/>
              <a:rect l="l" t="t" r="r" b="b"/>
              <a:pathLst>
                <a:path w="3809" h="22859">
                  <a:moveTo>
                    <a:pt x="2514" y="16789"/>
                  </a:moveTo>
                  <a:lnTo>
                    <a:pt x="1803" y="16954"/>
                  </a:lnTo>
                  <a:lnTo>
                    <a:pt x="1104" y="17030"/>
                  </a:lnTo>
                  <a:lnTo>
                    <a:pt x="469" y="16954"/>
                  </a:lnTo>
                  <a:lnTo>
                    <a:pt x="165" y="19380"/>
                  </a:lnTo>
                  <a:lnTo>
                    <a:pt x="0" y="20599"/>
                  </a:lnTo>
                  <a:lnTo>
                    <a:pt x="228" y="21069"/>
                  </a:lnTo>
                  <a:lnTo>
                    <a:pt x="444" y="21615"/>
                  </a:lnTo>
                  <a:lnTo>
                    <a:pt x="774" y="22542"/>
                  </a:lnTo>
                  <a:lnTo>
                    <a:pt x="1905" y="22148"/>
                  </a:lnTo>
                  <a:lnTo>
                    <a:pt x="2133" y="20358"/>
                  </a:lnTo>
                  <a:lnTo>
                    <a:pt x="2336" y="18567"/>
                  </a:lnTo>
                  <a:lnTo>
                    <a:pt x="2514" y="16789"/>
                  </a:lnTo>
                  <a:close/>
                </a:path>
                <a:path w="3809" h="22859">
                  <a:moveTo>
                    <a:pt x="3581" y="0"/>
                  </a:moveTo>
                  <a:lnTo>
                    <a:pt x="1727" y="2806"/>
                  </a:lnTo>
                  <a:lnTo>
                    <a:pt x="1600" y="4914"/>
                  </a:lnTo>
                  <a:lnTo>
                    <a:pt x="1447" y="7048"/>
                  </a:lnTo>
                  <a:lnTo>
                    <a:pt x="2019" y="6718"/>
                  </a:lnTo>
                  <a:lnTo>
                    <a:pt x="2654" y="6400"/>
                  </a:lnTo>
                  <a:lnTo>
                    <a:pt x="3352" y="6083"/>
                  </a:lnTo>
                  <a:lnTo>
                    <a:pt x="3454" y="4038"/>
                  </a:lnTo>
                  <a:lnTo>
                    <a:pt x="3530" y="2006"/>
                  </a:lnTo>
                  <a:lnTo>
                    <a:pt x="3581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0" name="object 712">
              <a:extLst>
                <a:ext uri="{FF2B5EF4-FFF2-40B4-BE49-F238E27FC236}">
                  <a16:creationId xmlns:a16="http://schemas.microsoft.com/office/drawing/2014/main" id="{A6E0780F-9992-4E9C-B56F-B5FBEA799C12}"/>
                </a:ext>
              </a:extLst>
            </p:cNvPr>
            <p:cNvSpPr/>
            <p:nvPr/>
          </p:nvSpPr>
          <p:spPr>
            <a:xfrm>
              <a:off x="8178051" y="6224959"/>
              <a:ext cx="5715" cy="20320"/>
            </a:xfrm>
            <a:custGeom>
              <a:avLst/>
              <a:gdLst/>
              <a:ahLst/>
              <a:cxnLst/>
              <a:rect l="l" t="t" r="r" b="b"/>
              <a:pathLst>
                <a:path w="5715" h="20320">
                  <a:moveTo>
                    <a:pt x="622" y="10198"/>
                  </a:moveTo>
                  <a:lnTo>
                    <a:pt x="304" y="11582"/>
                  </a:lnTo>
                  <a:lnTo>
                    <a:pt x="393" y="11823"/>
                  </a:lnTo>
                  <a:lnTo>
                    <a:pt x="622" y="10198"/>
                  </a:lnTo>
                  <a:close/>
                </a:path>
                <a:path w="5715" h="20320">
                  <a:moveTo>
                    <a:pt x="3924" y="16243"/>
                  </a:moveTo>
                  <a:lnTo>
                    <a:pt x="3187" y="16167"/>
                  </a:lnTo>
                  <a:lnTo>
                    <a:pt x="2514" y="15875"/>
                  </a:lnTo>
                  <a:lnTo>
                    <a:pt x="1968" y="15290"/>
                  </a:lnTo>
                  <a:lnTo>
                    <a:pt x="1574" y="14884"/>
                  </a:lnTo>
                  <a:lnTo>
                    <a:pt x="1257" y="14325"/>
                  </a:lnTo>
                  <a:lnTo>
                    <a:pt x="393" y="11823"/>
                  </a:lnTo>
                  <a:lnTo>
                    <a:pt x="0" y="14401"/>
                  </a:lnTo>
                  <a:lnTo>
                    <a:pt x="457" y="15455"/>
                  </a:lnTo>
                  <a:lnTo>
                    <a:pt x="1028" y="16344"/>
                  </a:lnTo>
                  <a:lnTo>
                    <a:pt x="1701" y="17284"/>
                  </a:lnTo>
                  <a:lnTo>
                    <a:pt x="1981" y="17691"/>
                  </a:lnTo>
                  <a:lnTo>
                    <a:pt x="2133" y="17894"/>
                  </a:lnTo>
                  <a:lnTo>
                    <a:pt x="3149" y="19304"/>
                  </a:lnTo>
                  <a:lnTo>
                    <a:pt x="3454" y="19900"/>
                  </a:lnTo>
                  <a:lnTo>
                    <a:pt x="3619" y="18681"/>
                  </a:lnTo>
                  <a:lnTo>
                    <a:pt x="3924" y="16243"/>
                  </a:lnTo>
                  <a:close/>
                </a:path>
                <a:path w="5715" h="20320">
                  <a:moveTo>
                    <a:pt x="5270" y="0"/>
                  </a:moveTo>
                  <a:lnTo>
                    <a:pt x="1054" y="6654"/>
                  </a:lnTo>
                  <a:lnTo>
                    <a:pt x="622" y="10198"/>
                  </a:lnTo>
                  <a:lnTo>
                    <a:pt x="762" y="9588"/>
                  </a:lnTo>
                  <a:lnTo>
                    <a:pt x="2857" y="7759"/>
                  </a:lnTo>
                  <a:lnTo>
                    <a:pt x="3263" y="3276"/>
                  </a:lnTo>
                  <a:lnTo>
                    <a:pt x="3086" y="5511"/>
                  </a:lnTo>
                  <a:lnTo>
                    <a:pt x="2857" y="7759"/>
                  </a:lnTo>
                  <a:lnTo>
                    <a:pt x="3416" y="7277"/>
                  </a:lnTo>
                  <a:lnTo>
                    <a:pt x="4089" y="6807"/>
                  </a:lnTo>
                  <a:lnTo>
                    <a:pt x="4889" y="6337"/>
                  </a:lnTo>
                  <a:lnTo>
                    <a:pt x="5054" y="4203"/>
                  </a:lnTo>
                  <a:lnTo>
                    <a:pt x="5181" y="2095"/>
                  </a:lnTo>
                  <a:lnTo>
                    <a:pt x="5270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1" name="object 713">
              <a:extLst>
                <a:ext uri="{FF2B5EF4-FFF2-40B4-BE49-F238E27FC236}">
                  <a16:creationId xmlns:a16="http://schemas.microsoft.com/office/drawing/2014/main" id="{6DE795F3-523A-43D0-B462-958AD289D116}"/>
                </a:ext>
              </a:extLst>
            </p:cNvPr>
            <p:cNvSpPr/>
            <p:nvPr/>
          </p:nvSpPr>
          <p:spPr>
            <a:xfrm>
              <a:off x="8176309" y="6227805"/>
              <a:ext cx="3175" cy="12065"/>
            </a:xfrm>
            <a:custGeom>
              <a:avLst/>
              <a:gdLst/>
              <a:ahLst/>
              <a:cxnLst/>
              <a:rect l="l" t="t" r="r" b="b"/>
              <a:pathLst>
                <a:path w="3175" h="12065">
                  <a:moveTo>
                    <a:pt x="3162" y="0"/>
                  </a:moveTo>
                  <a:lnTo>
                    <a:pt x="723" y="2755"/>
                  </a:lnTo>
                  <a:lnTo>
                    <a:pt x="0" y="6565"/>
                  </a:lnTo>
                  <a:lnTo>
                    <a:pt x="1435" y="10744"/>
                  </a:lnTo>
                  <a:lnTo>
                    <a:pt x="1752" y="11556"/>
                  </a:lnTo>
                  <a:lnTo>
                    <a:pt x="2336" y="7658"/>
                  </a:lnTo>
                  <a:lnTo>
                    <a:pt x="2806" y="3797"/>
                  </a:lnTo>
                  <a:lnTo>
                    <a:pt x="3162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2" name="object 714">
              <a:extLst>
                <a:ext uri="{FF2B5EF4-FFF2-40B4-BE49-F238E27FC236}">
                  <a16:creationId xmlns:a16="http://schemas.microsoft.com/office/drawing/2014/main" id="{AA2D4D91-551E-4F97-8F90-52A80B1C67AB}"/>
                </a:ext>
              </a:extLst>
            </p:cNvPr>
            <p:cNvSpPr/>
            <p:nvPr/>
          </p:nvSpPr>
          <p:spPr>
            <a:xfrm>
              <a:off x="8188167" y="6253801"/>
              <a:ext cx="3175" cy="6350"/>
            </a:xfrm>
            <a:custGeom>
              <a:avLst/>
              <a:gdLst/>
              <a:ahLst/>
              <a:cxnLst/>
              <a:rect l="l" t="t" r="r" b="b"/>
              <a:pathLst>
                <a:path w="3175" h="6350">
                  <a:moveTo>
                    <a:pt x="2806" y="0"/>
                  </a:moveTo>
                  <a:lnTo>
                    <a:pt x="673" y="406"/>
                  </a:lnTo>
                  <a:lnTo>
                    <a:pt x="469" y="2222"/>
                  </a:lnTo>
                  <a:lnTo>
                    <a:pt x="0" y="5867"/>
                  </a:lnTo>
                  <a:lnTo>
                    <a:pt x="2235" y="5448"/>
                  </a:lnTo>
                  <a:lnTo>
                    <a:pt x="2451" y="3619"/>
                  </a:lnTo>
                  <a:lnTo>
                    <a:pt x="2641" y="1816"/>
                  </a:lnTo>
                  <a:lnTo>
                    <a:pt x="2806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3" name="object 715">
              <a:extLst>
                <a:ext uri="{FF2B5EF4-FFF2-40B4-BE49-F238E27FC236}">
                  <a16:creationId xmlns:a16="http://schemas.microsoft.com/office/drawing/2014/main" id="{AF9C60FD-A079-4C3F-BD22-CDD871F1EEA2}"/>
                </a:ext>
              </a:extLst>
            </p:cNvPr>
            <p:cNvSpPr/>
            <p:nvPr/>
          </p:nvSpPr>
          <p:spPr>
            <a:xfrm>
              <a:off x="8185328" y="6254207"/>
              <a:ext cx="3810" cy="9525"/>
            </a:xfrm>
            <a:custGeom>
              <a:avLst/>
              <a:gdLst/>
              <a:ahLst/>
              <a:cxnLst/>
              <a:rect l="l" t="t" r="r" b="b"/>
              <a:pathLst>
                <a:path w="3809" h="9525">
                  <a:moveTo>
                    <a:pt x="228" y="9144"/>
                  </a:moveTo>
                  <a:lnTo>
                    <a:pt x="177" y="8877"/>
                  </a:lnTo>
                  <a:lnTo>
                    <a:pt x="127" y="8407"/>
                  </a:lnTo>
                  <a:lnTo>
                    <a:pt x="88" y="8674"/>
                  </a:lnTo>
                  <a:lnTo>
                    <a:pt x="38" y="8928"/>
                  </a:lnTo>
                  <a:lnTo>
                    <a:pt x="0" y="9194"/>
                  </a:lnTo>
                  <a:lnTo>
                    <a:pt x="228" y="9144"/>
                  </a:lnTo>
                  <a:close/>
                </a:path>
                <a:path w="3809" h="9525">
                  <a:moveTo>
                    <a:pt x="3505" y="0"/>
                  </a:moveTo>
                  <a:lnTo>
                    <a:pt x="1562" y="368"/>
                  </a:lnTo>
                  <a:lnTo>
                    <a:pt x="1308" y="406"/>
                  </a:lnTo>
                  <a:lnTo>
                    <a:pt x="1041" y="2489"/>
                  </a:lnTo>
                  <a:lnTo>
                    <a:pt x="749" y="4572"/>
                  </a:lnTo>
                  <a:lnTo>
                    <a:pt x="406" y="6667"/>
                  </a:lnTo>
                  <a:lnTo>
                    <a:pt x="787" y="6070"/>
                  </a:lnTo>
                  <a:lnTo>
                    <a:pt x="1473" y="5740"/>
                  </a:lnTo>
                  <a:lnTo>
                    <a:pt x="2832" y="5461"/>
                  </a:lnTo>
                  <a:lnTo>
                    <a:pt x="3302" y="1816"/>
                  </a:lnTo>
                  <a:lnTo>
                    <a:pt x="3505" y="0"/>
                  </a:lnTo>
                  <a:close/>
                </a:path>
              </a:pathLst>
            </a:custGeom>
            <a:solidFill>
              <a:srgbClr val="DD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4" name="object 716">
              <a:extLst>
                <a:ext uri="{FF2B5EF4-FFF2-40B4-BE49-F238E27FC236}">
                  <a16:creationId xmlns:a16="http://schemas.microsoft.com/office/drawing/2014/main" id="{296E039E-B13E-4AEA-B454-B391588DC8CB}"/>
                </a:ext>
              </a:extLst>
            </p:cNvPr>
            <p:cNvSpPr/>
            <p:nvPr/>
          </p:nvSpPr>
          <p:spPr>
            <a:xfrm>
              <a:off x="8183712" y="6254314"/>
              <a:ext cx="3175" cy="9525"/>
            </a:xfrm>
            <a:custGeom>
              <a:avLst/>
              <a:gdLst/>
              <a:ahLst/>
              <a:cxnLst/>
              <a:rect l="l" t="t" r="r" b="b"/>
              <a:pathLst>
                <a:path w="3175" h="9525">
                  <a:moveTo>
                    <a:pt x="787" y="0"/>
                  </a:moveTo>
                  <a:lnTo>
                    <a:pt x="292" y="3302"/>
                  </a:lnTo>
                  <a:lnTo>
                    <a:pt x="0" y="4965"/>
                  </a:lnTo>
                  <a:lnTo>
                    <a:pt x="812" y="9232"/>
                  </a:lnTo>
                  <a:lnTo>
                    <a:pt x="1612" y="9080"/>
                  </a:lnTo>
                  <a:lnTo>
                    <a:pt x="1739" y="8305"/>
                  </a:lnTo>
                  <a:lnTo>
                    <a:pt x="1676" y="7543"/>
                  </a:lnTo>
                  <a:lnTo>
                    <a:pt x="1765" y="6972"/>
                  </a:lnTo>
                  <a:lnTo>
                    <a:pt x="2032" y="6553"/>
                  </a:lnTo>
                  <a:lnTo>
                    <a:pt x="2362" y="4457"/>
                  </a:lnTo>
                  <a:lnTo>
                    <a:pt x="2667" y="2374"/>
                  </a:lnTo>
                  <a:lnTo>
                    <a:pt x="2933" y="304"/>
                  </a:lnTo>
                  <a:lnTo>
                    <a:pt x="1866" y="469"/>
                  </a:lnTo>
                  <a:lnTo>
                    <a:pt x="1219" y="355"/>
                  </a:lnTo>
                  <a:lnTo>
                    <a:pt x="787" y="0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5" name="object 717">
              <a:extLst>
                <a:ext uri="{FF2B5EF4-FFF2-40B4-BE49-F238E27FC236}">
                  <a16:creationId xmlns:a16="http://schemas.microsoft.com/office/drawing/2014/main" id="{DC3B1ABB-C405-4579-9314-F211EE184C14}"/>
                </a:ext>
              </a:extLst>
            </p:cNvPr>
            <p:cNvSpPr/>
            <p:nvPr/>
          </p:nvSpPr>
          <p:spPr>
            <a:xfrm>
              <a:off x="8182506" y="6252042"/>
              <a:ext cx="2540" cy="7620"/>
            </a:xfrm>
            <a:custGeom>
              <a:avLst/>
              <a:gdLst/>
              <a:ahLst/>
              <a:cxnLst/>
              <a:rect l="l" t="t" r="r" b="b"/>
              <a:pathLst>
                <a:path w="2540" h="7620">
                  <a:moveTo>
                    <a:pt x="914" y="0"/>
                  </a:moveTo>
                  <a:lnTo>
                    <a:pt x="101" y="152"/>
                  </a:lnTo>
                  <a:lnTo>
                    <a:pt x="25" y="596"/>
                  </a:lnTo>
                  <a:lnTo>
                    <a:pt x="0" y="812"/>
                  </a:lnTo>
                  <a:lnTo>
                    <a:pt x="1206" y="7239"/>
                  </a:lnTo>
                  <a:lnTo>
                    <a:pt x="1498" y="5575"/>
                  </a:lnTo>
                  <a:lnTo>
                    <a:pt x="1993" y="2273"/>
                  </a:lnTo>
                  <a:lnTo>
                    <a:pt x="1460" y="1841"/>
                  </a:lnTo>
                  <a:lnTo>
                    <a:pt x="1244" y="1066"/>
                  </a:lnTo>
                  <a:lnTo>
                    <a:pt x="914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6" name="object 718">
              <a:extLst>
                <a:ext uri="{FF2B5EF4-FFF2-40B4-BE49-F238E27FC236}">
                  <a16:creationId xmlns:a16="http://schemas.microsoft.com/office/drawing/2014/main" id="{0F2A89B8-FD66-4055-A3D2-5733D65D4D05}"/>
                </a:ext>
              </a:extLst>
            </p:cNvPr>
            <p:cNvSpPr/>
            <p:nvPr/>
          </p:nvSpPr>
          <p:spPr>
            <a:xfrm>
              <a:off x="8182385" y="6252202"/>
              <a:ext cx="635" cy="1270"/>
            </a:xfrm>
            <a:custGeom>
              <a:avLst/>
              <a:gdLst/>
              <a:ahLst/>
              <a:cxnLst/>
              <a:rect l="l" t="t" r="r" b="b"/>
              <a:pathLst>
                <a:path w="634" h="1270">
                  <a:moveTo>
                    <a:pt x="215" y="0"/>
                  </a:moveTo>
                  <a:lnTo>
                    <a:pt x="0" y="38"/>
                  </a:lnTo>
                  <a:lnTo>
                    <a:pt x="114" y="660"/>
                  </a:lnTo>
                  <a:lnTo>
                    <a:pt x="152" y="431"/>
                  </a:lnTo>
                  <a:lnTo>
                    <a:pt x="190" y="215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7" name="object 719">
              <a:extLst>
                <a:ext uri="{FF2B5EF4-FFF2-40B4-BE49-F238E27FC236}">
                  <a16:creationId xmlns:a16="http://schemas.microsoft.com/office/drawing/2014/main" id="{9F4F43E8-DC5C-4856-AF1C-FDC71FAE56A0}"/>
                </a:ext>
              </a:extLst>
            </p:cNvPr>
            <p:cNvSpPr/>
            <p:nvPr/>
          </p:nvSpPr>
          <p:spPr>
            <a:xfrm>
              <a:off x="7874217" y="6292268"/>
              <a:ext cx="1905" cy="5715"/>
            </a:xfrm>
            <a:custGeom>
              <a:avLst/>
              <a:gdLst/>
              <a:ahLst/>
              <a:cxnLst/>
              <a:rect l="l" t="t" r="r" b="b"/>
              <a:pathLst>
                <a:path w="1904" h="5715">
                  <a:moveTo>
                    <a:pt x="1384" y="0"/>
                  </a:moveTo>
                  <a:lnTo>
                    <a:pt x="533" y="1308"/>
                  </a:lnTo>
                  <a:lnTo>
                    <a:pt x="50" y="3022"/>
                  </a:lnTo>
                  <a:lnTo>
                    <a:pt x="0" y="5156"/>
                  </a:lnTo>
                  <a:lnTo>
                    <a:pt x="901" y="1714"/>
                  </a:lnTo>
                  <a:lnTo>
                    <a:pt x="1384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8" name="object 720">
              <a:extLst>
                <a:ext uri="{FF2B5EF4-FFF2-40B4-BE49-F238E27FC236}">
                  <a16:creationId xmlns:a16="http://schemas.microsoft.com/office/drawing/2014/main" id="{52D20235-F836-4787-BCB0-C5EF52DB6C7B}"/>
                </a:ext>
              </a:extLst>
            </p:cNvPr>
            <p:cNvSpPr/>
            <p:nvPr/>
          </p:nvSpPr>
          <p:spPr>
            <a:xfrm>
              <a:off x="7874206" y="6290983"/>
              <a:ext cx="2540" cy="8890"/>
            </a:xfrm>
            <a:custGeom>
              <a:avLst/>
              <a:gdLst/>
              <a:ahLst/>
              <a:cxnLst/>
              <a:rect l="l" t="t" r="r" b="b"/>
              <a:pathLst>
                <a:path w="2540" h="8890">
                  <a:moveTo>
                    <a:pt x="2489" y="0"/>
                  </a:moveTo>
                  <a:lnTo>
                    <a:pt x="0" y="7048"/>
                  </a:lnTo>
                  <a:lnTo>
                    <a:pt x="12" y="7683"/>
                  </a:lnTo>
                  <a:lnTo>
                    <a:pt x="63" y="8356"/>
                  </a:lnTo>
                  <a:lnTo>
                    <a:pt x="101" y="8775"/>
                  </a:lnTo>
                  <a:lnTo>
                    <a:pt x="850" y="5854"/>
                  </a:lnTo>
                  <a:lnTo>
                    <a:pt x="1638" y="2933"/>
                  </a:lnTo>
                  <a:lnTo>
                    <a:pt x="2489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29" name="object 721">
              <a:extLst>
                <a:ext uri="{FF2B5EF4-FFF2-40B4-BE49-F238E27FC236}">
                  <a16:creationId xmlns:a16="http://schemas.microsoft.com/office/drawing/2014/main" id="{CB1249FE-41D6-437A-B0F8-86A7181DF93F}"/>
                </a:ext>
              </a:extLst>
            </p:cNvPr>
            <p:cNvSpPr/>
            <p:nvPr/>
          </p:nvSpPr>
          <p:spPr>
            <a:xfrm>
              <a:off x="7874308" y="6290315"/>
              <a:ext cx="3810" cy="11430"/>
            </a:xfrm>
            <a:custGeom>
              <a:avLst/>
              <a:gdLst/>
              <a:ahLst/>
              <a:cxnLst/>
              <a:rect l="l" t="t" r="r" b="b"/>
              <a:pathLst>
                <a:path w="3809" h="11429">
                  <a:moveTo>
                    <a:pt x="3327" y="0"/>
                  </a:moveTo>
                  <a:lnTo>
                    <a:pt x="0" y="9436"/>
                  </a:lnTo>
                  <a:lnTo>
                    <a:pt x="63" y="10045"/>
                  </a:lnTo>
                  <a:lnTo>
                    <a:pt x="152" y="10617"/>
                  </a:lnTo>
                  <a:lnTo>
                    <a:pt x="266" y="11137"/>
                  </a:lnTo>
                  <a:lnTo>
                    <a:pt x="1193" y="7429"/>
                  </a:lnTo>
                  <a:lnTo>
                    <a:pt x="2209" y="3721"/>
                  </a:lnTo>
                  <a:lnTo>
                    <a:pt x="3327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0" name="object 722">
              <a:extLst>
                <a:ext uri="{FF2B5EF4-FFF2-40B4-BE49-F238E27FC236}">
                  <a16:creationId xmlns:a16="http://schemas.microsoft.com/office/drawing/2014/main" id="{A00B7C80-B6F7-45A4-9E3D-85EA0FE4AA10}"/>
                </a:ext>
              </a:extLst>
            </p:cNvPr>
            <p:cNvSpPr/>
            <p:nvPr/>
          </p:nvSpPr>
          <p:spPr>
            <a:xfrm>
              <a:off x="7874575" y="6289862"/>
              <a:ext cx="4445" cy="13335"/>
            </a:xfrm>
            <a:custGeom>
              <a:avLst/>
              <a:gdLst/>
              <a:ahLst/>
              <a:cxnLst/>
              <a:rect l="l" t="t" r="r" b="b"/>
              <a:pathLst>
                <a:path w="4445" h="13334">
                  <a:moveTo>
                    <a:pt x="3949" y="0"/>
                  </a:moveTo>
                  <a:lnTo>
                    <a:pt x="0" y="11595"/>
                  </a:lnTo>
                  <a:lnTo>
                    <a:pt x="101" y="12052"/>
                  </a:lnTo>
                  <a:lnTo>
                    <a:pt x="368" y="12865"/>
                  </a:lnTo>
                  <a:lnTo>
                    <a:pt x="571" y="12014"/>
                  </a:lnTo>
                  <a:lnTo>
                    <a:pt x="1015" y="10299"/>
                  </a:lnTo>
                  <a:lnTo>
                    <a:pt x="876" y="8699"/>
                  </a:lnTo>
                  <a:lnTo>
                    <a:pt x="1155" y="7416"/>
                  </a:lnTo>
                  <a:lnTo>
                    <a:pt x="2057" y="6451"/>
                  </a:lnTo>
                  <a:lnTo>
                    <a:pt x="3276" y="2158"/>
                  </a:lnTo>
                  <a:lnTo>
                    <a:pt x="3949" y="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1" name="object 723">
              <a:extLst>
                <a:ext uri="{FF2B5EF4-FFF2-40B4-BE49-F238E27FC236}">
                  <a16:creationId xmlns:a16="http://schemas.microsoft.com/office/drawing/2014/main" id="{52DE682C-0501-469B-81E1-1245E5E882A6}"/>
                </a:ext>
              </a:extLst>
            </p:cNvPr>
            <p:cNvSpPr/>
            <p:nvPr/>
          </p:nvSpPr>
          <p:spPr>
            <a:xfrm>
              <a:off x="7874940" y="6289564"/>
              <a:ext cx="4445" cy="14604"/>
            </a:xfrm>
            <a:custGeom>
              <a:avLst/>
              <a:gdLst/>
              <a:ahLst/>
              <a:cxnLst/>
              <a:rect l="l" t="t" r="r" b="b"/>
              <a:pathLst>
                <a:path w="4445" h="14604">
                  <a:moveTo>
                    <a:pt x="927" y="12242"/>
                  </a:moveTo>
                  <a:lnTo>
                    <a:pt x="787" y="11760"/>
                  </a:lnTo>
                  <a:lnTo>
                    <a:pt x="698" y="11226"/>
                  </a:lnTo>
                  <a:lnTo>
                    <a:pt x="647" y="10629"/>
                  </a:lnTo>
                  <a:lnTo>
                    <a:pt x="0" y="13169"/>
                  </a:lnTo>
                  <a:lnTo>
                    <a:pt x="127" y="13525"/>
                  </a:lnTo>
                  <a:lnTo>
                    <a:pt x="266" y="13868"/>
                  </a:lnTo>
                  <a:lnTo>
                    <a:pt x="431" y="14185"/>
                  </a:lnTo>
                  <a:lnTo>
                    <a:pt x="927" y="12242"/>
                  </a:lnTo>
                  <a:close/>
                </a:path>
                <a:path w="4445" h="14604">
                  <a:moveTo>
                    <a:pt x="4419" y="0"/>
                  </a:moveTo>
                  <a:lnTo>
                    <a:pt x="1689" y="6769"/>
                  </a:lnTo>
                  <a:lnTo>
                    <a:pt x="1943" y="6489"/>
                  </a:lnTo>
                  <a:lnTo>
                    <a:pt x="2247" y="6248"/>
                  </a:lnTo>
                  <a:lnTo>
                    <a:pt x="2616" y="6032"/>
                  </a:lnTo>
                  <a:lnTo>
                    <a:pt x="3187" y="4025"/>
                  </a:lnTo>
                  <a:lnTo>
                    <a:pt x="4419" y="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2" name="object 724">
              <a:extLst>
                <a:ext uri="{FF2B5EF4-FFF2-40B4-BE49-F238E27FC236}">
                  <a16:creationId xmlns:a16="http://schemas.microsoft.com/office/drawing/2014/main" id="{3AC1F471-A068-4465-8795-BB1C8F7ED1EC}"/>
                </a:ext>
              </a:extLst>
            </p:cNvPr>
            <p:cNvSpPr/>
            <p:nvPr/>
          </p:nvSpPr>
          <p:spPr>
            <a:xfrm>
              <a:off x="7875372" y="6289373"/>
              <a:ext cx="5080" cy="15240"/>
            </a:xfrm>
            <a:custGeom>
              <a:avLst/>
              <a:gdLst/>
              <a:ahLst/>
              <a:cxnLst/>
              <a:rect l="l" t="t" r="r" b="b"/>
              <a:pathLst>
                <a:path w="5079" h="15240">
                  <a:moveTo>
                    <a:pt x="901" y="13512"/>
                  </a:moveTo>
                  <a:lnTo>
                    <a:pt x="736" y="13195"/>
                  </a:lnTo>
                  <a:lnTo>
                    <a:pt x="596" y="12827"/>
                  </a:lnTo>
                  <a:lnTo>
                    <a:pt x="495" y="12433"/>
                  </a:lnTo>
                  <a:lnTo>
                    <a:pt x="317" y="13081"/>
                  </a:lnTo>
                  <a:lnTo>
                    <a:pt x="152" y="13728"/>
                  </a:lnTo>
                  <a:lnTo>
                    <a:pt x="0" y="14376"/>
                  </a:lnTo>
                  <a:lnTo>
                    <a:pt x="139" y="14668"/>
                  </a:lnTo>
                  <a:lnTo>
                    <a:pt x="304" y="14947"/>
                  </a:lnTo>
                  <a:lnTo>
                    <a:pt x="469" y="15201"/>
                  </a:lnTo>
                  <a:lnTo>
                    <a:pt x="749" y="14084"/>
                  </a:lnTo>
                  <a:lnTo>
                    <a:pt x="901" y="13512"/>
                  </a:lnTo>
                  <a:close/>
                </a:path>
                <a:path w="5079" h="15240">
                  <a:moveTo>
                    <a:pt x="4813" y="0"/>
                  </a:moveTo>
                  <a:lnTo>
                    <a:pt x="2197" y="6223"/>
                  </a:lnTo>
                  <a:lnTo>
                    <a:pt x="2451" y="6070"/>
                  </a:lnTo>
                  <a:lnTo>
                    <a:pt x="2730" y="5918"/>
                  </a:lnTo>
                  <a:lnTo>
                    <a:pt x="3048" y="5791"/>
                  </a:lnTo>
                  <a:lnTo>
                    <a:pt x="4203" y="1930"/>
                  </a:lnTo>
                  <a:lnTo>
                    <a:pt x="4813" y="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3" name="object 725">
              <a:extLst>
                <a:ext uri="{FF2B5EF4-FFF2-40B4-BE49-F238E27FC236}">
                  <a16:creationId xmlns:a16="http://schemas.microsoft.com/office/drawing/2014/main" id="{2F52A167-89A3-40E6-AD3C-7888D9BBFD75}"/>
                </a:ext>
              </a:extLst>
            </p:cNvPr>
            <p:cNvSpPr/>
            <p:nvPr/>
          </p:nvSpPr>
          <p:spPr>
            <a:xfrm>
              <a:off x="7875841" y="6289246"/>
              <a:ext cx="5715" cy="16510"/>
            </a:xfrm>
            <a:custGeom>
              <a:avLst/>
              <a:gdLst/>
              <a:ahLst/>
              <a:cxnLst/>
              <a:rect l="l" t="t" r="r" b="b"/>
              <a:pathLst>
                <a:path w="5715" h="16509">
                  <a:moveTo>
                    <a:pt x="927" y="14427"/>
                  </a:moveTo>
                  <a:lnTo>
                    <a:pt x="736" y="14198"/>
                  </a:lnTo>
                  <a:lnTo>
                    <a:pt x="571" y="13931"/>
                  </a:lnTo>
                  <a:lnTo>
                    <a:pt x="431" y="13639"/>
                  </a:lnTo>
                  <a:lnTo>
                    <a:pt x="279" y="14211"/>
                  </a:lnTo>
                  <a:lnTo>
                    <a:pt x="0" y="15328"/>
                  </a:lnTo>
                  <a:lnTo>
                    <a:pt x="165" y="15557"/>
                  </a:lnTo>
                  <a:lnTo>
                    <a:pt x="342" y="15786"/>
                  </a:lnTo>
                  <a:lnTo>
                    <a:pt x="520" y="15989"/>
                  </a:lnTo>
                  <a:lnTo>
                    <a:pt x="647" y="15468"/>
                  </a:lnTo>
                  <a:lnTo>
                    <a:pt x="787" y="14960"/>
                  </a:lnTo>
                  <a:lnTo>
                    <a:pt x="927" y="14427"/>
                  </a:lnTo>
                  <a:close/>
                </a:path>
                <a:path w="5715" h="16509">
                  <a:moveTo>
                    <a:pt x="5156" y="0"/>
                  </a:moveTo>
                  <a:lnTo>
                    <a:pt x="2565" y="5918"/>
                  </a:lnTo>
                  <a:lnTo>
                    <a:pt x="2819" y="5816"/>
                  </a:lnTo>
                  <a:lnTo>
                    <a:pt x="3098" y="5727"/>
                  </a:lnTo>
                  <a:lnTo>
                    <a:pt x="3390" y="5651"/>
                  </a:lnTo>
                  <a:lnTo>
                    <a:pt x="3949" y="3771"/>
                  </a:lnTo>
                  <a:lnTo>
                    <a:pt x="4546" y="1879"/>
                  </a:lnTo>
                  <a:lnTo>
                    <a:pt x="5156" y="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4" name="object 726">
              <a:extLst>
                <a:ext uri="{FF2B5EF4-FFF2-40B4-BE49-F238E27FC236}">
                  <a16:creationId xmlns:a16="http://schemas.microsoft.com/office/drawing/2014/main" id="{2EE70EA9-2493-41F4-8E20-F994D0B0042B}"/>
                </a:ext>
              </a:extLst>
            </p:cNvPr>
            <p:cNvSpPr/>
            <p:nvPr/>
          </p:nvSpPr>
          <p:spPr>
            <a:xfrm>
              <a:off x="7876362" y="6289170"/>
              <a:ext cx="5715" cy="17145"/>
            </a:xfrm>
            <a:custGeom>
              <a:avLst/>
              <a:gdLst/>
              <a:ahLst/>
              <a:cxnLst/>
              <a:rect l="l" t="t" r="r" b="b"/>
              <a:pathLst>
                <a:path w="5715" h="17145">
                  <a:moveTo>
                    <a:pt x="939" y="15087"/>
                  </a:moveTo>
                  <a:lnTo>
                    <a:pt x="736" y="14909"/>
                  </a:lnTo>
                  <a:lnTo>
                    <a:pt x="558" y="14719"/>
                  </a:lnTo>
                  <a:lnTo>
                    <a:pt x="406" y="14503"/>
                  </a:lnTo>
                  <a:lnTo>
                    <a:pt x="254" y="15024"/>
                  </a:lnTo>
                  <a:lnTo>
                    <a:pt x="0" y="16065"/>
                  </a:lnTo>
                  <a:lnTo>
                    <a:pt x="177" y="16256"/>
                  </a:lnTo>
                  <a:lnTo>
                    <a:pt x="355" y="16433"/>
                  </a:lnTo>
                  <a:lnTo>
                    <a:pt x="546" y="16598"/>
                  </a:lnTo>
                  <a:lnTo>
                    <a:pt x="800" y="15595"/>
                  </a:lnTo>
                  <a:lnTo>
                    <a:pt x="939" y="15087"/>
                  </a:lnTo>
                  <a:close/>
                </a:path>
                <a:path w="5715" h="17145">
                  <a:moveTo>
                    <a:pt x="5422" y="0"/>
                  </a:moveTo>
                  <a:lnTo>
                    <a:pt x="4635" y="76"/>
                  </a:lnTo>
                  <a:lnTo>
                    <a:pt x="4025" y="1955"/>
                  </a:lnTo>
                  <a:lnTo>
                    <a:pt x="3429" y="3848"/>
                  </a:lnTo>
                  <a:lnTo>
                    <a:pt x="2870" y="5727"/>
                  </a:lnTo>
                  <a:lnTo>
                    <a:pt x="3124" y="5651"/>
                  </a:lnTo>
                  <a:lnTo>
                    <a:pt x="3670" y="5524"/>
                  </a:lnTo>
                  <a:lnTo>
                    <a:pt x="4229" y="3683"/>
                  </a:lnTo>
                  <a:lnTo>
                    <a:pt x="5422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5" name="object 727">
              <a:extLst>
                <a:ext uri="{FF2B5EF4-FFF2-40B4-BE49-F238E27FC236}">
                  <a16:creationId xmlns:a16="http://schemas.microsoft.com/office/drawing/2014/main" id="{B356398F-2DB1-4EB6-8F28-7190CC5D5E7F}"/>
                </a:ext>
              </a:extLst>
            </p:cNvPr>
            <p:cNvSpPr/>
            <p:nvPr/>
          </p:nvSpPr>
          <p:spPr>
            <a:xfrm>
              <a:off x="7876921" y="6289107"/>
              <a:ext cx="5715" cy="17145"/>
            </a:xfrm>
            <a:custGeom>
              <a:avLst/>
              <a:gdLst/>
              <a:ahLst/>
              <a:cxnLst/>
              <a:rect l="l" t="t" r="r" b="b"/>
              <a:pathLst>
                <a:path w="5715" h="17145">
                  <a:moveTo>
                    <a:pt x="965" y="15595"/>
                  </a:moveTo>
                  <a:lnTo>
                    <a:pt x="762" y="15455"/>
                  </a:lnTo>
                  <a:lnTo>
                    <a:pt x="571" y="15303"/>
                  </a:lnTo>
                  <a:lnTo>
                    <a:pt x="393" y="15151"/>
                  </a:lnTo>
                  <a:lnTo>
                    <a:pt x="254" y="15646"/>
                  </a:lnTo>
                  <a:lnTo>
                    <a:pt x="0" y="16649"/>
                  </a:lnTo>
                  <a:lnTo>
                    <a:pt x="177" y="16802"/>
                  </a:lnTo>
                  <a:lnTo>
                    <a:pt x="368" y="16954"/>
                  </a:lnTo>
                  <a:lnTo>
                    <a:pt x="571" y="17081"/>
                  </a:lnTo>
                  <a:lnTo>
                    <a:pt x="698" y="16586"/>
                  </a:lnTo>
                  <a:lnTo>
                    <a:pt x="838" y="16090"/>
                  </a:lnTo>
                  <a:lnTo>
                    <a:pt x="965" y="15595"/>
                  </a:lnTo>
                  <a:close/>
                </a:path>
                <a:path w="5715" h="17145">
                  <a:moveTo>
                    <a:pt x="5676" y="0"/>
                  </a:moveTo>
                  <a:lnTo>
                    <a:pt x="4876" y="63"/>
                  </a:lnTo>
                  <a:lnTo>
                    <a:pt x="4267" y="1905"/>
                  </a:lnTo>
                  <a:lnTo>
                    <a:pt x="3683" y="3746"/>
                  </a:lnTo>
                  <a:lnTo>
                    <a:pt x="3111" y="5588"/>
                  </a:lnTo>
                  <a:lnTo>
                    <a:pt x="3632" y="5486"/>
                  </a:lnTo>
                  <a:lnTo>
                    <a:pt x="3911" y="5448"/>
                  </a:lnTo>
                  <a:lnTo>
                    <a:pt x="4483" y="3632"/>
                  </a:lnTo>
                  <a:lnTo>
                    <a:pt x="5067" y="1816"/>
                  </a:lnTo>
                  <a:lnTo>
                    <a:pt x="5676" y="0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6" name="object 728">
              <a:extLst>
                <a:ext uri="{FF2B5EF4-FFF2-40B4-BE49-F238E27FC236}">
                  <a16:creationId xmlns:a16="http://schemas.microsoft.com/office/drawing/2014/main" id="{A985216F-56BF-4FF7-94BF-23B67F617BAE}"/>
                </a:ext>
              </a:extLst>
            </p:cNvPr>
            <p:cNvSpPr/>
            <p:nvPr/>
          </p:nvSpPr>
          <p:spPr>
            <a:xfrm>
              <a:off x="7877492" y="6289031"/>
              <a:ext cx="6350" cy="17780"/>
            </a:xfrm>
            <a:custGeom>
              <a:avLst/>
              <a:gdLst/>
              <a:ahLst/>
              <a:cxnLst/>
              <a:rect l="l" t="t" r="r" b="b"/>
              <a:pathLst>
                <a:path w="6350" h="17779">
                  <a:moveTo>
                    <a:pt x="1003" y="16002"/>
                  </a:moveTo>
                  <a:lnTo>
                    <a:pt x="787" y="15913"/>
                  </a:lnTo>
                  <a:lnTo>
                    <a:pt x="584" y="15798"/>
                  </a:lnTo>
                  <a:lnTo>
                    <a:pt x="393" y="15671"/>
                  </a:lnTo>
                  <a:lnTo>
                    <a:pt x="254" y="16167"/>
                  </a:lnTo>
                  <a:lnTo>
                    <a:pt x="0" y="17157"/>
                  </a:lnTo>
                  <a:lnTo>
                    <a:pt x="190" y="17284"/>
                  </a:lnTo>
                  <a:lnTo>
                    <a:pt x="393" y="17399"/>
                  </a:lnTo>
                  <a:lnTo>
                    <a:pt x="596" y="17500"/>
                  </a:lnTo>
                  <a:lnTo>
                    <a:pt x="736" y="17005"/>
                  </a:lnTo>
                  <a:lnTo>
                    <a:pt x="863" y="16510"/>
                  </a:lnTo>
                  <a:lnTo>
                    <a:pt x="1003" y="16002"/>
                  </a:lnTo>
                  <a:close/>
                </a:path>
                <a:path w="6350" h="17779">
                  <a:moveTo>
                    <a:pt x="5905" y="0"/>
                  </a:moveTo>
                  <a:lnTo>
                    <a:pt x="5105" y="76"/>
                  </a:lnTo>
                  <a:lnTo>
                    <a:pt x="4495" y="1892"/>
                  </a:lnTo>
                  <a:lnTo>
                    <a:pt x="3898" y="3708"/>
                  </a:lnTo>
                  <a:lnTo>
                    <a:pt x="3340" y="5524"/>
                  </a:lnTo>
                  <a:lnTo>
                    <a:pt x="4127" y="5410"/>
                  </a:lnTo>
                  <a:lnTo>
                    <a:pt x="4699" y="3619"/>
                  </a:lnTo>
                  <a:lnTo>
                    <a:pt x="5905" y="0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7" name="object 729">
              <a:extLst>
                <a:ext uri="{FF2B5EF4-FFF2-40B4-BE49-F238E27FC236}">
                  <a16:creationId xmlns:a16="http://schemas.microsoft.com/office/drawing/2014/main" id="{53240FC5-B9A5-469D-8840-CFC6B472111E}"/>
                </a:ext>
              </a:extLst>
            </p:cNvPr>
            <p:cNvSpPr/>
            <p:nvPr/>
          </p:nvSpPr>
          <p:spPr>
            <a:xfrm>
              <a:off x="7878089" y="6288967"/>
              <a:ext cx="6350" cy="18415"/>
            </a:xfrm>
            <a:custGeom>
              <a:avLst/>
              <a:gdLst/>
              <a:ahLst/>
              <a:cxnLst/>
              <a:rect l="l" t="t" r="r" b="b"/>
              <a:pathLst>
                <a:path w="6350" h="18415">
                  <a:moveTo>
                    <a:pt x="1041" y="16319"/>
                  </a:moveTo>
                  <a:lnTo>
                    <a:pt x="825" y="16243"/>
                  </a:lnTo>
                  <a:lnTo>
                    <a:pt x="609" y="16154"/>
                  </a:lnTo>
                  <a:lnTo>
                    <a:pt x="406" y="16065"/>
                  </a:lnTo>
                  <a:lnTo>
                    <a:pt x="266" y="16573"/>
                  </a:lnTo>
                  <a:lnTo>
                    <a:pt x="139" y="17068"/>
                  </a:lnTo>
                  <a:lnTo>
                    <a:pt x="0" y="17564"/>
                  </a:lnTo>
                  <a:lnTo>
                    <a:pt x="203" y="17665"/>
                  </a:lnTo>
                  <a:lnTo>
                    <a:pt x="419" y="17754"/>
                  </a:lnTo>
                  <a:lnTo>
                    <a:pt x="622" y="17830"/>
                  </a:lnTo>
                  <a:lnTo>
                    <a:pt x="1041" y="16319"/>
                  </a:lnTo>
                  <a:close/>
                </a:path>
                <a:path w="6350" h="18415">
                  <a:moveTo>
                    <a:pt x="6134" y="0"/>
                  </a:moveTo>
                  <a:lnTo>
                    <a:pt x="5308" y="63"/>
                  </a:lnTo>
                  <a:lnTo>
                    <a:pt x="4699" y="1866"/>
                  </a:lnTo>
                  <a:lnTo>
                    <a:pt x="4102" y="3683"/>
                  </a:lnTo>
                  <a:lnTo>
                    <a:pt x="3530" y="5473"/>
                  </a:lnTo>
                  <a:lnTo>
                    <a:pt x="3784" y="5448"/>
                  </a:lnTo>
                  <a:lnTo>
                    <a:pt x="4051" y="5435"/>
                  </a:lnTo>
                  <a:lnTo>
                    <a:pt x="4318" y="5410"/>
                  </a:lnTo>
                  <a:lnTo>
                    <a:pt x="4902" y="3606"/>
                  </a:lnTo>
                  <a:lnTo>
                    <a:pt x="5499" y="1803"/>
                  </a:lnTo>
                  <a:lnTo>
                    <a:pt x="6134" y="0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8" name="object 730">
              <a:extLst>
                <a:ext uri="{FF2B5EF4-FFF2-40B4-BE49-F238E27FC236}">
                  <a16:creationId xmlns:a16="http://schemas.microsoft.com/office/drawing/2014/main" id="{79B8E7BA-23F7-42C2-96E4-BDEC20EBF48D}"/>
                </a:ext>
              </a:extLst>
            </p:cNvPr>
            <p:cNvSpPr/>
            <p:nvPr/>
          </p:nvSpPr>
          <p:spPr>
            <a:xfrm>
              <a:off x="7878712" y="6288904"/>
              <a:ext cx="6350" cy="18415"/>
            </a:xfrm>
            <a:custGeom>
              <a:avLst/>
              <a:gdLst/>
              <a:ahLst/>
              <a:cxnLst/>
              <a:rect l="l" t="t" r="r" b="b"/>
              <a:pathLst>
                <a:path w="6350" h="18415">
                  <a:moveTo>
                    <a:pt x="1079" y="16560"/>
                  </a:moveTo>
                  <a:lnTo>
                    <a:pt x="850" y="16510"/>
                  </a:lnTo>
                  <a:lnTo>
                    <a:pt x="419" y="16383"/>
                  </a:lnTo>
                  <a:lnTo>
                    <a:pt x="279" y="16891"/>
                  </a:lnTo>
                  <a:lnTo>
                    <a:pt x="152" y="17399"/>
                  </a:lnTo>
                  <a:lnTo>
                    <a:pt x="0" y="17907"/>
                  </a:lnTo>
                  <a:lnTo>
                    <a:pt x="215" y="17983"/>
                  </a:lnTo>
                  <a:lnTo>
                    <a:pt x="647" y="18110"/>
                  </a:lnTo>
                  <a:lnTo>
                    <a:pt x="787" y="17589"/>
                  </a:lnTo>
                  <a:lnTo>
                    <a:pt x="939" y="17081"/>
                  </a:lnTo>
                  <a:lnTo>
                    <a:pt x="1079" y="16560"/>
                  </a:lnTo>
                  <a:close/>
                </a:path>
                <a:path w="6350" h="18415">
                  <a:moveTo>
                    <a:pt x="6337" y="0"/>
                  </a:moveTo>
                  <a:lnTo>
                    <a:pt x="5511" y="63"/>
                  </a:lnTo>
                  <a:lnTo>
                    <a:pt x="4279" y="3683"/>
                  </a:lnTo>
                  <a:lnTo>
                    <a:pt x="3708" y="5486"/>
                  </a:lnTo>
                  <a:lnTo>
                    <a:pt x="3911" y="5461"/>
                  </a:lnTo>
                  <a:lnTo>
                    <a:pt x="4495" y="5422"/>
                  </a:lnTo>
                  <a:lnTo>
                    <a:pt x="5092" y="3619"/>
                  </a:lnTo>
                  <a:lnTo>
                    <a:pt x="5702" y="1816"/>
                  </a:lnTo>
                  <a:lnTo>
                    <a:pt x="6337" y="0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39" name="object 731">
              <a:extLst>
                <a:ext uri="{FF2B5EF4-FFF2-40B4-BE49-F238E27FC236}">
                  <a16:creationId xmlns:a16="http://schemas.microsoft.com/office/drawing/2014/main" id="{B75EFCC9-3EFB-4ED7-9DBF-A5EE3724115B}"/>
                </a:ext>
              </a:extLst>
            </p:cNvPr>
            <p:cNvSpPr/>
            <p:nvPr/>
          </p:nvSpPr>
          <p:spPr>
            <a:xfrm>
              <a:off x="7879360" y="6288840"/>
              <a:ext cx="6985" cy="18415"/>
            </a:xfrm>
            <a:custGeom>
              <a:avLst/>
              <a:gdLst/>
              <a:ahLst/>
              <a:cxnLst/>
              <a:rect l="l" t="t" r="r" b="b"/>
              <a:pathLst>
                <a:path w="6984" h="18415">
                  <a:moveTo>
                    <a:pt x="1104" y="16738"/>
                  </a:moveTo>
                  <a:lnTo>
                    <a:pt x="876" y="16713"/>
                  </a:lnTo>
                  <a:lnTo>
                    <a:pt x="647" y="16675"/>
                  </a:lnTo>
                  <a:lnTo>
                    <a:pt x="431" y="16624"/>
                  </a:lnTo>
                  <a:lnTo>
                    <a:pt x="279" y="17132"/>
                  </a:lnTo>
                  <a:lnTo>
                    <a:pt x="0" y="18173"/>
                  </a:lnTo>
                  <a:lnTo>
                    <a:pt x="215" y="18237"/>
                  </a:lnTo>
                  <a:lnTo>
                    <a:pt x="431" y="18275"/>
                  </a:lnTo>
                  <a:lnTo>
                    <a:pt x="660" y="18326"/>
                  </a:lnTo>
                  <a:lnTo>
                    <a:pt x="800" y="17792"/>
                  </a:lnTo>
                  <a:lnTo>
                    <a:pt x="952" y="17272"/>
                  </a:lnTo>
                  <a:lnTo>
                    <a:pt x="1104" y="16738"/>
                  </a:lnTo>
                  <a:close/>
                </a:path>
                <a:path w="6984" h="18415">
                  <a:moveTo>
                    <a:pt x="6515" y="0"/>
                  </a:moveTo>
                  <a:lnTo>
                    <a:pt x="5689" y="63"/>
                  </a:lnTo>
                  <a:lnTo>
                    <a:pt x="5054" y="1866"/>
                  </a:lnTo>
                  <a:lnTo>
                    <a:pt x="4432" y="3670"/>
                  </a:lnTo>
                  <a:lnTo>
                    <a:pt x="3835" y="5473"/>
                  </a:lnTo>
                  <a:lnTo>
                    <a:pt x="4635" y="5410"/>
                  </a:lnTo>
                  <a:lnTo>
                    <a:pt x="5245" y="3606"/>
                  </a:lnTo>
                  <a:lnTo>
                    <a:pt x="5867" y="1803"/>
                  </a:lnTo>
                  <a:lnTo>
                    <a:pt x="6515" y="0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0" name="object 732">
              <a:extLst>
                <a:ext uri="{FF2B5EF4-FFF2-40B4-BE49-F238E27FC236}">
                  <a16:creationId xmlns:a16="http://schemas.microsoft.com/office/drawing/2014/main" id="{3A8D3B84-2F87-45D5-A037-9C84B0C3FEB3}"/>
                </a:ext>
              </a:extLst>
            </p:cNvPr>
            <p:cNvSpPr/>
            <p:nvPr/>
          </p:nvSpPr>
          <p:spPr>
            <a:xfrm>
              <a:off x="7880019" y="6288777"/>
              <a:ext cx="6985" cy="19050"/>
            </a:xfrm>
            <a:custGeom>
              <a:avLst/>
              <a:gdLst/>
              <a:ahLst/>
              <a:cxnLst/>
              <a:rect l="l" t="t" r="r" b="b"/>
              <a:pathLst>
                <a:path w="6984" h="19050">
                  <a:moveTo>
                    <a:pt x="1155" y="16865"/>
                  </a:moveTo>
                  <a:lnTo>
                    <a:pt x="914" y="16852"/>
                  </a:lnTo>
                  <a:lnTo>
                    <a:pt x="457" y="16802"/>
                  </a:lnTo>
                  <a:lnTo>
                    <a:pt x="304" y="17322"/>
                  </a:lnTo>
                  <a:lnTo>
                    <a:pt x="0" y="18389"/>
                  </a:lnTo>
                  <a:lnTo>
                    <a:pt x="457" y="18465"/>
                  </a:lnTo>
                  <a:lnTo>
                    <a:pt x="685" y="18491"/>
                  </a:lnTo>
                  <a:lnTo>
                    <a:pt x="838" y="17945"/>
                  </a:lnTo>
                  <a:lnTo>
                    <a:pt x="990" y="17411"/>
                  </a:lnTo>
                  <a:lnTo>
                    <a:pt x="1155" y="16865"/>
                  </a:lnTo>
                  <a:close/>
                </a:path>
                <a:path w="6984" h="19050">
                  <a:moveTo>
                    <a:pt x="6692" y="0"/>
                  </a:moveTo>
                  <a:lnTo>
                    <a:pt x="5854" y="63"/>
                  </a:lnTo>
                  <a:lnTo>
                    <a:pt x="5207" y="1866"/>
                  </a:lnTo>
                  <a:lnTo>
                    <a:pt x="3975" y="5473"/>
                  </a:lnTo>
                  <a:lnTo>
                    <a:pt x="4787" y="5410"/>
                  </a:lnTo>
                  <a:lnTo>
                    <a:pt x="5397" y="3606"/>
                  </a:lnTo>
                  <a:lnTo>
                    <a:pt x="6032" y="1803"/>
                  </a:lnTo>
                  <a:lnTo>
                    <a:pt x="6692" y="0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1" name="object 733">
              <a:extLst>
                <a:ext uri="{FF2B5EF4-FFF2-40B4-BE49-F238E27FC236}">
                  <a16:creationId xmlns:a16="http://schemas.microsoft.com/office/drawing/2014/main" id="{4B6988CE-454F-4C45-ABB5-A566F19CA063}"/>
                </a:ext>
              </a:extLst>
            </p:cNvPr>
            <p:cNvSpPr/>
            <p:nvPr/>
          </p:nvSpPr>
          <p:spPr>
            <a:xfrm>
              <a:off x="7880705" y="6288700"/>
              <a:ext cx="6985" cy="19050"/>
            </a:xfrm>
            <a:custGeom>
              <a:avLst/>
              <a:gdLst/>
              <a:ahLst/>
              <a:cxnLst/>
              <a:rect l="l" t="t" r="r" b="b"/>
              <a:pathLst>
                <a:path w="6984" h="19050">
                  <a:moveTo>
                    <a:pt x="1181" y="16979"/>
                  </a:moveTo>
                  <a:lnTo>
                    <a:pt x="939" y="16979"/>
                  </a:lnTo>
                  <a:lnTo>
                    <a:pt x="469" y="16954"/>
                  </a:lnTo>
                  <a:lnTo>
                    <a:pt x="304" y="17500"/>
                  </a:lnTo>
                  <a:lnTo>
                    <a:pt x="152" y="18034"/>
                  </a:lnTo>
                  <a:lnTo>
                    <a:pt x="0" y="18580"/>
                  </a:lnTo>
                  <a:lnTo>
                    <a:pt x="228" y="18605"/>
                  </a:lnTo>
                  <a:lnTo>
                    <a:pt x="698" y="18630"/>
                  </a:lnTo>
                  <a:lnTo>
                    <a:pt x="863" y="18084"/>
                  </a:lnTo>
                  <a:lnTo>
                    <a:pt x="1028" y="17526"/>
                  </a:lnTo>
                  <a:lnTo>
                    <a:pt x="1181" y="16979"/>
                  </a:lnTo>
                  <a:close/>
                </a:path>
                <a:path w="6984" h="19050">
                  <a:moveTo>
                    <a:pt x="6845" y="0"/>
                  </a:moveTo>
                  <a:lnTo>
                    <a:pt x="6007" y="76"/>
                  </a:lnTo>
                  <a:lnTo>
                    <a:pt x="5346" y="1879"/>
                  </a:lnTo>
                  <a:lnTo>
                    <a:pt x="4711" y="3683"/>
                  </a:lnTo>
                  <a:lnTo>
                    <a:pt x="4102" y="5486"/>
                  </a:lnTo>
                  <a:lnTo>
                    <a:pt x="4902" y="5422"/>
                  </a:lnTo>
                  <a:lnTo>
                    <a:pt x="5524" y="3619"/>
                  </a:lnTo>
                  <a:lnTo>
                    <a:pt x="6172" y="1803"/>
                  </a:lnTo>
                  <a:lnTo>
                    <a:pt x="6845" y="0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2" name="object 734">
              <a:extLst>
                <a:ext uri="{FF2B5EF4-FFF2-40B4-BE49-F238E27FC236}">
                  <a16:creationId xmlns:a16="http://schemas.microsoft.com/office/drawing/2014/main" id="{D24FC9E9-255C-4624-99B1-B2DC9832DE59}"/>
                </a:ext>
              </a:extLst>
            </p:cNvPr>
            <p:cNvSpPr/>
            <p:nvPr/>
          </p:nvSpPr>
          <p:spPr>
            <a:xfrm>
              <a:off x="7881404" y="6288624"/>
              <a:ext cx="7620" cy="19050"/>
            </a:xfrm>
            <a:custGeom>
              <a:avLst/>
              <a:gdLst/>
              <a:ahLst/>
              <a:cxnLst/>
              <a:rect l="l" t="t" r="r" b="b"/>
              <a:pathLst>
                <a:path w="7620" h="19050">
                  <a:moveTo>
                    <a:pt x="1219" y="17043"/>
                  </a:moveTo>
                  <a:lnTo>
                    <a:pt x="965" y="17056"/>
                  </a:lnTo>
                  <a:lnTo>
                    <a:pt x="482" y="17056"/>
                  </a:lnTo>
                  <a:lnTo>
                    <a:pt x="317" y="17602"/>
                  </a:lnTo>
                  <a:lnTo>
                    <a:pt x="152" y="18161"/>
                  </a:lnTo>
                  <a:lnTo>
                    <a:pt x="0" y="18707"/>
                  </a:lnTo>
                  <a:lnTo>
                    <a:pt x="228" y="18719"/>
                  </a:lnTo>
                  <a:lnTo>
                    <a:pt x="711" y="18719"/>
                  </a:lnTo>
                  <a:lnTo>
                    <a:pt x="1041" y="17602"/>
                  </a:lnTo>
                  <a:lnTo>
                    <a:pt x="1219" y="17043"/>
                  </a:lnTo>
                  <a:close/>
                </a:path>
                <a:path w="7620" h="19050">
                  <a:moveTo>
                    <a:pt x="7010" y="0"/>
                  </a:moveTo>
                  <a:lnTo>
                    <a:pt x="6146" y="76"/>
                  </a:lnTo>
                  <a:lnTo>
                    <a:pt x="5486" y="1879"/>
                  </a:lnTo>
                  <a:lnTo>
                    <a:pt x="4838" y="3683"/>
                  </a:lnTo>
                  <a:lnTo>
                    <a:pt x="4203" y="5486"/>
                  </a:lnTo>
                  <a:lnTo>
                    <a:pt x="5029" y="5422"/>
                  </a:lnTo>
                  <a:lnTo>
                    <a:pt x="5664" y="3619"/>
                  </a:lnTo>
                  <a:lnTo>
                    <a:pt x="6324" y="1816"/>
                  </a:lnTo>
                  <a:lnTo>
                    <a:pt x="7010" y="0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3" name="object 735">
              <a:extLst>
                <a:ext uri="{FF2B5EF4-FFF2-40B4-BE49-F238E27FC236}">
                  <a16:creationId xmlns:a16="http://schemas.microsoft.com/office/drawing/2014/main" id="{7A7CE59B-F27D-4FD5-AA15-0D5F64DB6843}"/>
                </a:ext>
              </a:extLst>
            </p:cNvPr>
            <p:cNvSpPr/>
            <p:nvPr/>
          </p:nvSpPr>
          <p:spPr>
            <a:xfrm>
              <a:off x="7882115" y="6288561"/>
              <a:ext cx="7620" cy="19050"/>
            </a:xfrm>
            <a:custGeom>
              <a:avLst/>
              <a:gdLst/>
              <a:ahLst/>
              <a:cxnLst/>
              <a:rect l="l" t="t" r="r" b="b"/>
              <a:pathLst>
                <a:path w="7620" h="19050">
                  <a:moveTo>
                    <a:pt x="1257" y="17056"/>
                  </a:moveTo>
                  <a:lnTo>
                    <a:pt x="1003" y="17081"/>
                  </a:lnTo>
                  <a:lnTo>
                    <a:pt x="749" y="17094"/>
                  </a:lnTo>
                  <a:lnTo>
                    <a:pt x="508" y="17094"/>
                  </a:lnTo>
                  <a:lnTo>
                    <a:pt x="330" y="17665"/>
                  </a:lnTo>
                  <a:lnTo>
                    <a:pt x="165" y="18211"/>
                  </a:lnTo>
                  <a:lnTo>
                    <a:pt x="0" y="18770"/>
                  </a:lnTo>
                  <a:lnTo>
                    <a:pt x="482" y="18770"/>
                  </a:lnTo>
                  <a:lnTo>
                    <a:pt x="736" y="18757"/>
                  </a:lnTo>
                  <a:lnTo>
                    <a:pt x="901" y="18186"/>
                  </a:lnTo>
                  <a:lnTo>
                    <a:pt x="1079" y="17627"/>
                  </a:lnTo>
                  <a:lnTo>
                    <a:pt x="1257" y="17056"/>
                  </a:lnTo>
                  <a:close/>
                </a:path>
                <a:path w="7620" h="19050">
                  <a:moveTo>
                    <a:pt x="7137" y="0"/>
                  </a:moveTo>
                  <a:lnTo>
                    <a:pt x="6286" y="63"/>
                  </a:lnTo>
                  <a:lnTo>
                    <a:pt x="5600" y="1879"/>
                  </a:lnTo>
                  <a:lnTo>
                    <a:pt x="4940" y="3695"/>
                  </a:lnTo>
                  <a:lnTo>
                    <a:pt x="4305" y="5486"/>
                  </a:lnTo>
                  <a:lnTo>
                    <a:pt x="5130" y="5422"/>
                  </a:lnTo>
                  <a:lnTo>
                    <a:pt x="5778" y="3619"/>
                  </a:lnTo>
                  <a:lnTo>
                    <a:pt x="7137" y="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4" name="object 736">
              <a:extLst>
                <a:ext uri="{FF2B5EF4-FFF2-40B4-BE49-F238E27FC236}">
                  <a16:creationId xmlns:a16="http://schemas.microsoft.com/office/drawing/2014/main" id="{936A0E14-D90F-42BD-8734-3002D9E67A5E}"/>
                </a:ext>
              </a:extLst>
            </p:cNvPr>
            <p:cNvSpPr/>
            <p:nvPr/>
          </p:nvSpPr>
          <p:spPr>
            <a:xfrm>
              <a:off x="7882852" y="6288497"/>
              <a:ext cx="7620" cy="19050"/>
            </a:xfrm>
            <a:custGeom>
              <a:avLst/>
              <a:gdLst/>
              <a:ahLst/>
              <a:cxnLst/>
              <a:rect l="l" t="t" r="r" b="b"/>
              <a:pathLst>
                <a:path w="7620" h="19050">
                  <a:moveTo>
                    <a:pt x="1270" y="17068"/>
                  </a:moveTo>
                  <a:lnTo>
                    <a:pt x="711" y="17119"/>
                  </a:lnTo>
                  <a:lnTo>
                    <a:pt x="584" y="17119"/>
                  </a:lnTo>
                  <a:lnTo>
                    <a:pt x="342" y="17703"/>
                  </a:lnTo>
                  <a:lnTo>
                    <a:pt x="165" y="18262"/>
                  </a:lnTo>
                  <a:lnTo>
                    <a:pt x="0" y="18834"/>
                  </a:lnTo>
                  <a:lnTo>
                    <a:pt x="596" y="18796"/>
                  </a:lnTo>
                  <a:lnTo>
                    <a:pt x="736" y="18783"/>
                  </a:lnTo>
                  <a:lnTo>
                    <a:pt x="1270" y="17068"/>
                  </a:lnTo>
                  <a:close/>
                </a:path>
                <a:path w="7620" h="19050">
                  <a:moveTo>
                    <a:pt x="7264" y="0"/>
                  </a:moveTo>
                  <a:lnTo>
                    <a:pt x="6400" y="63"/>
                  </a:lnTo>
                  <a:lnTo>
                    <a:pt x="5041" y="3683"/>
                  </a:lnTo>
                  <a:lnTo>
                    <a:pt x="4394" y="5486"/>
                  </a:lnTo>
                  <a:lnTo>
                    <a:pt x="5232" y="5422"/>
                  </a:lnTo>
                  <a:lnTo>
                    <a:pt x="5892" y="3619"/>
                  </a:lnTo>
                  <a:lnTo>
                    <a:pt x="6565" y="1816"/>
                  </a:lnTo>
                  <a:lnTo>
                    <a:pt x="7264" y="0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5" name="object 737">
              <a:extLst>
                <a:ext uri="{FF2B5EF4-FFF2-40B4-BE49-F238E27FC236}">
                  <a16:creationId xmlns:a16="http://schemas.microsoft.com/office/drawing/2014/main" id="{18FFE5B4-6E7F-4205-8757-8E9350FEBF7A}"/>
                </a:ext>
              </a:extLst>
            </p:cNvPr>
            <p:cNvSpPr/>
            <p:nvPr/>
          </p:nvSpPr>
          <p:spPr>
            <a:xfrm>
              <a:off x="7883588" y="6288408"/>
              <a:ext cx="7620" cy="19050"/>
            </a:xfrm>
            <a:custGeom>
              <a:avLst/>
              <a:gdLst/>
              <a:ahLst/>
              <a:cxnLst/>
              <a:rect l="l" t="t" r="r" b="b"/>
              <a:pathLst>
                <a:path w="7620" h="19050">
                  <a:moveTo>
                    <a:pt x="1308" y="17094"/>
                  </a:moveTo>
                  <a:lnTo>
                    <a:pt x="533" y="17157"/>
                  </a:lnTo>
                  <a:lnTo>
                    <a:pt x="0" y="18872"/>
                  </a:lnTo>
                  <a:lnTo>
                    <a:pt x="762" y="18808"/>
                  </a:lnTo>
                  <a:lnTo>
                    <a:pt x="1117" y="17665"/>
                  </a:lnTo>
                  <a:lnTo>
                    <a:pt x="1308" y="17094"/>
                  </a:lnTo>
                  <a:close/>
                </a:path>
                <a:path w="7620" h="19050">
                  <a:moveTo>
                    <a:pt x="7404" y="0"/>
                  </a:moveTo>
                  <a:lnTo>
                    <a:pt x="6527" y="76"/>
                  </a:lnTo>
                  <a:lnTo>
                    <a:pt x="5829" y="1892"/>
                  </a:lnTo>
                  <a:lnTo>
                    <a:pt x="4495" y="5499"/>
                  </a:lnTo>
                  <a:lnTo>
                    <a:pt x="5334" y="5435"/>
                  </a:lnTo>
                  <a:lnTo>
                    <a:pt x="5994" y="3632"/>
                  </a:lnTo>
                  <a:lnTo>
                    <a:pt x="6692" y="1816"/>
                  </a:lnTo>
                  <a:lnTo>
                    <a:pt x="7404" y="0"/>
                  </a:lnTo>
                  <a:close/>
                </a:path>
              </a:pathLst>
            </a:custGeom>
            <a:solidFill>
              <a:srgbClr val="F8DA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6" name="object 738">
              <a:extLst>
                <a:ext uri="{FF2B5EF4-FFF2-40B4-BE49-F238E27FC236}">
                  <a16:creationId xmlns:a16="http://schemas.microsoft.com/office/drawing/2014/main" id="{2D58A6A3-F861-42C5-9996-AB2E5E2DA6B6}"/>
                </a:ext>
              </a:extLst>
            </p:cNvPr>
            <p:cNvSpPr/>
            <p:nvPr/>
          </p:nvSpPr>
          <p:spPr>
            <a:xfrm>
              <a:off x="7884350" y="6288345"/>
              <a:ext cx="7620" cy="19050"/>
            </a:xfrm>
            <a:custGeom>
              <a:avLst/>
              <a:gdLst/>
              <a:ahLst/>
              <a:cxnLst/>
              <a:rect l="l" t="t" r="r" b="b"/>
              <a:pathLst>
                <a:path w="7620" h="19050">
                  <a:moveTo>
                    <a:pt x="1320" y="17094"/>
                  </a:moveTo>
                  <a:lnTo>
                    <a:pt x="546" y="17157"/>
                  </a:lnTo>
                  <a:lnTo>
                    <a:pt x="355" y="17729"/>
                  </a:lnTo>
                  <a:lnTo>
                    <a:pt x="0" y="18872"/>
                  </a:lnTo>
                  <a:lnTo>
                    <a:pt x="762" y="18808"/>
                  </a:lnTo>
                  <a:lnTo>
                    <a:pt x="939" y="18237"/>
                  </a:lnTo>
                  <a:lnTo>
                    <a:pt x="1320" y="17094"/>
                  </a:lnTo>
                  <a:close/>
                </a:path>
                <a:path w="7620" h="19050">
                  <a:moveTo>
                    <a:pt x="7518" y="0"/>
                  </a:moveTo>
                  <a:lnTo>
                    <a:pt x="6629" y="76"/>
                  </a:lnTo>
                  <a:lnTo>
                    <a:pt x="5918" y="1879"/>
                  </a:lnTo>
                  <a:lnTo>
                    <a:pt x="5232" y="3695"/>
                  </a:lnTo>
                  <a:lnTo>
                    <a:pt x="4572" y="5499"/>
                  </a:lnTo>
                  <a:lnTo>
                    <a:pt x="5410" y="5435"/>
                  </a:lnTo>
                  <a:lnTo>
                    <a:pt x="6083" y="3632"/>
                  </a:lnTo>
                  <a:lnTo>
                    <a:pt x="6781" y="1816"/>
                  </a:lnTo>
                  <a:lnTo>
                    <a:pt x="7518" y="0"/>
                  </a:lnTo>
                  <a:close/>
                </a:path>
              </a:pathLst>
            </a:custGeom>
            <a:solidFill>
              <a:srgbClr val="F9DA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7" name="object 739">
              <a:extLst>
                <a:ext uri="{FF2B5EF4-FFF2-40B4-BE49-F238E27FC236}">
                  <a16:creationId xmlns:a16="http://schemas.microsoft.com/office/drawing/2014/main" id="{FA2633F9-7893-4647-A5E7-6FC5C06F7A50}"/>
                </a:ext>
              </a:extLst>
            </p:cNvPr>
            <p:cNvSpPr/>
            <p:nvPr/>
          </p:nvSpPr>
          <p:spPr>
            <a:xfrm>
              <a:off x="7885112" y="6288281"/>
              <a:ext cx="8255" cy="19050"/>
            </a:xfrm>
            <a:custGeom>
              <a:avLst/>
              <a:gdLst/>
              <a:ahLst/>
              <a:cxnLst/>
              <a:rect l="l" t="t" r="r" b="b"/>
              <a:pathLst>
                <a:path w="8254" h="19050">
                  <a:moveTo>
                    <a:pt x="1333" y="17094"/>
                  </a:moveTo>
                  <a:lnTo>
                    <a:pt x="558" y="17157"/>
                  </a:lnTo>
                  <a:lnTo>
                    <a:pt x="177" y="18300"/>
                  </a:lnTo>
                  <a:lnTo>
                    <a:pt x="0" y="18872"/>
                  </a:lnTo>
                  <a:lnTo>
                    <a:pt x="774" y="18808"/>
                  </a:lnTo>
                  <a:lnTo>
                    <a:pt x="952" y="18237"/>
                  </a:lnTo>
                  <a:lnTo>
                    <a:pt x="1333" y="17094"/>
                  </a:lnTo>
                  <a:close/>
                </a:path>
                <a:path w="8254" h="19050">
                  <a:moveTo>
                    <a:pt x="7645" y="0"/>
                  </a:moveTo>
                  <a:lnTo>
                    <a:pt x="6756" y="63"/>
                  </a:lnTo>
                  <a:lnTo>
                    <a:pt x="6032" y="1879"/>
                  </a:lnTo>
                  <a:lnTo>
                    <a:pt x="5334" y="3695"/>
                  </a:lnTo>
                  <a:lnTo>
                    <a:pt x="4660" y="5499"/>
                  </a:lnTo>
                  <a:lnTo>
                    <a:pt x="5511" y="5435"/>
                  </a:lnTo>
                  <a:lnTo>
                    <a:pt x="6197" y="3632"/>
                  </a:lnTo>
                  <a:lnTo>
                    <a:pt x="6908" y="1816"/>
                  </a:lnTo>
                  <a:lnTo>
                    <a:pt x="7645" y="0"/>
                  </a:lnTo>
                  <a:close/>
                </a:path>
              </a:pathLst>
            </a:custGeom>
            <a:solidFill>
              <a:srgbClr val="FADC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8" name="object 740">
              <a:extLst>
                <a:ext uri="{FF2B5EF4-FFF2-40B4-BE49-F238E27FC236}">
                  <a16:creationId xmlns:a16="http://schemas.microsoft.com/office/drawing/2014/main" id="{DA2DE32E-D659-493F-950D-8F12E07508CB}"/>
                </a:ext>
              </a:extLst>
            </p:cNvPr>
            <p:cNvSpPr/>
            <p:nvPr/>
          </p:nvSpPr>
          <p:spPr>
            <a:xfrm>
              <a:off x="7885887" y="6288192"/>
              <a:ext cx="8255" cy="19050"/>
            </a:xfrm>
            <a:custGeom>
              <a:avLst/>
              <a:gdLst/>
              <a:ahLst/>
              <a:cxnLst/>
              <a:rect l="l" t="t" r="r" b="b"/>
              <a:pathLst>
                <a:path w="8254" h="19050">
                  <a:moveTo>
                    <a:pt x="1358" y="17119"/>
                  </a:moveTo>
                  <a:lnTo>
                    <a:pt x="571" y="17183"/>
                  </a:lnTo>
                  <a:lnTo>
                    <a:pt x="368" y="17754"/>
                  </a:lnTo>
                  <a:lnTo>
                    <a:pt x="190" y="18326"/>
                  </a:lnTo>
                  <a:lnTo>
                    <a:pt x="0" y="18897"/>
                  </a:lnTo>
                  <a:lnTo>
                    <a:pt x="774" y="18834"/>
                  </a:lnTo>
                  <a:lnTo>
                    <a:pt x="1155" y="17691"/>
                  </a:lnTo>
                  <a:lnTo>
                    <a:pt x="1358" y="17119"/>
                  </a:lnTo>
                  <a:close/>
                </a:path>
                <a:path w="8254" h="19050">
                  <a:moveTo>
                    <a:pt x="7759" y="0"/>
                  </a:moveTo>
                  <a:lnTo>
                    <a:pt x="7607" y="25"/>
                  </a:lnTo>
                  <a:lnTo>
                    <a:pt x="6858" y="88"/>
                  </a:lnTo>
                  <a:lnTo>
                    <a:pt x="5410" y="3708"/>
                  </a:lnTo>
                  <a:lnTo>
                    <a:pt x="4724" y="5524"/>
                  </a:lnTo>
                  <a:lnTo>
                    <a:pt x="5588" y="5448"/>
                  </a:lnTo>
                  <a:lnTo>
                    <a:pt x="6286" y="3644"/>
                  </a:lnTo>
                  <a:lnTo>
                    <a:pt x="7010" y="1828"/>
                  </a:lnTo>
                  <a:lnTo>
                    <a:pt x="7759" y="0"/>
                  </a:lnTo>
                  <a:close/>
                </a:path>
              </a:pathLst>
            </a:custGeom>
            <a:solidFill>
              <a:srgbClr val="FAD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49" name="object 741">
              <a:extLst>
                <a:ext uri="{FF2B5EF4-FFF2-40B4-BE49-F238E27FC236}">
                  <a16:creationId xmlns:a16="http://schemas.microsoft.com/office/drawing/2014/main" id="{CEF5FFCD-69CA-4B21-96F0-9CFA8F7C7972}"/>
                </a:ext>
              </a:extLst>
            </p:cNvPr>
            <p:cNvSpPr/>
            <p:nvPr/>
          </p:nvSpPr>
          <p:spPr>
            <a:xfrm>
              <a:off x="7886662" y="6288015"/>
              <a:ext cx="8255" cy="19050"/>
            </a:xfrm>
            <a:custGeom>
              <a:avLst/>
              <a:gdLst/>
              <a:ahLst/>
              <a:cxnLst/>
              <a:rect l="l" t="t" r="r" b="b"/>
              <a:pathLst>
                <a:path w="8254" h="19050">
                  <a:moveTo>
                    <a:pt x="1371" y="17233"/>
                  </a:moveTo>
                  <a:lnTo>
                    <a:pt x="584" y="17297"/>
                  </a:lnTo>
                  <a:lnTo>
                    <a:pt x="381" y="17868"/>
                  </a:lnTo>
                  <a:lnTo>
                    <a:pt x="0" y="19011"/>
                  </a:lnTo>
                  <a:lnTo>
                    <a:pt x="787" y="18948"/>
                  </a:lnTo>
                  <a:lnTo>
                    <a:pt x="977" y="18376"/>
                  </a:lnTo>
                  <a:lnTo>
                    <a:pt x="1181" y="17805"/>
                  </a:lnTo>
                  <a:lnTo>
                    <a:pt x="1371" y="17233"/>
                  </a:lnTo>
                  <a:close/>
                </a:path>
                <a:path w="8254" h="19050">
                  <a:moveTo>
                    <a:pt x="7924" y="0"/>
                  </a:moveTo>
                  <a:lnTo>
                    <a:pt x="7658" y="76"/>
                  </a:lnTo>
                  <a:lnTo>
                    <a:pt x="7340" y="139"/>
                  </a:lnTo>
                  <a:lnTo>
                    <a:pt x="6985" y="177"/>
                  </a:lnTo>
                  <a:lnTo>
                    <a:pt x="6235" y="1993"/>
                  </a:lnTo>
                  <a:lnTo>
                    <a:pt x="5511" y="3810"/>
                  </a:lnTo>
                  <a:lnTo>
                    <a:pt x="4813" y="5613"/>
                  </a:lnTo>
                  <a:lnTo>
                    <a:pt x="5676" y="5549"/>
                  </a:lnTo>
                  <a:lnTo>
                    <a:pt x="6400" y="3708"/>
                  </a:lnTo>
                  <a:lnTo>
                    <a:pt x="7150" y="1854"/>
                  </a:lnTo>
                  <a:lnTo>
                    <a:pt x="7924" y="0"/>
                  </a:lnTo>
                  <a:close/>
                </a:path>
              </a:pathLst>
            </a:custGeom>
            <a:solidFill>
              <a:srgbClr val="FCDD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0" name="object 742">
              <a:extLst>
                <a:ext uri="{FF2B5EF4-FFF2-40B4-BE49-F238E27FC236}">
                  <a16:creationId xmlns:a16="http://schemas.microsoft.com/office/drawing/2014/main" id="{B52763E6-47AF-4E5D-A645-91317D1E72B1}"/>
                </a:ext>
              </a:extLst>
            </p:cNvPr>
            <p:cNvSpPr/>
            <p:nvPr/>
          </p:nvSpPr>
          <p:spPr>
            <a:xfrm>
              <a:off x="7887449" y="6284840"/>
              <a:ext cx="9525" cy="22225"/>
            </a:xfrm>
            <a:custGeom>
              <a:avLst/>
              <a:gdLst/>
              <a:ahLst/>
              <a:cxnLst/>
              <a:rect l="l" t="t" r="r" b="b"/>
              <a:pathLst>
                <a:path w="9525" h="22225">
                  <a:moveTo>
                    <a:pt x="1384" y="20345"/>
                  </a:moveTo>
                  <a:lnTo>
                    <a:pt x="584" y="20408"/>
                  </a:lnTo>
                  <a:lnTo>
                    <a:pt x="381" y="20980"/>
                  </a:lnTo>
                  <a:lnTo>
                    <a:pt x="0" y="22123"/>
                  </a:lnTo>
                  <a:lnTo>
                    <a:pt x="787" y="22059"/>
                  </a:lnTo>
                  <a:lnTo>
                    <a:pt x="977" y="21488"/>
                  </a:lnTo>
                  <a:lnTo>
                    <a:pt x="1384" y="20345"/>
                  </a:lnTo>
                  <a:close/>
                </a:path>
                <a:path w="9525" h="22225">
                  <a:moveTo>
                    <a:pt x="8115" y="2882"/>
                  </a:moveTo>
                  <a:lnTo>
                    <a:pt x="7137" y="3175"/>
                  </a:lnTo>
                  <a:lnTo>
                    <a:pt x="5626" y="6883"/>
                  </a:lnTo>
                  <a:lnTo>
                    <a:pt x="4902" y="8737"/>
                  </a:lnTo>
                  <a:lnTo>
                    <a:pt x="5765" y="8661"/>
                  </a:lnTo>
                  <a:lnTo>
                    <a:pt x="6908" y="5791"/>
                  </a:lnTo>
                  <a:lnTo>
                    <a:pt x="8115" y="2882"/>
                  </a:lnTo>
                  <a:close/>
                </a:path>
                <a:path w="9525" h="22225">
                  <a:moveTo>
                    <a:pt x="8788" y="1879"/>
                  </a:moveTo>
                  <a:lnTo>
                    <a:pt x="8750" y="1422"/>
                  </a:lnTo>
                  <a:lnTo>
                    <a:pt x="8115" y="2882"/>
                  </a:lnTo>
                  <a:lnTo>
                    <a:pt x="8420" y="2794"/>
                  </a:lnTo>
                  <a:lnTo>
                    <a:pt x="8788" y="1879"/>
                  </a:lnTo>
                  <a:close/>
                </a:path>
                <a:path w="9525" h="22225">
                  <a:moveTo>
                    <a:pt x="9372" y="0"/>
                  </a:moveTo>
                  <a:lnTo>
                    <a:pt x="8648" y="50"/>
                  </a:lnTo>
                  <a:lnTo>
                    <a:pt x="8750" y="1422"/>
                  </a:lnTo>
                  <a:lnTo>
                    <a:pt x="9372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1" name="object 743">
              <a:extLst>
                <a:ext uri="{FF2B5EF4-FFF2-40B4-BE49-F238E27FC236}">
                  <a16:creationId xmlns:a16="http://schemas.microsoft.com/office/drawing/2014/main" id="{2A40BEC8-CF62-4D36-8BCD-1BE52EED9602}"/>
                </a:ext>
              </a:extLst>
            </p:cNvPr>
            <p:cNvSpPr/>
            <p:nvPr/>
          </p:nvSpPr>
          <p:spPr>
            <a:xfrm>
              <a:off x="7888237" y="6284814"/>
              <a:ext cx="9525" cy="22225"/>
            </a:xfrm>
            <a:custGeom>
              <a:avLst/>
              <a:gdLst/>
              <a:ahLst/>
              <a:cxnLst/>
              <a:rect l="l" t="t" r="r" b="b"/>
              <a:pathLst>
                <a:path w="9525" h="22225">
                  <a:moveTo>
                    <a:pt x="1409" y="20307"/>
                  </a:moveTo>
                  <a:lnTo>
                    <a:pt x="596" y="20370"/>
                  </a:lnTo>
                  <a:lnTo>
                    <a:pt x="406" y="20942"/>
                  </a:lnTo>
                  <a:lnTo>
                    <a:pt x="0" y="22085"/>
                  </a:lnTo>
                  <a:lnTo>
                    <a:pt x="800" y="22021"/>
                  </a:lnTo>
                  <a:lnTo>
                    <a:pt x="1409" y="20307"/>
                  </a:lnTo>
                  <a:close/>
                </a:path>
                <a:path w="9525" h="22225">
                  <a:moveTo>
                    <a:pt x="8991" y="1130"/>
                  </a:moveTo>
                  <a:lnTo>
                    <a:pt x="8902" y="0"/>
                  </a:lnTo>
                  <a:lnTo>
                    <a:pt x="8585" y="25"/>
                  </a:lnTo>
                  <a:lnTo>
                    <a:pt x="7327" y="2921"/>
                  </a:lnTo>
                  <a:lnTo>
                    <a:pt x="6121" y="5816"/>
                  </a:lnTo>
                  <a:lnTo>
                    <a:pt x="4978" y="8686"/>
                  </a:lnTo>
                  <a:lnTo>
                    <a:pt x="5600" y="8636"/>
                  </a:lnTo>
                  <a:lnTo>
                    <a:pt x="5854" y="8623"/>
                  </a:lnTo>
                  <a:lnTo>
                    <a:pt x="6858" y="6134"/>
                  </a:lnTo>
                  <a:lnTo>
                    <a:pt x="8991" y="113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2" name="object 744">
              <a:extLst>
                <a:ext uri="{FF2B5EF4-FFF2-40B4-BE49-F238E27FC236}">
                  <a16:creationId xmlns:a16="http://schemas.microsoft.com/office/drawing/2014/main" id="{7BA372A1-6593-4C62-BAEB-468D77CD2582}"/>
                </a:ext>
              </a:extLst>
            </p:cNvPr>
            <p:cNvSpPr/>
            <p:nvPr/>
          </p:nvSpPr>
          <p:spPr>
            <a:xfrm>
              <a:off x="7889037" y="6285944"/>
              <a:ext cx="8890" cy="20955"/>
            </a:xfrm>
            <a:custGeom>
              <a:avLst/>
              <a:gdLst/>
              <a:ahLst/>
              <a:cxnLst/>
              <a:rect l="l" t="t" r="r" b="b"/>
              <a:pathLst>
                <a:path w="8890" h="20954">
                  <a:moveTo>
                    <a:pt x="1422" y="19113"/>
                  </a:moveTo>
                  <a:lnTo>
                    <a:pt x="609" y="19177"/>
                  </a:lnTo>
                  <a:lnTo>
                    <a:pt x="406" y="19748"/>
                  </a:lnTo>
                  <a:lnTo>
                    <a:pt x="190" y="20320"/>
                  </a:lnTo>
                  <a:lnTo>
                    <a:pt x="0" y="20891"/>
                  </a:lnTo>
                  <a:lnTo>
                    <a:pt x="800" y="20828"/>
                  </a:lnTo>
                  <a:lnTo>
                    <a:pt x="1003" y="20256"/>
                  </a:lnTo>
                  <a:lnTo>
                    <a:pt x="1219" y="19685"/>
                  </a:lnTo>
                  <a:lnTo>
                    <a:pt x="1422" y="19113"/>
                  </a:lnTo>
                  <a:close/>
                </a:path>
                <a:path w="8890" h="20954">
                  <a:moveTo>
                    <a:pt x="8331" y="1727"/>
                  </a:moveTo>
                  <a:lnTo>
                    <a:pt x="8191" y="0"/>
                  </a:lnTo>
                  <a:lnTo>
                    <a:pt x="7099" y="2514"/>
                  </a:lnTo>
                  <a:lnTo>
                    <a:pt x="6057" y="5003"/>
                  </a:lnTo>
                  <a:lnTo>
                    <a:pt x="5054" y="7493"/>
                  </a:lnTo>
                  <a:lnTo>
                    <a:pt x="5651" y="7480"/>
                  </a:lnTo>
                  <a:lnTo>
                    <a:pt x="5905" y="7505"/>
                  </a:lnTo>
                  <a:lnTo>
                    <a:pt x="6692" y="5588"/>
                  </a:lnTo>
                  <a:lnTo>
                    <a:pt x="8331" y="1727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3" name="object 745">
              <a:extLst>
                <a:ext uri="{FF2B5EF4-FFF2-40B4-BE49-F238E27FC236}">
                  <a16:creationId xmlns:a16="http://schemas.microsoft.com/office/drawing/2014/main" id="{3B82F7AD-D17F-4B79-90F5-D36E4D3E5AB0}"/>
                </a:ext>
              </a:extLst>
            </p:cNvPr>
            <p:cNvSpPr/>
            <p:nvPr/>
          </p:nvSpPr>
          <p:spPr>
            <a:xfrm>
              <a:off x="7889837" y="6287672"/>
              <a:ext cx="8255" cy="19685"/>
            </a:xfrm>
            <a:custGeom>
              <a:avLst/>
              <a:gdLst/>
              <a:ahLst/>
              <a:cxnLst/>
              <a:rect l="l" t="t" r="r" b="b"/>
              <a:pathLst>
                <a:path w="8254" h="19684">
                  <a:moveTo>
                    <a:pt x="1435" y="17310"/>
                  </a:moveTo>
                  <a:lnTo>
                    <a:pt x="622" y="17373"/>
                  </a:lnTo>
                  <a:lnTo>
                    <a:pt x="406" y="17945"/>
                  </a:lnTo>
                  <a:lnTo>
                    <a:pt x="0" y="19088"/>
                  </a:lnTo>
                  <a:lnTo>
                    <a:pt x="812" y="19024"/>
                  </a:lnTo>
                  <a:lnTo>
                    <a:pt x="1016" y="18453"/>
                  </a:lnTo>
                  <a:lnTo>
                    <a:pt x="1231" y="17881"/>
                  </a:lnTo>
                  <a:lnTo>
                    <a:pt x="1435" y="17310"/>
                  </a:lnTo>
                  <a:close/>
                </a:path>
                <a:path w="8254" h="19684">
                  <a:moveTo>
                    <a:pt x="7670" y="1727"/>
                  </a:moveTo>
                  <a:lnTo>
                    <a:pt x="7531" y="0"/>
                  </a:lnTo>
                  <a:lnTo>
                    <a:pt x="6692" y="1930"/>
                  </a:lnTo>
                  <a:lnTo>
                    <a:pt x="5880" y="3848"/>
                  </a:lnTo>
                  <a:lnTo>
                    <a:pt x="5105" y="5765"/>
                  </a:lnTo>
                  <a:lnTo>
                    <a:pt x="5397" y="5803"/>
                  </a:lnTo>
                  <a:lnTo>
                    <a:pt x="5651" y="5867"/>
                  </a:lnTo>
                  <a:lnTo>
                    <a:pt x="5880" y="5969"/>
                  </a:lnTo>
                  <a:lnTo>
                    <a:pt x="7061" y="3149"/>
                  </a:lnTo>
                  <a:lnTo>
                    <a:pt x="7670" y="1727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4" name="object 746">
              <a:extLst>
                <a:ext uri="{FF2B5EF4-FFF2-40B4-BE49-F238E27FC236}">
                  <a16:creationId xmlns:a16="http://schemas.microsoft.com/office/drawing/2014/main" id="{54263188-CF5F-4750-BEB1-3DE58405698B}"/>
                </a:ext>
              </a:extLst>
            </p:cNvPr>
            <p:cNvSpPr/>
            <p:nvPr/>
          </p:nvSpPr>
          <p:spPr>
            <a:xfrm>
              <a:off x="7890662" y="6289412"/>
              <a:ext cx="6985" cy="17780"/>
            </a:xfrm>
            <a:custGeom>
              <a:avLst/>
              <a:gdLst/>
              <a:ahLst/>
              <a:cxnLst/>
              <a:rect l="l" t="t" r="r" b="b"/>
              <a:pathLst>
                <a:path w="6984" h="17779">
                  <a:moveTo>
                    <a:pt x="1447" y="15506"/>
                  </a:moveTo>
                  <a:lnTo>
                    <a:pt x="622" y="15570"/>
                  </a:lnTo>
                  <a:lnTo>
                    <a:pt x="406" y="16141"/>
                  </a:lnTo>
                  <a:lnTo>
                    <a:pt x="0" y="17284"/>
                  </a:lnTo>
                  <a:lnTo>
                    <a:pt x="812" y="17221"/>
                  </a:lnTo>
                  <a:lnTo>
                    <a:pt x="1016" y="16649"/>
                  </a:lnTo>
                  <a:lnTo>
                    <a:pt x="1447" y="15506"/>
                  </a:lnTo>
                  <a:close/>
                </a:path>
                <a:path w="6984" h="17779">
                  <a:moveTo>
                    <a:pt x="6985" y="1727"/>
                  </a:moveTo>
                  <a:lnTo>
                    <a:pt x="6845" y="0"/>
                  </a:lnTo>
                  <a:lnTo>
                    <a:pt x="6235" y="1409"/>
                  </a:lnTo>
                  <a:lnTo>
                    <a:pt x="5638" y="2819"/>
                  </a:lnTo>
                  <a:lnTo>
                    <a:pt x="5054" y="4229"/>
                  </a:lnTo>
                  <a:lnTo>
                    <a:pt x="5321" y="4356"/>
                  </a:lnTo>
                  <a:lnTo>
                    <a:pt x="5537" y="4521"/>
                  </a:lnTo>
                  <a:lnTo>
                    <a:pt x="5715" y="4737"/>
                  </a:lnTo>
                  <a:lnTo>
                    <a:pt x="6134" y="3733"/>
                  </a:lnTo>
                  <a:lnTo>
                    <a:pt x="6565" y="2730"/>
                  </a:lnTo>
                  <a:lnTo>
                    <a:pt x="6985" y="1727"/>
                  </a:lnTo>
                  <a:close/>
                </a:path>
              </a:pathLst>
            </a:custGeom>
            <a:solidFill>
              <a:srgbClr val="FEE46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5" name="object 747">
              <a:extLst>
                <a:ext uri="{FF2B5EF4-FFF2-40B4-BE49-F238E27FC236}">
                  <a16:creationId xmlns:a16="http://schemas.microsoft.com/office/drawing/2014/main" id="{4603B01C-CC00-4352-88AE-A25D1301C334}"/>
                </a:ext>
              </a:extLst>
            </p:cNvPr>
            <p:cNvSpPr/>
            <p:nvPr/>
          </p:nvSpPr>
          <p:spPr>
            <a:xfrm>
              <a:off x="7891475" y="6291126"/>
              <a:ext cx="6350" cy="15875"/>
            </a:xfrm>
            <a:custGeom>
              <a:avLst/>
              <a:gdLst/>
              <a:ahLst/>
              <a:cxnLst/>
              <a:rect l="l" t="t" r="r" b="b"/>
              <a:pathLst>
                <a:path w="6350" h="15875">
                  <a:moveTo>
                    <a:pt x="1473" y="13728"/>
                  </a:moveTo>
                  <a:lnTo>
                    <a:pt x="635" y="13792"/>
                  </a:lnTo>
                  <a:lnTo>
                    <a:pt x="203" y="14935"/>
                  </a:lnTo>
                  <a:lnTo>
                    <a:pt x="0" y="15506"/>
                  </a:lnTo>
                  <a:lnTo>
                    <a:pt x="825" y="15443"/>
                  </a:lnTo>
                  <a:lnTo>
                    <a:pt x="1473" y="13728"/>
                  </a:lnTo>
                  <a:close/>
                </a:path>
                <a:path w="6350" h="15875">
                  <a:moveTo>
                    <a:pt x="6324" y="1727"/>
                  </a:moveTo>
                  <a:lnTo>
                    <a:pt x="6184" y="0"/>
                  </a:lnTo>
                  <a:lnTo>
                    <a:pt x="5321" y="2019"/>
                  </a:lnTo>
                  <a:lnTo>
                    <a:pt x="4902" y="3022"/>
                  </a:lnTo>
                  <a:lnTo>
                    <a:pt x="5105" y="3263"/>
                  </a:lnTo>
                  <a:lnTo>
                    <a:pt x="5257" y="3594"/>
                  </a:lnTo>
                  <a:lnTo>
                    <a:pt x="5359" y="4000"/>
                  </a:lnTo>
                  <a:lnTo>
                    <a:pt x="5994" y="2489"/>
                  </a:lnTo>
                  <a:lnTo>
                    <a:pt x="6324" y="1727"/>
                  </a:lnTo>
                  <a:close/>
                </a:path>
              </a:pathLst>
            </a:custGeom>
            <a:solidFill>
              <a:srgbClr val="FEE5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6" name="object 748">
              <a:extLst>
                <a:ext uri="{FF2B5EF4-FFF2-40B4-BE49-F238E27FC236}">
                  <a16:creationId xmlns:a16="http://schemas.microsoft.com/office/drawing/2014/main" id="{C422FCEC-B72C-47F4-AC62-86FC405418F3}"/>
                </a:ext>
              </a:extLst>
            </p:cNvPr>
            <p:cNvSpPr/>
            <p:nvPr/>
          </p:nvSpPr>
          <p:spPr>
            <a:xfrm>
              <a:off x="7892301" y="6292853"/>
              <a:ext cx="6985" cy="16510"/>
            </a:xfrm>
            <a:custGeom>
              <a:avLst/>
              <a:gdLst/>
              <a:ahLst/>
              <a:cxnLst/>
              <a:rect l="l" t="t" r="r" b="b"/>
              <a:pathLst>
                <a:path w="6984" h="16509">
                  <a:moveTo>
                    <a:pt x="5765" y="3352"/>
                  </a:moveTo>
                  <a:lnTo>
                    <a:pt x="5486" y="0"/>
                  </a:lnTo>
                  <a:lnTo>
                    <a:pt x="4851" y="1524"/>
                  </a:lnTo>
                  <a:lnTo>
                    <a:pt x="4521" y="2273"/>
                  </a:lnTo>
                  <a:lnTo>
                    <a:pt x="4610" y="2603"/>
                  </a:lnTo>
                  <a:lnTo>
                    <a:pt x="4673" y="2997"/>
                  </a:lnTo>
                  <a:lnTo>
                    <a:pt x="4711" y="3441"/>
                  </a:lnTo>
                  <a:lnTo>
                    <a:pt x="5765" y="3352"/>
                  </a:lnTo>
                  <a:close/>
                </a:path>
                <a:path w="6984" h="16509">
                  <a:moveTo>
                    <a:pt x="6819" y="16268"/>
                  </a:moveTo>
                  <a:lnTo>
                    <a:pt x="6184" y="8432"/>
                  </a:lnTo>
                  <a:lnTo>
                    <a:pt x="5130" y="8509"/>
                  </a:lnTo>
                  <a:lnTo>
                    <a:pt x="5321" y="10807"/>
                  </a:lnTo>
                  <a:lnTo>
                    <a:pt x="4686" y="11658"/>
                  </a:lnTo>
                  <a:lnTo>
                    <a:pt x="647" y="11988"/>
                  </a:lnTo>
                  <a:lnTo>
                    <a:pt x="0" y="13703"/>
                  </a:lnTo>
                  <a:lnTo>
                    <a:pt x="2590" y="13500"/>
                  </a:lnTo>
                  <a:lnTo>
                    <a:pt x="4826" y="13322"/>
                  </a:lnTo>
                  <a:lnTo>
                    <a:pt x="5588" y="14058"/>
                  </a:lnTo>
                  <a:lnTo>
                    <a:pt x="5778" y="16357"/>
                  </a:lnTo>
                  <a:lnTo>
                    <a:pt x="6819" y="16268"/>
                  </a:lnTo>
                  <a:close/>
                </a:path>
              </a:pathLst>
            </a:custGeom>
            <a:solidFill>
              <a:srgbClr val="FEE66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7" name="object 749">
              <a:extLst>
                <a:ext uri="{FF2B5EF4-FFF2-40B4-BE49-F238E27FC236}">
                  <a16:creationId xmlns:a16="http://schemas.microsoft.com/office/drawing/2014/main" id="{028944CF-F36B-4A0E-8862-0D87B4CF98ED}"/>
                </a:ext>
              </a:extLst>
            </p:cNvPr>
            <p:cNvSpPr/>
            <p:nvPr/>
          </p:nvSpPr>
          <p:spPr>
            <a:xfrm>
              <a:off x="7876927" y="6317298"/>
              <a:ext cx="635" cy="1270"/>
            </a:xfrm>
            <a:custGeom>
              <a:avLst/>
              <a:gdLst/>
              <a:ahLst/>
              <a:cxnLst/>
              <a:rect l="l" t="t" r="r" b="b"/>
              <a:pathLst>
                <a:path w="634" h="1270">
                  <a:moveTo>
                    <a:pt x="482" y="0"/>
                  </a:moveTo>
                  <a:lnTo>
                    <a:pt x="0" y="126"/>
                  </a:lnTo>
                  <a:lnTo>
                    <a:pt x="241" y="1028"/>
                  </a:lnTo>
                  <a:lnTo>
                    <a:pt x="330" y="685"/>
                  </a:lnTo>
                  <a:lnTo>
                    <a:pt x="406" y="330"/>
                  </a:lnTo>
                  <a:lnTo>
                    <a:pt x="482" y="0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8" name="object 750">
              <a:extLst>
                <a:ext uri="{FF2B5EF4-FFF2-40B4-BE49-F238E27FC236}">
                  <a16:creationId xmlns:a16="http://schemas.microsoft.com/office/drawing/2014/main" id="{A1E3A269-0B95-4D58-BF90-C18BFA031E15}"/>
                </a:ext>
              </a:extLst>
            </p:cNvPr>
            <p:cNvSpPr/>
            <p:nvPr/>
          </p:nvSpPr>
          <p:spPr>
            <a:xfrm>
              <a:off x="7877169" y="6317142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774" y="0"/>
                  </a:moveTo>
                  <a:lnTo>
                    <a:pt x="241" y="152"/>
                  </a:lnTo>
                  <a:lnTo>
                    <a:pt x="165" y="495"/>
                  </a:lnTo>
                  <a:lnTo>
                    <a:pt x="76" y="838"/>
                  </a:lnTo>
                  <a:lnTo>
                    <a:pt x="0" y="1181"/>
                  </a:lnTo>
                  <a:lnTo>
                    <a:pt x="355" y="2451"/>
                  </a:lnTo>
                  <a:lnTo>
                    <a:pt x="520" y="1714"/>
                  </a:lnTo>
                  <a:lnTo>
                    <a:pt x="876" y="215"/>
                  </a:lnTo>
                  <a:lnTo>
                    <a:pt x="812" y="76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59" name="object 751">
              <a:extLst>
                <a:ext uri="{FF2B5EF4-FFF2-40B4-BE49-F238E27FC236}">
                  <a16:creationId xmlns:a16="http://schemas.microsoft.com/office/drawing/2014/main" id="{8F7FC0D4-AD5F-49CE-8362-C17710A98257}"/>
                </a:ext>
              </a:extLst>
            </p:cNvPr>
            <p:cNvSpPr/>
            <p:nvPr/>
          </p:nvSpPr>
          <p:spPr>
            <a:xfrm>
              <a:off x="7877525" y="6317362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520" y="0"/>
                  </a:moveTo>
                  <a:lnTo>
                    <a:pt x="165" y="1498"/>
                  </a:lnTo>
                  <a:lnTo>
                    <a:pt x="0" y="2235"/>
                  </a:lnTo>
                  <a:lnTo>
                    <a:pt x="342" y="3505"/>
                  </a:lnTo>
                  <a:lnTo>
                    <a:pt x="749" y="1739"/>
                  </a:lnTo>
                  <a:lnTo>
                    <a:pt x="965" y="863"/>
                  </a:lnTo>
                  <a:lnTo>
                    <a:pt x="673" y="317"/>
                  </a:lnTo>
                  <a:lnTo>
                    <a:pt x="520" y="0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0" name="object 752">
              <a:extLst>
                <a:ext uri="{FF2B5EF4-FFF2-40B4-BE49-F238E27FC236}">
                  <a16:creationId xmlns:a16="http://schemas.microsoft.com/office/drawing/2014/main" id="{81785A3B-0DB2-4E42-9411-CDA3E8464D18}"/>
                </a:ext>
              </a:extLst>
            </p:cNvPr>
            <p:cNvSpPr/>
            <p:nvPr/>
          </p:nvSpPr>
          <p:spPr>
            <a:xfrm>
              <a:off x="7877873" y="6318220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622" y="0"/>
                  </a:moveTo>
                  <a:lnTo>
                    <a:pt x="406" y="888"/>
                  </a:lnTo>
                  <a:lnTo>
                    <a:pt x="0" y="2641"/>
                  </a:lnTo>
                  <a:lnTo>
                    <a:pt x="342" y="3911"/>
                  </a:lnTo>
                  <a:lnTo>
                    <a:pt x="584" y="2844"/>
                  </a:lnTo>
                  <a:lnTo>
                    <a:pt x="838" y="1777"/>
                  </a:lnTo>
                  <a:lnTo>
                    <a:pt x="1104" y="698"/>
                  </a:lnTo>
                  <a:lnTo>
                    <a:pt x="939" y="495"/>
                  </a:lnTo>
                  <a:lnTo>
                    <a:pt x="787" y="266"/>
                  </a:lnTo>
                  <a:lnTo>
                    <a:pt x="622" y="0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1" name="object 753">
              <a:extLst>
                <a:ext uri="{FF2B5EF4-FFF2-40B4-BE49-F238E27FC236}">
                  <a16:creationId xmlns:a16="http://schemas.microsoft.com/office/drawing/2014/main" id="{212BEFFC-8B4C-4576-ACC5-29512F656ACC}"/>
                </a:ext>
              </a:extLst>
            </p:cNvPr>
            <p:cNvSpPr/>
            <p:nvPr/>
          </p:nvSpPr>
          <p:spPr>
            <a:xfrm>
              <a:off x="7878217" y="6318924"/>
              <a:ext cx="1905" cy="5080"/>
            </a:xfrm>
            <a:custGeom>
              <a:avLst/>
              <a:gdLst/>
              <a:ahLst/>
              <a:cxnLst/>
              <a:rect l="l" t="t" r="r" b="b"/>
              <a:pathLst>
                <a:path w="1904" h="5079">
                  <a:moveTo>
                    <a:pt x="762" y="0"/>
                  </a:moveTo>
                  <a:lnTo>
                    <a:pt x="495" y="1066"/>
                  </a:lnTo>
                  <a:lnTo>
                    <a:pt x="241" y="2146"/>
                  </a:lnTo>
                  <a:lnTo>
                    <a:pt x="0" y="3213"/>
                  </a:lnTo>
                  <a:lnTo>
                    <a:pt x="342" y="4470"/>
                  </a:lnTo>
                  <a:lnTo>
                    <a:pt x="965" y="1828"/>
                  </a:lnTo>
                  <a:lnTo>
                    <a:pt x="1295" y="495"/>
                  </a:lnTo>
                  <a:lnTo>
                    <a:pt x="1104" y="368"/>
                  </a:lnTo>
                  <a:lnTo>
                    <a:pt x="927" y="203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2" name="object 754">
              <a:extLst>
                <a:ext uri="{FF2B5EF4-FFF2-40B4-BE49-F238E27FC236}">
                  <a16:creationId xmlns:a16="http://schemas.microsoft.com/office/drawing/2014/main" id="{B18515FB-30EA-4485-A7A9-A7768D1D7050}"/>
                </a:ext>
              </a:extLst>
            </p:cNvPr>
            <p:cNvSpPr/>
            <p:nvPr/>
          </p:nvSpPr>
          <p:spPr>
            <a:xfrm>
              <a:off x="7878557" y="6319418"/>
              <a:ext cx="1905" cy="5715"/>
            </a:xfrm>
            <a:custGeom>
              <a:avLst/>
              <a:gdLst/>
              <a:ahLst/>
              <a:cxnLst/>
              <a:rect l="l" t="t" r="r" b="b"/>
              <a:pathLst>
                <a:path w="1904" h="5715">
                  <a:moveTo>
                    <a:pt x="952" y="0"/>
                  </a:moveTo>
                  <a:lnTo>
                    <a:pt x="622" y="1333"/>
                  </a:lnTo>
                  <a:lnTo>
                    <a:pt x="0" y="3975"/>
                  </a:lnTo>
                  <a:lnTo>
                    <a:pt x="342" y="5232"/>
                  </a:lnTo>
                  <a:lnTo>
                    <a:pt x="1117" y="1968"/>
                  </a:lnTo>
                  <a:lnTo>
                    <a:pt x="1536" y="304"/>
                  </a:lnTo>
                  <a:lnTo>
                    <a:pt x="1333" y="241"/>
                  </a:lnTo>
                  <a:lnTo>
                    <a:pt x="1130" y="139"/>
                  </a:lnTo>
                  <a:lnTo>
                    <a:pt x="952" y="0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3" name="object 755">
              <a:extLst>
                <a:ext uri="{FF2B5EF4-FFF2-40B4-BE49-F238E27FC236}">
                  <a16:creationId xmlns:a16="http://schemas.microsoft.com/office/drawing/2014/main" id="{D8362BB0-0FC0-4A68-969F-797F9239E25F}"/>
                </a:ext>
              </a:extLst>
            </p:cNvPr>
            <p:cNvSpPr/>
            <p:nvPr/>
          </p:nvSpPr>
          <p:spPr>
            <a:xfrm>
              <a:off x="7878902" y="6319732"/>
              <a:ext cx="1905" cy="6350"/>
            </a:xfrm>
            <a:custGeom>
              <a:avLst/>
              <a:gdLst/>
              <a:ahLst/>
              <a:cxnLst/>
              <a:rect l="l" t="t" r="r" b="b"/>
              <a:pathLst>
                <a:path w="1904" h="6350">
                  <a:moveTo>
                    <a:pt x="1193" y="0"/>
                  </a:moveTo>
                  <a:lnTo>
                    <a:pt x="774" y="1650"/>
                  </a:lnTo>
                  <a:lnTo>
                    <a:pt x="0" y="4914"/>
                  </a:lnTo>
                  <a:lnTo>
                    <a:pt x="342" y="6172"/>
                  </a:lnTo>
                  <a:lnTo>
                    <a:pt x="800" y="4178"/>
                  </a:lnTo>
                  <a:lnTo>
                    <a:pt x="1295" y="2158"/>
                  </a:lnTo>
                  <a:lnTo>
                    <a:pt x="1816" y="126"/>
                  </a:lnTo>
                  <a:lnTo>
                    <a:pt x="1600" y="114"/>
                  </a:lnTo>
                  <a:lnTo>
                    <a:pt x="1384" y="63"/>
                  </a:lnTo>
                  <a:lnTo>
                    <a:pt x="1193" y="0"/>
                  </a:lnTo>
                  <a:close/>
                </a:path>
              </a:pathLst>
            </a:custGeom>
            <a:solidFill>
              <a:srgbClr val="F8DA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4" name="object 756">
              <a:extLst>
                <a:ext uri="{FF2B5EF4-FFF2-40B4-BE49-F238E27FC236}">
                  <a16:creationId xmlns:a16="http://schemas.microsoft.com/office/drawing/2014/main" id="{D69AFFEE-7805-4E79-B950-6D8D7D39588B}"/>
                </a:ext>
              </a:extLst>
            </p:cNvPr>
            <p:cNvSpPr/>
            <p:nvPr/>
          </p:nvSpPr>
          <p:spPr>
            <a:xfrm>
              <a:off x="7879250" y="6319857"/>
              <a:ext cx="2540" cy="6350"/>
            </a:xfrm>
            <a:custGeom>
              <a:avLst/>
              <a:gdLst/>
              <a:ahLst/>
              <a:cxnLst/>
              <a:rect l="l" t="t" r="r" b="b"/>
              <a:pathLst>
                <a:path w="2540" h="6350">
                  <a:moveTo>
                    <a:pt x="2146" y="0"/>
                  </a:moveTo>
                  <a:lnTo>
                    <a:pt x="1676" y="12"/>
                  </a:lnTo>
                  <a:lnTo>
                    <a:pt x="1473" y="0"/>
                  </a:lnTo>
                  <a:lnTo>
                    <a:pt x="952" y="2031"/>
                  </a:lnTo>
                  <a:lnTo>
                    <a:pt x="457" y="4051"/>
                  </a:lnTo>
                  <a:lnTo>
                    <a:pt x="0" y="6045"/>
                  </a:lnTo>
                  <a:lnTo>
                    <a:pt x="63" y="6299"/>
                  </a:lnTo>
                  <a:lnTo>
                    <a:pt x="596" y="6146"/>
                  </a:lnTo>
                  <a:lnTo>
                    <a:pt x="1079" y="4178"/>
                  </a:lnTo>
                  <a:lnTo>
                    <a:pt x="1117" y="3708"/>
                  </a:lnTo>
                  <a:lnTo>
                    <a:pt x="1206" y="3327"/>
                  </a:lnTo>
                  <a:lnTo>
                    <a:pt x="1371" y="3009"/>
                  </a:lnTo>
                  <a:lnTo>
                    <a:pt x="1879" y="1003"/>
                  </a:lnTo>
                  <a:lnTo>
                    <a:pt x="2146" y="0"/>
                  </a:lnTo>
                  <a:close/>
                </a:path>
              </a:pathLst>
            </a:custGeom>
            <a:solidFill>
              <a:srgbClr val="F9DA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5" name="object 757">
              <a:extLst>
                <a:ext uri="{FF2B5EF4-FFF2-40B4-BE49-F238E27FC236}">
                  <a16:creationId xmlns:a16="http://schemas.microsoft.com/office/drawing/2014/main" id="{707B31E7-2D85-47BA-AF80-FB5370C5E2A5}"/>
                </a:ext>
              </a:extLst>
            </p:cNvPr>
            <p:cNvSpPr/>
            <p:nvPr/>
          </p:nvSpPr>
          <p:spPr>
            <a:xfrm>
              <a:off x="7879842" y="6319765"/>
              <a:ext cx="2540" cy="6350"/>
            </a:xfrm>
            <a:custGeom>
              <a:avLst/>
              <a:gdLst/>
              <a:ahLst/>
              <a:cxnLst/>
              <a:rect l="l" t="t" r="r" b="b"/>
              <a:pathLst>
                <a:path w="2540" h="6350">
                  <a:moveTo>
                    <a:pt x="482" y="4279"/>
                  </a:moveTo>
                  <a:lnTo>
                    <a:pt x="152" y="5600"/>
                  </a:lnTo>
                  <a:lnTo>
                    <a:pt x="0" y="6248"/>
                  </a:lnTo>
                  <a:lnTo>
                    <a:pt x="482" y="6121"/>
                  </a:lnTo>
                  <a:lnTo>
                    <a:pt x="444" y="5384"/>
                  </a:lnTo>
                  <a:lnTo>
                    <a:pt x="431" y="4775"/>
                  </a:lnTo>
                  <a:lnTo>
                    <a:pt x="482" y="4279"/>
                  </a:lnTo>
                  <a:close/>
                </a:path>
                <a:path w="2540" h="6350">
                  <a:moveTo>
                    <a:pt x="2247" y="0"/>
                  </a:moveTo>
                  <a:lnTo>
                    <a:pt x="1993" y="50"/>
                  </a:lnTo>
                  <a:lnTo>
                    <a:pt x="1549" y="101"/>
                  </a:lnTo>
                  <a:lnTo>
                    <a:pt x="1270" y="1117"/>
                  </a:lnTo>
                  <a:lnTo>
                    <a:pt x="762" y="3111"/>
                  </a:lnTo>
                  <a:lnTo>
                    <a:pt x="952" y="2717"/>
                  </a:lnTo>
                  <a:lnTo>
                    <a:pt x="1244" y="2425"/>
                  </a:lnTo>
                  <a:lnTo>
                    <a:pt x="1663" y="2159"/>
                  </a:lnTo>
                  <a:lnTo>
                    <a:pt x="2044" y="723"/>
                  </a:lnTo>
                  <a:lnTo>
                    <a:pt x="2247" y="0"/>
                  </a:lnTo>
                  <a:close/>
                </a:path>
              </a:pathLst>
            </a:custGeom>
            <a:solidFill>
              <a:srgbClr val="FADC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6" name="object 758">
              <a:extLst>
                <a:ext uri="{FF2B5EF4-FFF2-40B4-BE49-F238E27FC236}">
                  <a16:creationId xmlns:a16="http://schemas.microsoft.com/office/drawing/2014/main" id="{964CA4CA-9417-4A1F-B503-A11D0D84E27E}"/>
                </a:ext>
              </a:extLst>
            </p:cNvPr>
            <p:cNvSpPr/>
            <p:nvPr/>
          </p:nvSpPr>
          <p:spPr>
            <a:xfrm>
              <a:off x="7881513" y="6319586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1308" y="0"/>
                  </a:moveTo>
                  <a:lnTo>
                    <a:pt x="812" y="127"/>
                  </a:lnTo>
                  <a:lnTo>
                    <a:pt x="584" y="165"/>
                  </a:lnTo>
                  <a:lnTo>
                    <a:pt x="381" y="889"/>
                  </a:lnTo>
                  <a:lnTo>
                    <a:pt x="0" y="2324"/>
                  </a:lnTo>
                  <a:lnTo>
                    <a:pt x="228" y="2197"/>
                  </a:lnTo>
                  <a:lnTo>
                    <a:pt x="482" y="2070"/>
                  </a:lnTo>
                  <a:lnTo>
                    <a:pt x="774" y="1955"/>
                  </a:lnTo>
                  <a:lnTo>
                    <a:pt x="1308" y="0"/>
                  </a:lnTo>
                  <a:close/>
                </a:path>
              </a:pathLst>
            </a:custGeom>
            <a:solidFill>
              <a:srgbClr val="FAD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7" name="object 759">
              <a:extLst>
                <a:ext uri="{FF2B5EF4-FFF2-40B4-BE49-F238E27FC236}">
                  <a16:creationId xmlns:a16="http://schemas.microsoft.com/office/drawing/2014/main" id="{9350D84E-86E7-47D3-B97C-C7A90AC4B2DF}"/>
                </a:ext>
              </a:extLst>
            </p:cNvPr>
            <p:cNvSpPr/>
            <p:nvPr/>
          </p:nvSpPr>
          <p:spPr>
            <a:xfrm>
              <a:off x="7882287" y="6319384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1282" y="0"/>
                  </a:moveTo>
                  <a:lnTo>
                    <a:pt x="850" y="127"/>
                  </a:lnTo>
                  <a:lnTo>
                    <a:pt x="533" y="203"/>
                  </a:lnTo>
                  <a:lnTo>
                    <a:pt x="0" y="2159"/>
                  </a:lnTo>
                  <a:lnTo>
                    <a:pt x="228" y="2070"/>
                  </a:lnTo>
                  <a:lnTo>
                    <a:pt x="469" y="1981"/>
                  </a:lnTo>
                  <a:lnTo>
                    <a:pt x="749" y="1892"/>
                  </a:lnTo>
                  <a:lnTo>
                    <a:pt x="1282" y="0"/>
                  </a:lnTo>
                  <a:close/>
                </a:path>
              </a:pathLst>
            </a:custGeom>
            <a:solidFill>
              <a:srgbClr val="FCDD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8" name="object 760">
              <a:extLst>
                <a:ext uri="{FF2B5EF4-FFF2-40B4-BE49-F238E27FC236}">
                  <a16:creationId xmlns:a16="http://schemas.microsoft.com/office/drawing/2014/main" id="{15E06258-9445-4918-B344-7FE3159659F8}"/>
                </a:ext>
              </a:extLst>
            </p:cNvPr>
            <p:cNvSpPr/>
            <p:nvPr/>
          </p:nvSpPr>
          <p:spPr>
            <a:xfrm>
              <a:off x="7883035" y="6319188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1295" y="0"/>
                  </a:moveTo>
                  <a:lnTo>
                    <a:pt x="533" y="203"/>
                  </a:lnTo>
                  <a:lnTo>
                    <a:pt x="0" y="2082"/>
                  </a:lnTo>
                  <a:lnTo>
                    <a:pt x="228" y="2019"/>
                  </a:lnTo>
                  <a:lnTo>
                    <a:pt x="749" y="1866"/>
                  </a:lnTo>
                  <a:lnTo>
                    <a:pt x="1104" y="622"/>
                  </a:lnTo>
                  <a:lnTo>
                    <a:pt x="1295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69" name="object 761">
              <a:extLst>
                <a:ext uri="{FF2B5EF4-FFF2-40B4-BE49-F238E27FC236}">
                  <a16:creationId xmlns:a16="http://schemas.microsoft.com/office/drawing/2014/main" id="{06783B1D-CEDE-4D43-AF3C-D729BAB628CC}"/>
                </a:ext>
              </a:extLst>
            </p:cNvPr>
            <p:cNvSpPr/>
            <p:nvPr/>
          </p:nvSpPr>
          <p:spPr>
            <a:xfrm>
              <a:off x="7883791" y="6318978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1295" y="0"/>
                  </a:moveTo>
                  <a:lnTo>
                    <a:pt x="533" y="203"/>
                  </a:lnTo>
                  <a:lnTo>
                    <a:pt x="177" y="1460"/>
                  </a:lnTo>
                  <a:lnTo>
                    <a:pt x="0" y="2070"/>
                  </a:lnTo>
                  <a:lnTo>
                    <a:pt x="241" y="2006"/>
                  </a:lnTo>
                  <a:lnTo>
                    <a:pt x="736" y="1866"/>
                  </a:lnTo>
                  <a:lnTo>
                    <a:pt x="927" y="1244"/>
                  </a:lnTo>
                  <a:lnTo>
                    <a:pt x="1104" y="622"/>
                  </a:lnTo>
                  <a:lnTo>
                    <a:pt x="1295" y="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0" name="object 762">
              <a:extLst>
                <a:ext uri="{FF2B5EF4-FFF2-40B4-BE49-F238E27FC236}">
                  <a16:creationId xmlns:a16="http://schemas.microsoft.com/office/drawing/2014/main" id="{099CA9E4-006B-4366-8337-9FEEECB97F6B}"/>
                </a:ext>
              </a:extLst>
            </p:cNvPr>
            <p:cNvSpPr/>
            <p:nvPr/>
          </p:nvSpPr>
          <p:spPr>
            <a:xfrm>
              <a:off x="7884535" y="6318764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1333" y="0"/>
                  </a:moveTo>
                  <a:lnTo>
                    <a:pt x="558" y="203"/>
                  </a:lnTo>
                  <a:lnTo>
                    <a:pt x="177" y="1460"/>
                  </a:lnTo>
                  <a:lnTo>
                    <a:pt x="0" y="2082"/>
                  </a:lnTo>
                  <a:lnTo>
                    <a:pt x="761" y="1879"/>
                  </a:lnTo>
                  <a:lnTo>
                    <a:pt x="1333" y="0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1" name="object 763">
              <a:extLst>
                <a:ext uri="{FF2B5EF4-FFF2-40B4-BE49-F238E27FC236}">
                  <a16:creationId xmlns:a16="http://schemas.microsoft.com/office/drawing/2014/main" id="{15E782F7-2484-479C-B9C7-61A52285EE76}"/>
                </a:ext>
              </a:extLst>
            </p:cNvPr>
            <p:cNvSpPr/>
            <p:nvPr/>
          </p:nvSpPr>
          <p:spPr>
            <a:xfrm>
              <a:off x="7881709" y="6318558"/>
              <a:ext cx="5080" cy="17145"/>
            </a:xfrm>
            <a:custGeom>
              <a:avLst/>
              <a:gdLst/>
              <a:ahLst/>
              <a:cxnLst/>
              <a:rect l="l" t="t" r="r" b="b"/>
              <a:pathLst>
                <a:path w="5079" h="17145">
                  <a:moveTo>
                    <a:pt x="533" y="15735"/>
                  </a:moveTo>
                  <a:lnTo>
                    <a:pt x="0" y="16395"/>
                  </a:lnTo>
                  <a:lnTo>
                    <a:pt x="203" y="17132"/>
                  </a:lnTo>
                  <a:lnTo>
                    <a:pt x="304" y="16675"/>
                  </a:lnTo>
                  <a:lnTo>
                    <a:pt x="533" y="15735"/>
                  </a:lnTo>
                  <a:close/>
                </a:path>
                <a:path w="5079" h="17145">
                  <a:moveTo>
                    <a:pt x="4940" y="0"/>
                  </a:moveTo>
                  <a:lnTo>
                    <a:pt x="4152" y="215"/>
                  </a:lnTo>
                  <a:lnTo>
                    <a:pt x="3581" y="2095"/>
                  </a:lnTo>
                  <a:lnTo>
                    <a:pt x="4356" y="1879"/>
                  </a:lnTo>
                  <a:lnTo>
                    <a:pt x="4737" y="622"/>
                  </a:lnTo>
                  <a:lnTo>
                    <a:pt x="4940" y="0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2" name="object 764">
              <a:extLst>
                <a:ext uri="{FF2B5EF4-FFF2-40B4-BE49-F238E27FC236}">
                  <a16:creationId xmlns:a16="http://schemas.microsoft.com/office/drawing/2014/main" id="{08AAA28A-5684-4859-B887-B548E5577A08}"/>
                </a:ext>
              </a:extLst>
            </p:cNvPr>
            <p:cNvSpPr/>
            <p:nvPr/>
          </p:nvSpPr>
          <p:spPr>
            <a:xfrm>
              <a:off x="7881912" y="6318342"/>
              <a:ext cx="5715" cy="19050"/>
            </a:xfrm>
            <a:custGeom>
              <a:avLst/>
              <a:gdLst/>
              <a:ahLst/>
              <a:cxnLst/>
              <a:rect l="l" t="t" r="r" b="b"/>
              <a:pathLst>
                <a:path w="5715" h="19050">
                  <a:moveTo>
                    <a:pt x="1231" y="14859"/>
                  </a:moveTo>
                  <a:lnTo>
                    <a:pt x="330" y="15951"/>
                  </a:lnTo>
                  <a:lnTo>
                    <a:pt x="101" y="16878"/>
                  </a:lnTo>
                  <a:lnTo>
                    <a:pt x="0" y="17335"/>
                  </a:lnTo>
                  <a:lnTo>
                    <a:pt x="317" y="18529"/>
                  </a:lnTo>
                  <a:lnTo>
                    <a:pt x="609" y="17322"/>
                  </a:lnTo>
                  <a:lnTo>
                    <a:pt x="1231" y="14859"/>
                  </a:lnTo>
                  <a:close/>
                </a:path>
                <a:path w="5715" h="19050">
                  <a:moveTo>
                    <a:pt x="5524" y="0"/>
                  </a:moveTo>
                  <a:lnTo>
                    <a:pt x="4737" y="215"/>
                  </a:lnTo>
                  <a:lnTo>
                    <a:pt x="4533" y="838"/>
                  </a:lnTo>
                  <a:lnTo>
                    <a:pt x="4152" y="2095"/>
                  </a:lnTo>
                  <a:lnTo>
                    <a:pt x="4927" y="1879"/>
                  </a:lnTo>
                  <a:lnTo>
                    <a:pt x="5130" y="1257"/>
                  </a:lnTo>
                  <a:lnTo>
                    <a:pt x="5321" y="622"/>
                  </a:lnTo>
                  <a:lnTo>
                    <a:pt x="5524" y="0"/>
                  </a:lnTo>
                  <a:close/>
                </a:path>
              </a:pathLst>
            </a:custGeom>
            <a:solidFill>
              <a:srgbClr val="FEE46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3" name="object 765">
              <a:extLst>
                <a:ext uri="{FF2B5EF4-FFF2-40B4-BE49-F238E27FC236}">
                  <a16:creationId xmlns:a16="http://schemas.microsoft.com/office/drawing/2014/main" id="{C794D009-C8C6-4051-9E5C-A82FCA41A87B}"/>
                </a:ext>
              </a:extLst>
            </p:cNvPr>
            <p:cNvSpPr/>
            <p:nvPr/>
          </p:nvSpPr>
          <p:spPr>
            <a:xfrm>
              <a:off x="7882242" y="6318114"/>
              <a:ext cx="6350" cy="19685"/>
            </a:xfrm>
            <a:custGeom>
              <a:avLst/>
              <a:gdLst/>
              <a:ahLst/>
              <a:cxnLst/>
              <a:rect l="l" t="t" r="r" b="b"/>
              <a:pathLst>
                <a:path w="6350" h="19684">
                  <a:moveTo>
                    <a:pt x="1841" y="13957"/>
                  </a:moveTo>
                  <a:lnTo>
                    <a:pt x="901" y="15100"/>
                  </a:lnTo>
                  <a:lnTo>
                    <a:pt x="584" y="16332"/>
                  </a:lnTo>
                  <a:lnTo>
                    <a:pt x="279" y="17564"/>
                  </a:lnTo>
                  <a:lnTo>
                    <a:pt x="0" y="18770"/>
                  </a:lnTo>
                  <a:lnTo>
                    <a:pt x="241" y="19646"/>
                  </a:lnTo>
                  <a:lnTo>
                    <a:pt x="406" y="19596"/>
                  </a:lnTo>
                  <a:lnTo>
                    <a:pt x="850" y="17754"/>
                  </a:lnTo>
                  <a:lnTo>
                    <a:pt x="1333" y="15875"/>
                  </a:lnTo>
                  <a:lnTo>
                    <a:pt x="1841" y="13957"/>
                  </a:lnTo>
                  <a:close/>
                </a:path>
                <a:path w="6350" h="19684">
                  <a:moveTo>
                    <a:pt x="5994" y="0"/>
                  </a:moveTo>
                  <a:lnTo>
                    <a:pt x="5194" y="215"/>
                  </a:lnTo>
                  <a:lnTo>
                    <a:pt x="4787" y="1473"/>
                  </a:lnTo>
                  <a:lnTo>
                    <a:pt x="4597" y="2108"/>
                  </a:lnTo>
                  <a:lnTo>
                    <a:pt x="5384" y="1892"/>
                  </a:lnTo>
                  <a:lnTo>
                    <a:pt x="5994" y="0"/>
                  </a:lnTo>
                  <a:close/>
                </a:path>
              </a:pathLst>
            </a:custGeom>
            <a:solidFill>
              <a:srgbClr val="FEE5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4" name="object 766">
              <a:extLst>
                <a:ext uri="{FF2B5EF4-FFF2-40B4-BE49-F238E27FC236}">
                  <a16:creationId xmlns:a16="http://schemas.microsoft.com/office/drawing/2014/main" id="{8BC70845-ECD0-48F9-AF02-6A094F0085E2}"/>
                </a:ext>
              </a:extLst>
            </p:cNvPr>
            <p:cNvSpPr/>
            <p:nvPr/>
          </p:nvSpPr>
          <p:spPr>
            <a:xfrm>
              <a:off x="7920906" y="6395309"/>
              <a:ext cx="3175" cy="1905"/>
            </a:xfrm>
            <a:custGeom>
              <a:avLst/>
              <a:gdLst/>
              <a:ahLst/>
              <a:cxnLst/>
              <a:rect l="l" t="t" r="r" b="b"/>
              <a:pathLst>
                <a:path w="3175" h="1904">
                  <a:moveTo>
                    <a:pt x="2654" y="0"/>
                  </a:moveTo>
                  <a:lnTo>
                    <a:pt x="1765" y="495"/>
                  </a:lnTo>
                  <a:lnTo>
                    <a:pt x="0" y="1422"/>
                  </a:lnTo>
                  <a:lnTo>
                    <a:pt x="2768" y="558"/>
                  </a:lnTo>
                  <a:lnTo>
                    <a:pt x="2654" y="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5" name="object 767">
              <a:extLst>
                <a:ext uri="{FF2B5EF4-FFF2-40B4-BE49-F238E27FC236}">
                  <a16:creationId xmlns:a16="http://schemas.microsoft.com/office/drawing/2014/main" id="{535431D2-5AA8-44C4-81C6-29A224DC3C8B}"/>
                </a:ext>
              </a:extLst>
            </p:cNvPr>
            <p:cNvSpPr/>
            <p:nvPr/>
          </p:nvSpPr>
          <p:spPr>
            <a:xfrm>
              <a:off x="7916799" y="6386465"/>
              <a:ext cx="17145" cy="11430"/>
            </a:xfrm>
            <a:custGeom>
              <a:avLst/>
              <a:gdLst/>
              <a:ahLst/>
              <a:cxnLst/>
              <a:rect l="l" t="t" r="r" b="b"/>
              <a:pathLst>
                <a:path w="17145" h="11429">
                  <a:moveTo>
                    <a:pt x="6756" y="8851"/>
                  </a:moveTo>
                  <a:lnTo>
                    <a:pt x="6667" y="8458"/>
                  </a:lnTo>
                  <a:lnTo>
                    <a:pt x="5829" y="8432"/>
                  </a:lnTo>
                  <a:lnTo>
                    <a:pt x="4978" y="8356"/>
                  </a:lnTo>
                  <a:lnTo>
                    <a:pt x="4140" y="8204"/>
                  </a:lnTo>
                  <a:lnTo>
                    <a:pt x="2743" y="9004"/>
                  </a:lnTo>
                  <a:lnTo>
                    <a:pt x="1358" y="9728"/>
                  </a:lnTo>
                  <a:lnTo>
                    <a:pt x="0" y="10401"/>
                  </a:lnTo>
                  <a:lnTo>
                    <a:pt x="749" y="11315"/>
                  </a:lnTo>
                  <a:lnTo>
                    <a:pt x="4102" y="10274"/>
                  </a:lnTo>
                  <a:lnTo>
                    <a:pt x="5854" y="9347"/>
                  </a:lnTo>
                  <a:lnTo>
                    <a:pt x="6756" y="8851"/>
                  </a:lnTo>
                  <a:close/>
                </a:path>
                <a:path w="17145" h="11429">
                  <a:moveTo>
                    <a:pt x="16687" y="0"/>
                  </a:moveTo>
                  <a:lnTo>
                    <a:pt x="15367" y="965"/>
                  </a:lnTo>
                  <a:lnTo>
                    <a:pt x="14706" y="1422"/>
                  </a:lnTo>
                  <a:lnTo>
                    <a:pt x="15519" y="1854"/>
                  </a:lnTo>
                  <a:lnTo>
                    <a:pt x="16687" y="0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6" name="object 768">
              <a:extLst>
                <a:ext uri="{FF2B5EF4-FFF2-40B4-BE49-F238E27FC236}">
                  <a16:creationId xmlns:a16="http://schemas.microsoft.com/office/drawing/2014/main" id="{2DC6D3D4-9824-427E-BCD6-C3C6CF912C03}"/>
                </a:ext>
              </a:extLst>
            </p:cNvPr>
            <p:cNvSpPr/>
            <p:nvPr/>
          </p:nvSpPr>
          <p:spPr>
            <a:xfrm>
              <a:off x="7915707" y="6382350"/>
              <a:ext cx="20320" cy="14604"/>
            </a:xfrm>
            <a:custGeom>
              <a:avLst/>
              <a:gdLst/>
              <a:ahLst/>
              <a:cxnLst/>
              <a:rect l="l" t="t" r="r" b="b"/>
              <a:pathLst>
                <a:path w="20320" h="14604">
                  <a:moveTo>
                    <a:pt x="5232" y="12319"/>
                  </a:moveTo>
                  <a:lnTo>
                    <a:pt x="4381" y="12179"/>
                  </a:lnTo>
                  <a:lnTo>
                    <a:pt x="3543" y="11963"/>
                  </a:lnTo>
                  <a:lnTo>
                    <a:pt x="2730" y="11684"/>
                  </a:lnTo>
                  <a:lnTo>
                    <a:pt x="901" y="12712"/>
                  </a:lnTo>
                  <a:lnTo>
                    <a:pt x="0" y="13182"/>
                  </a:lnTo>
                  <a:lnTo>
                    <a:pt x="1092" y="14516"/>
                  </a:lnTo>
                  <a:lnTo>
                    <a:pt x="2438" y="13855"/>
                  </a:lnTo>
                  <a:lnTo>
                    <a:pt x="3822" y="13119"/>
                  </a:lnTo>
                  <a:lnTo>
                    <a:pt x="5232" y="12319"/>
                  </a:lnTo>
                  <a:close/>
                </a:path>
                <a:path w="20320" h="14604">
                  <a:moveTo>
                    <a:pt x="19964" y="622"/>
                  </a:moveTo>
                  <a:lnTo>
                    <a:pt x="19456" y="0"/>
                  </a:lnTo>
                  <a:lnTo>
                    <a:pt x="18300" y="927"/>
                  </a:lnTo>
                  <a:lnTo>
                    <a:pt x="17170" y="1816"/>
                  </a:lnTo>
                  <a:lnTo>
                    <a:pt x="16040" y="2667"/>
                  </a:lnTo>
                  <a:lnTo>
                    <a:pt x="16002" y="3619"/>
                  </a:lnTo>
                  <a:lnTo>
                    <a:pt x="15862" y="4559"/>
                  </a:lnTo>
                  <a:lnTo>
                    <a:pt x="15659" y="5461"/>
                  </a:lnTo>
                  <a:lnTo>
                    <a:pt x="15798" y="5537"/>
                  </a:lnTo>
                  <a:lnTo>
                    <a:pt x="17106" y="4597"/>
                  </a:lnTo>
                  <a:lnTo>
                    <a:pt x="17780" y="4102"/>
                  </a:lnTo>
                  <a:lnTo>
                    <a:pt x="19964" y="622"/>
                  </a:lnTo>
                  <a:close/>
                </a:path>
              </a:pathLst>
            </a:custGeom>
            <a:solidFill>
              <a:srgbClr val="F8DA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7" name="object 769">
              <a:extLst>
                <a:ext uri="{FF2B5EF4-FFF2-40B4-BE49-F238E27FC236}">
                  <a16:creationId xmlns:a16="http://schemas.microsoft.com/office/drawing/2014/main" id="{D79E79AF-A6A5-42ED-8096-F6567424E214}"/>
                </a:ext>
              </a:extLst>
            </p:cNvPr>
            <p:cNvSpPr/>
            <p:nvPr/>
          </p:nvSpPr>
          <p:spPr>
            <a:xfrm>
              <a:off x="7914627" y="6380585"/>
              <a:ext cx="20955" cy="15240"/>
            </a:xfrm>
            <a:custGeom>
              <a:avLst/>
              <a:gdLst/>
              <a:ahLst/>
              <a:cxnLst/>
              <a:rect l="l" t="t" r="r" b="b"/>
              <a:pathLst>
                <a:path w="20954" h="15240">
                  <a:moveTo>
                    <a:pt x="3810" y="13449"/>
                  </a:moveTo>
                  <a:lnTo>
                    <a:pt x="3136" y="13195"/>
                  </a:lnTo>
                  <a:lnTo>
                    <a:pt x="2463" y="12903"/>
                  </a:lnTo>
                  <a:lnTo>
                    <a:pt x="1828" y="12560"/>
                  </a:lnTo>
                  <a:lnTo>
                    <a:pt x="1219" y="12928"/>
                  </a:lnTo>
                  <a:lnTo>
                    <a:pt x="609" y="13284"/>
                  </a:lnTo>
                  <a:lnTo>
                    <a:pt x="0" y="13614"/>
                  </a:lnTo>
                  <a:lnTo>
                    <a:pt x="1092" y="14947"/>
                  </a:lnTo>
                  <a:lnTo>
                    <a:pt x="1993" y="14478"/>
                  </a:lnTo>
                  <a:lnTo>
                    <a:pt x="3810" y="13449"/>
                  </a:lnTo>
                  <a:close/>
                </a:path>
                <a:path w="20954" h="15240">
                  <a:moveTo>
                    <a:pt x="9461" y="7505"/>
                  </a:moveTo>
                  <a:lnTo>
                    <a:pt x="8331" y="8318"/>
                  </a:lnTo>
                  <a:lnTo>
                    <a:pt x="7213" y="9093"/>
                  </a:lnTo>
                  <a:lnTo>
                    <a:pt x="6108" y="9829"/>
                  </a:lnTo>
                  <a:lnTo>
                    <a:pt x="6311" y="10083"/>
                  </a:lnTo>
                  <a:lnTo>
                    <a:pt x="9461" y="7505"/>
                  </a:lnTo>
                  <a:close/>
                </a:path>
                <a:path w="20954" h="15240">
                  <a:moveTo>
                    <a:pt x="20523" y="1765"/>
                  </a:moveTo>
                  <a:lnTo>
                    <a:pt x="19088" y="0"/>
                  </a:lnTo>
                  <a:lnTo>
                    <a:pt x="18376" y="596"/>
                  </a:lnTo>
                  <a:lnTo>
                    <a:pt x="16992" y="1727"/>
                  </a:lnTo>
                  <a:lnTo>
                    <a:pt x="17132" y="2616"/>
                  </a:lnTo>
                  <a:lnTo>
                    <a:pt x="17157" y="3530"/>
                  </a:lnTo>
                  <a:lnTo>
                    <a:pt x="17119" y="4432"/>
                  </a:lnTo>
                  <a:lnTo>
                    <a:pt x="18249" y="3568"/>
                  </a:lnTo>
                  <a:lnTo>
                    <a:pt x="19380" y="2679"/>
                  </a:lnTo>
                  <a:lnTo>
                    <a:pt x="20523" y="1765"/>
                  </a:lnTo>
                  <a:close/>
                </a:path>
              </a:pathLst>
            </a:custGeom>
            <a:solidFill>
              <a:srgbClr val="F9DA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8" name="object 770">
              <a:extLst>
                <a:ext uri="{FF2B5EF4-FFF2-40B4-BE49-F238E27FC236}">
                  <a16:creationId xmlns:a16="http://schemas.microsoft.com/office/drawing/2014/main" id="{CB163586-67B9-4A23-8844-9BBAE415624B}"/>
                </a:ext>
              </a:extLst>
            </p:cNvPr>
            <p:cNvSpPr/>
            <p:nvPr/>
          </p:nvSpPr>
          <p:spPr>
            <a:xfrm>
              <a:off x="7913535" y="6378832"/>
              <a:ext cx="20320" cy="15875"/>
            </a:xfrm>
            <a:custGeom>
              <a:avLst/>
              <a:gdLst/>
              <a:ahLst/>
              <a:cxnLst/>
              <a:rect l="l" t="t" r="r" b="b"/>
              <a:pathLst>
                <a:path w="20320" h="15875">
                  <a:moveTo>
                    <a:pt x="2908" y="14312"/>
                  </a:moveTo>
                  <a:lnTo>
                    <a:pt x="2349" y="14008"/>
                  </a:lnTo>
                  <a:lnTo>
                    <a:pt x="1816" y="13652"/>
                  </a:lnTo>
                  <a:lnTo>
                    <a:pt x="1308" y="13258"/>
                  </a:lnTo>
                  <a:lnTo>
                    <a:pt x="876" y="13538"/>
                  </a:lnTo>
                  <a:lnTo>
                    <a:pt x="431" y="13792"/>
                  </a:lnTo>
                  <a:lnTo>
                    <a:pt x="0" y="14058"/>
                  </a:lnTo>
                  <a:lnTo>
                    <a:pt x="1092" y="15379"/>
                  </a:lnTo>
                  <a:lnTo>
                    <a:pt x="2298" y="14681"/>
                  </a:lnTo>
                  <a:lnTo>
                    <a:pt x="2908" y="14312"/>
                  </a:lnTo>
                  <a:close/>
                </a:path>
                <a:path w="20320" h="15875">
                  <a:moveTo>
                    <a:pt x="14554" y="5994"/>
                  </a:moveTo>
                  <a:lnTo>
                    <a:pt x="13766" y="5029"/>
                  </a:lnTo>
                  <a:lnTo>
                    <a:pt x="13157" y="5257"/>
                  </a:lnTo>
                  <a:lnTo>
                    <a:pt x="12623" y="5422"/>
                  </a:lnTo>
                  <a:lnTo>
                    <a:pt x="12141" y="5511"/>
                  </a:lnTo>
                  <a:lnTo>
                    <a:pt x="10617" y="6705"/>
                  </a:lnTo>
                  <a:lnTo>
                    <a:pt x="9131" y="7848"/>
                  </a:lnTo>
                  <a:lnTo>
                    <a:pt x="7658" y="8928"/>
                  </a:lnTo>
                  <a:lnTo>
                    <a:pt x="7467" y="9525"/>
                  </a:lnTo>
                  <a:lnTo>
                    <a:pt x="7124" y="10172"/>
                  </a:lnTo>
                  <a:lnTo>
                    <a:pt x="6616" y="10871"/>
                  </a:lnTo>
                  <a:lnTo>
                    <a:pt x="7200" y="11595"/>
                  </a:lnTo>
                  <a:lnTo>
                    <a:pt x="8305" y="10858"/>
                  </a:lnTo>
                  <a:lnTo>
                    <a:pt x="9423" y="10083"/>
                  </a:lnTo>
                  <a:lnTo>
                    <a:pt x="10553" y="9271"/>
                  </a:lnTo>
                  <a:lnTo>
                    <a:pt x="14554" y="5994"/>
                  </a:lnTo>
                  <a:close/>
                </a:path>
                <a:path w="20320" h="15875">
                  <a:moveTo>
                    <a:pt x="20180" y="1752"/>
                  </a:moveTo>
                  <a:lnTo>
                    <a:pt x="18745" y="0"/>
                  </a:lnTo>
                  <a:lnTo>
                    <a:pt x="17462" y="1092"/>
                  </a:lnTo>
                  <a:lnTo>
                    <a:pt x="17754" y="1866"/>
                  </a:lnTo>
                  <a:lnTo>
                    <a:pt x="17957" y="2667"/>
                  </a:lnTo>
                  <a:lnTo>
                    <a:pt x="18084" y="3479"/>
                  </a:lnTo>
                  <a:lnTo>
                    <a:pt x="19481" y="2336"/>
                  </a:lnTo>
                  <a:lnTo>
                    <a:pt x="20180" y="1752"/>
                  </a:lnTo>
                  <a:close/>
                </a:path>
              </a:pathLst>
            </a:custGeom>
            <a:solidFill>
              <a:srgbClr val="FADC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79" name="object 771">
              <a:extLst>
                <a:ext uri="{FF2B5EF4-FFF2-40B4-BE49-F238E27FC236}">
                  <a16:creationId xmlns:a16="http://schemas.microsoft.com/office/drawing/2014/main" id="{0A711602-AFB9-4B03-AADE-BE4F167D713C}"/>
                </a:ext>
              </a:extLst>
            </p:cNvPr>
            <p:cNvSpPr/>
            <p:nvPr/>
          </p:nvSpPr>
          <p:spPr>
            <a:xfrm>
              <a:off x="7912468" y="6377067"/>
              <a:ext cx="20320" cy="15875"/>
            </a:xfrm>
            <a:custGeom>
              <a:avLst/>
              <a:gdLst/>
              <a:ahLst/>
              <a:cxnLst/>
              <a:rect l="l" t="t" r="r" b="b"/>
              <a:pathLst>
                <a:path w="20320" h="15875">
                  <a:moveTo>
                    <a:pt x="2387" y="15011"/>
                  </a:moveTo>
                  <a:lnTo>
                    <a:pt x="1917" y="14643"/>
                  </a:lnTo>
                  <a:lnTo>
                    <a:pt x="1473" y="14236"/>
                  </a:lnTo>
                  <a:lnTo>
                    <a:pt x="1066" y="13792"/>
                  </a:lnTo>
                  <a:lnTo>
                    <a:pt x="711" y="14033"/>
                  </a:lnTo>
                  <a:lnTo>
                    <a:pt x="0" y="14490"/>
                  </a:lnTo>
                  <a:lnTo>
                    <a:pt x="1079" y="15811"/>
                  </a:lnTo>
                  <a:lnTo>
                    <a:pt x="1511" y="15557"/>
                  </a:lnTo>
                  <a:lnTo>
                    <a:pt x="2387" y="15011"/>
                  </a:lnTo>
                  <a:close/>
                </a:path>
                <a:path w="20320" h="15875">
                  <a:moveTo>
                    <a:pt x="13208" y="7264"/>
                  </a:moveTo>
                  <a:lnTo>
                    <a:pt x="12103" y="7467"/>
                  </a:lnTo>
                  <a:lnTo>
                    <a:pt x="11264" y="7315"/>
                  </a:lnTo>
                  <a:lnTo>
                    <a:pt x="10464" y="6819"/>
                  </a:lnTo>
                  <a:lnTo>
                    <a:pt x="9880" y="7302"/>
                  </a:lnTo>
                  <a:lnTo>
                    <a:pt x="9296" y="7759"/>
                  </a:lnTo>
                  <a:lnTo>
                    <a:pt x="8712" y="8229"/>
                  </a:lnTo>
                  <a:lnTo>
                    <a:pt x="9004" y="9029"/>
                  </a:lnTo>
                  <a:lnTo>
                    <a:pt x="9017" y="9817"/>
                  </a:lnTo>
                  <a:lnTo>
                    <a:pt x="8737" y="10680"/>
                  </a:lnTo>
                  <a:lnTo>
                    <a:pt x="10210" y="9613"/>
                  </a:lnTo>
                  <a:lnTo>
                    <a:pt x="11696" y="8470"/>
                  </a:lnTo>
                  <a:lnTo>
                    <a:pt x="13208" y="7264"/>
                  </a:lnTo>
                  <a:close/>
                </a:path>
                <a:path w="20320" h="15875">
                  <a:moveTo>
                    <a:pt x="19812" y="1765"/>
                  </a:moveTo>
                  <a:lnTo>
                    <a:pt x="18376" y="0"/>
                  </a:lnTo>
                  <a:lnTo>
                    <a:pt x="17754" y="571"/>
                  </a:lnTo>
                  <a:lnTo>
                    <a:pt x="17437" y="850"/>
                  </a:lnTo>
                  <a:lnTo>
                    <a:pt x="17881" y="1485"/>
                  </a:lnTo>
                  <a:lnTo>
                    <a:pt x="18249" y="2159"/>
                  </a:lnTo>
                  <a:lnTo>
                    <a:pt x="18529" y="2870"/>
                  </a:lnTo>
                  <a:lnTo>
                    <a:pt x="18961" y="2501"/>
                  </a:lnTo>
                  <a:lnTo>
                    <a:pt x="19392" y="2146"/>
                  </a:lnTo>
                  <a:lnTo>
                    <a:pt x="19812" y="1765"/>
                  </a:lnTo>
                  <a:close/>
                </a:path>
              </a:pathLst>
            </a:custGeom>
            <a:solidFill>
              <a:srgbClr val="FAD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0" name="object 772">
              <a:extLst>
                <a:ext uri="{FF2B5EF4-FFF2-40B4-BE49-F238E27FC236}">
                  <a16:creationId xmlns:a16="http://schemas.microsoft.com/office/drawing/2014/main" id="{2C409927-8B76-4363-BF9C-CBE55EE5C34E}"/>
                </a:ext>
              </a:extLst>
            </p:cNvPr>
            <p:cNvSpPr/>
            <p:nvPr/>
          </p:nvSpPr>
          <p:spPr>
            <a:xfrm>
              <a:off x="7911389" y="6375314"/>
              <a:ext cx="19685" cy="16510"/>
            </a:xfrm>
            <a:custGeom>
              <a:avLst/>
              <a:gdLst/>
              <a:ahLst/>
              <a:cxnLst/>
              <a:rect l="l" t="t" r="r" b="b"/>
              <a:pathLst>
                <a:path w="19684" h="16509">
                  <a:moveTo>
                    <a:pt x="2146" y="15544"/>
                  </a:moveTo>
                  <a:lnTo>
                    <a:pt x="1155" y="14122"/>
                  </a:lnTo>
                  <a:lnTo>
                    <a:pt x="774" y="14401"/>
                  </a:lnTo>
                  <a:lnTo>
                    <a:pt x="393" y="14668"/>
                  </a:lnTo>
                  <a:lnTo>
                    <a:pt x="0" y="14922"/>
                  </a:lnTo>
                  <a:lnTo>
                    <a:pt x="1079" y="16243"/>
                  </a:lnTo>
                  <a:lnTo>
                    <a:pt x="1790" y="15786"/>
                  </a:lnTo>
                  <a:lnTo>
                    <a:pt x="2146" y="15544"/>
                  </a:lnTo>
                  <a:close/>
                </a:path>
                <a:path w="19684" h="16509">
                  <a:moveTo>
                    <a:pt x="11544" y="8585"/>
                  </a:moveTo>
                  <a:lnTo>
                    <a:pt x="11023" y="8267"/>
                  </a:lnTo>
                  <a:lnTo>
                    <a:pt x="10528" y="7797"/>
                  </a:lnTo>
                  <a:lnTo>
                    <a:pt x="9994" y="7226"/>
                  </a:lnTo>
                  <a:lnTo>
                    <a:pt x="9601" y="7556"/>
                  </a:lnTo>
                  <a:lnTo>
                    <a:pt x="9194" y="7886"/>
                  </a:lnTo>
                  <a:lnTo>
                    <a:pt x="8813" y="8216"/>
                  </a:lnTo>
                  <a:lnTo>
                    <a:pt x="9258" y="8826"/>
                  </a:lnTo>
                  <a:lnTo>
                    <a:pt x="9588" y="9398"/>
                  </a:lnTo>
                  <a:lnTo>
                    <a:pt x="9791" y="9982"/>
                  </a:lnTo>
                  <a:lnTo>
                    <a:pt x="10375" y="9525"/>
                  </a:lnTo>
                  <a:lnTo>
                    <a:pt x="11544" y="8585"/>
                  </a:lnTo>
                  <a:close/>
                </a:path>
                <a:path w="19684" h="16509">
                  <a:moveTo>
                    <a:pt x="19456" y="1752"/>
                  </a:moveTo>
                  <a:lnTo>
                    <a:pt x="18021" y="0"/>
                  </a:lnTo>
                  <a:lnTo>
                    <a:pt x="17310" y="660"/>
                  </a:lnTo>
                  <a:lnTo>
                    <a:pt x="16954" y="1003"/>
                  </a:lnTo>
                  <a:lnTo>
                    <a:pt x="17322" y="1219"/>
                  </a:lnTo>
                  <a:lnTo>
                    <a:pt x="17729" y="1600"/>
                  </a:lnTo>
                  <a:lnTo>
                    <a:pt x="18199" y="2184"/>
                  </a:lnTo>
                  <a:lnTo>
                    <a:pt x="18313" y="2324"/>
                  </a:lnTo>
                  <a:lnTo>
                    <a:pt x="18516" y="2603"/>
                  </a:lnTo>
                  <a:lnTo>
                    <a:pt x="18821" y="2324"/>
                  </a:lnTo>
                  <a:lnTo>
                    <a:pt x="19138" y="2044"/>
                  </a:lnTo>
                  <a:lnTo>
                    <a:pt x="19456" y="1752"/>
                  </a:lnTo>
                  <a:close/>
                </a:path>
              </a:pathLst>
            </a:custGeom>
            <a:solidFill>
              <a:srgbClr val="FCDD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1" name="object 773">
              <a:extLst>
                <a:ext uri="{FF2B5EF4-FFF2-40B4-BE49-F238E27FC236}">
                  <a16:creationId xmlns:a16="http://schemas.microsoft.com/office/drawing/2014/main" id="{8B5B5D13-7E97-4F8C-9153-249772A7CCF0}"/>
                </a:ext>
              </a:extLst>
            </p:cNvPr>
            <p:cNvSpPr/>
            <p:nvPr/>
          </p:nvSpPr>
          <p:spPr>
            <a:xfrm>
              <a:off x="7910323" y="6373549"/>
              <a:ext cx="19685" cy="17145"/>
            </a:xfrm>
            <a:custGeom>
              <a:avLst/>
              <a:gdLst/>
              <a:ahLst/>
              <a:cxnLst/>
              <a:rect l="l" t="t" r="r" b="b"/>
              <a:pathLst>
                <a:path w="19684" h="17145">
                  <a:moveTo>
                    <a:pt x="17652" y="0"/>
                  </a:moveTo>
                  <a:lnTo>
                    <a:pt x="11277" y="6273"/>
                  </a:lnTo>
                  <a:lnTo>
                    <a:pt x="5372" y="11493"/>
                  </a:lnTo>
                  <a:lnTo>
                    <a:pt x="0" y="15379"/>
                  </a:lnTo>
                  <a:lnTo>
                    <a:pt x="1066" y="16687"/>
                  </a:lnTo>
                  <a:lnTo>
                    <a:pt x="2222" y="15887"/>
                  </a:lnTo>
                  <a:lnTo>
                    <a:pt x="1777" y="14719"/>
                  </a:lnTo>
                  <a:lnTo>
                    <a:pt x="2539" y="13931"/>
                  </a:lnTo>
                  <a:lnTo>
                    <a:pt x="3682" y="13004"/>
                  </a:lnTo>
                  <a:lnTo>
                    <a:pt x="8902" y="8737"/>
                  </a:lnTo>
                  <a:lnTo>
                    <a:pt x="9880" y="9969"/>
                  </a:lnTo>
                  <a:lnTo>
                    <a:pt x="11074" y="8978"/>
                  </a:lnTo>
                  <a:lnTo>
                    <a:pt x="10058" y="7785"/>
                  </a:lnTo>
                  <a:lnTo>
                    <a:pt x="17005" y="2133"/>
                  </a:lnTo>
                  <a:lnTo>
                    <a:pt x="18033" y="2755"/>
                  </a:lnTo>
                  <a:lnTo>
                    <a:pt x="19088" y="1752"/>
                  </a:lnTo>
                  <a:lnTo>
                    <a:pt x="17652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2" name="object 774">
              <a:extLst>
                <a:ext uri="{FF2B5EF4-FFF2-40B4-BE49-F238E27FC236}">
                  <a16:creationId xmlns:a16="http://schemas.microsoft.com/office/drawing/2014/main" id="{F426AEDC-E578-4458-8760-06A07F92DD51}"/>
                </a:ext>
              </a:extLst>
            </p:cNvPr>
            <p:cNvSpPr/>
            <p:nvPr/>
          </p:nvSpPr>
          <p:spPr>
            <a:xfrm>
              <a:off x="7909253" y="6371796"/>
              <a:ext cx="19050" cy="17145"/>
            </a:xfrm>
            <a:custGeom>
              <a:avLst/>
              <a:gdLst/>
              <a:ahLst/>
              <a:cxnLst/>
              <a:rect l="l" t="t" r="r" b="b"/>
              <a:pathLst>
                <a:path w="19050" h="17145">
                  <a:moveTo>
                    <a:pt x="17297" y="0"/>
                  </a:moveTo>
                  <a:lnTo>
                    <a:pt x="11023" y="6413"/>
                  </a:lnTo>
                  <a:lnTo>
                    <a:pt x="5245" y="11785"/>
                  </a:lnTo>
                  <a:lnTo>
                    <a:pt x="0" y="15811"/>
                  </a:lnTo>
                  <a:lnTo>
                    <a:pt x="1066" y="17132"/>
                  </a:lnTo>
                  <a:lnTo>
                    <a:pt x="6451" y="13246"/>
                  </a:lnTo>
                  <a:lnTo>
                    <a:pt x="12344" y="8026"/>
                  </a:lnTo>
                  <a:lnTo>
                    <a:pt x="18719" y="1752"/>
                  </a:lnTo>
                  <a:lnTo>
                    <a:pt x="17297" y="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3" name="object 775">
              <a:extLst>
                <a:ext uri="{FF2B5EF4-FFF2-40B4-BE49-F238E27FC236}">
                  <a16:creationId xmlns:a16="http://schemas.microsoft.com/office/drawing/2014/main" id="{72FBBF0D-6246-4642-8563-40DA589C9586}"/>
                </a:ext>
              </a:extLst>
            </p:cNvPr>
            <p:cNvSpPr/>
            <p:nvPr/>
          </p:nvSpPr>
          <p:spPr>
            <a:xfrm>
              <a:off x="7908174" y="6370044"/>
              <a:ext cx="18415" cy="17780"/>
            </a:xfrm>
            <a:custGeom>
              <a:avLst/>
              <a:gdLst/>
              <a:ahLst/>
              <a:cxnLst/>
              <a:rect l="l" t="t" r="r" b="b"/>
              <a:pathLst>
                <a:path w="18415" h="17779">
                  <a:moveTo>
                    <a:pt x="16941" y="0"/>
                  </a:moveTo>
                  <a:lnTo>
                    <a:pt x="15189" y="1854"/>
                  </a:lnTo>
                  <a:lnTo>
                    <a:pt x="14973" y="2197"/>
                  </a:lnTo>
                  <a:lnTo>
                    <a:pt x="14630" y="2552"/>
                  </a:lnTo>
                  <a:lnTo>
                    <a:pt x="14173" y="2933"/>
                  </a:lnTo>
                  <a:lnTo>
                    <a:pt x="9080" y="8229"/>
                  </a:lnTo>
                  <a:lnTo>
                    <a:pt x="4343" y="12725"/>
                  </a:lnTo>
                  <a:lnTo>
                    <a:pt x="0" y="16255"/>
                  </a:lnTo>
                  <a:lnTo>
                    <a:pt x="1079" y="17564"/>
                  </a:lnTo>
                  <a:lnTo>
                    <a:pt x="6324" y="13538"/>
                  </a:lnTo>
                  <a:lnTo>
                    <a:pt x="12103" y="8166"/>
                  </a:lnTo>
                  <a:lnTo>
                    <a:pt x="18376" y="1752"/>
                  </a:lnTo>
                  <a:lnTo>
                    <a:pt x="16941" y="0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4" name="object 776">
              <a:extLst>
                <a:ext uri="{FF2B5EF4-FFF2-40B4-BE49-F238E27FC236}">
                  <a16:creationId xmlns:a16="http://schemas.microsoft.com/office/drawing/2014/main" id="{217D7F27-B3CF-424C-A9FF-DD5691B9814F}"/>
                </a:ext>
              </a:extLst>
            </p:cNvPr>
            <p:cNvSpPr/>
            <p:nvPr/>
          </p:nvSpPr>
          <p:spPr>
            <a:xfrm>
              <a:off x="7907109" y="6368291"/>
              <a:ext cx="18415" cy="18415"/>
            </a:xfrm>
            <a:custGeom>
              <a:avLst/>
              <a:gdLst/>
              <a:ahLst/>
              <a:cxnLst/>
              <a:rect l="l" t="t" r="r" b="b"/>
              <a:pathLst>
                <a:path w="18415" h="18415">
                  <a:moveTo>
                    <a:pt x="15214" y="4699"/>
                  </a:moveTo>
                  <a:lnTo>
                    <a:pt x="2628" y="14986"/>
                  </a:lnTo>
                  <a:lnTo>
                    <a:pt x="2057" y="15290"/>
                  </a:lnTo>
                  <a:lnTo>
                    <a:pt x="1536" y="15354"/>
                  </a:lnTo>
                  <a:lnTo>
                    <a:pt x="0" y="16713"/>
                  </a:lnTo>
                  <a:lnTo>
                    <a:pt x="1054" y="18021"/>
                  </a:lnTo>
                  <a:lnTo>
                    <a:pt x="5410" y="14490"/>
                  </a:lnTo>
                  <a:lnTo>
                    <a:pt x="10134" y="9982"/>
                  </a:lnTo>
                  <a:lnTo>
                    <a:pt x="15214" y="4699"/>
                  </a:lnTo>
                  <a:close/>
                </a:path>
                <a:path w="18415" h="18415">
                  <a:moveTo>
                    <a:pt x="18008" y="1752"/>
                  </a:moveTo>
                  <a:lnTo>
                    <a:pt x="16573" y="0"/>
                  </a:lnTo>
                  <a:lnTo>
                    <a:pt x="15849" y="800"/>
                  </a:lnTo>
                  <a:lnTo>
                    <a:pt x="16662" y="1905"/>
                  </a:lnTo>
                  <a:lnTo>
                    <a:pt x="16814" y="2743"/>
                  </a:lnTo>
                  <a:lnTo>
                    <a:pt x="16256" y="3606"/>
                  </a:lnTo>
                  <a:lnTo>
                    <a:pt x="17411" y="2374"/>
                  </a:lnTo>
                  <a:lnTo>
                    <a:pt x="18008" y="1752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5" name="object 777">
              <a:extLst>
                <a:ext uri="{FF2B5EF4-FFF2-40B4-BE49-F238E27FC236}">
                  <a16:creationId xmlns:a16="http://schemas.microsoft.com/office/drawing/2014/main" id="{249176D3-AA34-4A3D-AF7B-498F96D5F0EC}"/>
                </a:ext>
              </a:extLst>
            </p:cNvPr>
            <p:cNvSpPr/>
            <p:nvPr/>
          </p:nvSpPr>
          <p:spPr>
            <a:xfrm>
              <a:off x="7906042" y="6368037"/>
              <a:ext cx="17780" cy="17145"/>
            </a:xfrm>
            <a:custGeom>
              <a:avLst/>
              <a:gdLst/>
              <a:ahLst/>
              <a:cxnLst/>
              <a:rect l="l" t="t" r="r" b="b"/>
              <a:pathLst>
                <a:path w="17779" h="17145">
                  <a:moveTo>
                    <a:pt x="2603" y="15608"/>
                  </a:moveTo>
                  <a:lnTo>
                    <a:pt x="1993" y="15684"/>
                  </a:lnTo>
                  <a:lnTo>
                    <a:pt x="1422" y="15455"/>
                  </a:lnTo>
                  <a:lnTo>
                    <a:pt x="825" y="14897"/>
                  </a:lnTo>
                  <a:lnTo>
                    <a:pt x="546" y="15163"/>
                  </a:lnTo>
                  <a:lnTo>
                    <a:pt x="0" y="15659"/>
                  </a:lnTo>
                  <a:lnTo>
                    <a:pt x="1066" y="16967"/>
                  </a:lnTo>
                  <a:lnTo>
                    <a:pt x="2082" y="16078"/>
                  </a:lnTo>
                  <a:lnTo>
                    <a:pt x="2603" y="15608"/>
                  </a:lnTo>
                  <a:close/>
                </a:path>
                <a:path w="17779" h="17145">
                  <a:moveTo>
                    <a:pt x="17640" y="254"/>
                  </a:moveTo>
                  <a:lnTo>
                    <a:pt x="17437" y="0"/>
                  </a:lnTo>
                  <a:lnTo>
                    <a:pt x="16624" y="673"/>
                  </a:lnTo>
                  <a:lnTo>
                    <a:pt x="16725" y="812"/>
                  </a:lnTo>
                  <a:lnTo>
                    <a:pt x="16916" y="1054"/>
                  </a:lnTo>
                  <a:lnTo>
                    <a:pt x="17157" y="800"/>
                  </a:lnTo>
                  <a:lnTo>
                    <a:pt x="17399" y="520"/>
                  </a:lnTo>
                  <a:lnTo>
                    <a:pt x="17640" y="254"/>
                  </a:lnTo>
                  <a:close/>
                </a:path>
              </a:pathLst>
            </a:custGeom>
            <a:solidFill>
              <a:srgbClr val="FEE46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6" name="object 778">
              <a:extLst>
                <a:ext uri="{FF2B5EF4-FFF2-40B4-BE49-F238E27FC236}">
                  <a16:creationId xmlns:a16="http://schemas.microsoft.com/office/drawing/2014/main" id="{7ED2D1BE-19BE-4AA5-9C5B-DEBB3B2FEB9E}"/>
                </a:ext>
              </a:extLst>
            </p:cNvPr>
            <p:cNvSpPr/>
            <p:nvPr/>
          </p:nvSpPr>
          <p:spPr>
            <a:xfrm>
              <a:off x="7905360" y="6382179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812" y="0"/>
                  </a:moveTo>
                  <a:lnTo>
                    <a:pt x="0" y="660"/>
                  </a:lnTo>
                  <a:lnTo>
                    <a:pt x="685" y="1523"/>
                  </a:lnTo>
                  <a:lnTo>
                    <a:pt x="1244" y="1015"/>
                  </a:lnTo>
                  <a:lnTo>
                    <a:pt x="1511" y="749"/>
                  </a:lnTo>
                  <a:lnTo>
                    <a:pt x="1282" y="546"/>
                  </a:lnTo>
                  <a:lnTo>
                    <a:pt x="1054" y="292"/>
                  </a:lnTo>
                  <a:lnTo>
                    <a:pt x="812" y="0"/>
                  </a:lnTo>
                  <a:close/>
                </a:path>
              </a:pathLst>
            </a:custGeom>
            <a:solidFill>
              <a:srgbClr val="FEE5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7" name="object 779">
              <a:extLst>
                <a:ext uri="{FF2B5EF4-FFF2-40B4-BE49-F238E27FC236}">
                  <a16:creationId xmlns:a16="http://schemas.microsoft.com/office/drawing/2014/main" id="{203595D1-1596-4E92-98C3-1A5DA1E86778}"/>
                </a:ext>
              </a:extLst>
            </p:cNvPr>
            <p:cNvSpPr/>
            <p:nvPr/>
          </p:nvSpPr>
          <p:spPr>
            <a:xfrm>
              <a:off x="7936642" y="6410930"/>
              <a:ext cx="9525" cy="3175"/>
            </a:xfrm>
            <a:custGeom>
              <a:avLst/>
              <a:gdLst/>
              <a:ahLst/>
              <a:cxnLst/>
              <a:rect l="l" t="t" r="r" b="b"/>
              <a:pathLst>
                <a:path w="9525" h="3175">
                  <a:moveTo>
                    <a:pt x="8966" y="0"/>
                  </a:moveTo>
                  <a:lnTo>
                    <a:pt x="5918" y="1003"/>
                  </a:lnTo>
                  <a:lnTo>
                    <a:pt x="2933" y="1828"/>
                  </a:lnTo>
                  <a:lnTo>
                    <a:pt x="0" y="2489"/>
                  </a:lnTo>
                  <a:lnTo>
                    <a:pt x="2971" y="2997"/>
                  </a:lnTo>
                  <a:lnTo>
                    <a:pt x="6261" y="2247"/>
                  </a:lnTo>
                  <a:lnTo>
                    <a:pt x="8966" y="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8" name="object 780">
              <a:extLst>
                <a:ext uri="{FF2B5EF4-FFF2-40B4-BE49-F238E27FC236}">
                  <a16:creationId xmlns:a16="http://schemas.microsoft.com/office/drawing/2014/main" id="{24A0E157-7EF8-49C9-9412-3395A04562BE}"/>
                </a:ext>
              </a:extLst>
            </p:cNvPr>
            <p:cNvSpPr/>
            <p:nvPr/>
          </p:nvSpPr>
          <p:spPr>
            <a:xfrm>
              <a:off x="7933551" y="6407801"/>
              <a:ext cx="15240" cy="5715"/>
            </a:xfrm>
            <a:custGeom>
              <a:avLst/>
              <a:gdLst/>
              <a:ahLst/>
              <a:cxnLst/>
              <a:rect l="l" t="t" r="r" b="b"/>
              <a:pathLst>
                <a:path w="15240" h="5715">
                  <a:moveTo>
                    <a:pt x="14795" y="0"/>
                  </a:moveTo>
                  <a:lnTo>
                    <a:pt x="9702" y="1993"/>
                  </a:lnTo>
                  <a:lnTo>
                    <a:pt x="4775" y="3530"/>
                  </a:lnTo>
                  <a:lnTo>
                    <a:pt x="0" y="4610"/>
                  </a:lnTo>
                  <a:lnTo>
                    <a:pt x="749" y="4965"/>
                  </a:lnTo>
                  <a:lnTo>
                    <a:pt x="1765" y="5346"/>
                  </a:lnTo>
                  <a:lnTo>
                    <a:pt x="2425" y="5511"/>
                  </a:lnTo>
                  <a:lnTo>
                    <a:pt x="3098" y="5626"/>
                  </a:lnTo>
                  <a:lnTo>
                    <a:pt x="6019" y="4953"/>
                  </a:lnTo>
                  <a:lnTo>
                    <a:pt x="14401" y="609"/>
                  </a:lnTo>
                  <a:lnTo>
                    <a:pt x="14795" y="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89" name="object 781">
              <a:extLst>
                <a:ext uri="{FF2B5EF4-FFF2-40B4-BE49-F238E27FC236}">
                  <a16:creationId xmlns:a16="http://schemas.microsoft.com/office/drawing/2014/main" id="{8AE96938-1BE0-4830-9308-6A9E271AB692}"/>
                </a:ext>
              </a:extLst>
            </p:cNvPr>
            <p:cNvSpPr/>
            <p:nvPr/>
          </p:nvSpPr>
          <p:spPr>
            <a:xfrm>
              <a:off x="7931584" y="6404930"/>
              <a:ext cx="18415" cy="7620"/>
            </a:xfrm>
            <a:custGeom>
              <a:avLst/>
              <a:gdLst/>
              <a:ahLst/>
              <a:cxnLst/>
              <a:rect l="l" t="t" r="r" b="b"/>
              <a:pathLst>
                <a:path w="18415" h="7620">
                  <a:moveTo>
                    <a:pt x="18122" y="0"/>
                  </a:moveTo>
                  <a:lnTo>
                    <a:pt x="14655" y="1536"/>
                  </a:lnTo>
                  <a:lnTo>
                    <a:pt x="11252" y="2857"/>
                  </a:lnTo>
                  <a:lnTo>
                    <a:pt x="7924" y="3975"/>
                  </a:lnTo>
                  <a:lnTo>
                    <a:pt x="5740" y="5537"/>
                  </a:lnTo>
                  <a:lnTo>
                    <a:pt x="3924" y="5969"/>
                  </a:lnTo>
                  <a:lnTo>
                    <a:pt x="2324" y="5638"/>
                  </a:lnTo>
                  <a:lnTo>
                    <a:pt x="0" y="6223"/>
                  </a:lnTo>
                  <a:lnTo>
                    <a:pt x="635" y="6705"/>
                  </a:lnTo>
                  <a:lnTo>
                    <a:pt x="1282" y="7124"/>
                  </a:lnTo>
                  <a:lnTo>
                    <a:pt x="1968" y="7480"/>
                  </a:lnTo>
                  <a:lnTo>
                    <a:pt x="6743" y="6413"/>
                  </a:lnTo>
                  <a:lnTo>
                    <a:pt x="11671" y="4864"/>
                  </a:lnTo>
                  <a:lnTo>
                    <a:pt x="16764" y="2870"/>
                  </a:lnTo>
                  <a:lnTo>
                    <a:pt x="17360" y="1917"/>
                  </a:lnTo>
                  <a:lnTo>
                    <a:pt x="17805" y="965"/>
                  </a:lnTo>
                  <a:lnTo>
                    <a:pt x="18122" y="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0" name="object 782">
              <a:extLst>
                <a:ext uri="{FF2B5EF4-FFF2-40B4-BE49-F238E27FC236}">
                  <a16:creationId xmlns:a16="http://schemas.microsoft.com/office/drawing/2014/main" id="{61152114-E094-4A12-8B26-D0605851A65C}"/>
                </a:ext>
              </a:extLst>
            </p:cNvPr>
            <p:cNvSpPr/>
            <p:nvPr/>
          </p:nvSpPr>
          <p:spPr>
            <a:xfrm>
              <a:off x="7929995" y="6402276"/>
              <a:ext cx="20320" cy="8890"/>
            </a:xfrm>
            <a:custGeom>
              <a:avLst/>
              <a:gdLst/>
              <a:ahLst/>
              <a:cxnLst/>
              <a:rect l="l" t="t" r="r" b="b"/>
              <a:pathLst>
                <a:path w="20320" h="8890">
                  <a:moveTo>
                    <a:pt x="3911" y="8305"/>
                  </a:moveTo>
                  <a:lnTo>
                    <a:pt x="3048" y="8128"/>
                  </a:lnTo>
                  <a:lnTo>
                    <a:pt x="2247" y="7734"/>
                  </a:lnTo>
                  <a:lnTo>
                    <a:pt x="1498" y="7188"/>
                  </a:lnTo>
                  <a:lnTo>
                    <a:pt x="990" y="7327"/>
                  </a:lnTo>
                  <a:lnTo>
                    <a:pt x="0" y="7581"/>
                  </a:lnTo>
                  <a:lnTo>
                    <a:pt x="533" y="8051"/>
                  </a:lnTo>
                  <a:lnTo>
                    <a:pt x="1054" y="8483"/>
                  </a:lnTo>
                  <a:lnTo>
                    <a:pt x="1587" y="8890"/>
                  </a:lnTo>
                  <a:lnTo>
                    <a:pt x="2362" y="8712"/>
                  </a:lnTo>
                  <a:lnTo>
                    <a:pt x="3911" y="8305"/>
                  </a:lnTo>
                  <a:close/>
                </a:path>
                <a:path w="20320" h="8890">
                  <a:moveTo>
                    <a:pt x="20218" y="0"/>
                  </a:moveTo>
                  <a:lnTo>
                    <a:pt x="17868" y="1143"/>
                  </a:lnTo>
                  <a:lnTo>
                    <a:pt x="15557" y="2184"/>
                  </a:lnTo>
                  <a:lnTo>
                    <a:pt x="13271" y="3124"/>
                  </a:lnTo>
                  <a:lnTo>
                    <a:pt x="11912" y="4648"/>
                  </a:lnTo>
                  <a:lnTo>
                    <a:pt x="10655" y="5803"/>
                  </a:lnTo>
                  <a:lnTo>
                    <a:pt x="9512" y="6629"/>
                  </a:lnTo>
                  <a:lnTo>
                    <a:pt x="12852" y="5511"/>
                  </a:lnTo>
                  <a:lnTo>
                    <a:pt x="16243" y="4191"/>
                  </a:lnTo>
                  <a:lnTo>
                    <a:pt x="19710" y="2654"/>
                  </a:lnTo>
                  <a:lnTo>
                    <a:pt x="20002" y="1765"/>
                  </a:lnTo>
                  <a:lnTo>
                    <a:pt x="20167" y="889"/>
                  </a:lnTo>
                  <a:lnTo>
                    <a:pt x="20218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1" name="object 783">
              <a:extLst>
                <a:ext uri="{FF2B5EF4-FFF2-40B4-BE49-F238E27FC236}">
                  <a16:creationId xmlns:a16="http://schemas.microsoft.com/office/drawing/2014/main" id="{114BE570-AE45-4378-AE67-79826723FC20}"/>
                </a:ext>
              </a:extLst>
            </p:cNvPr>
            <p:cNvSpPr/>
            <p:nvPr/>
          </p:nvSpPr>
          <p:spPr>
            <a:xfrm>
              <a:off x="7928509" y="6399838"/>
              <a:ext cx="22225" cy="10160"/>
            </a:xfrm>
            <a:custGeom>
              <a:avLst/>
              <a:gdLst/>
              <a:ahLst/>
              <a:cxnLst/>
              <a:rect l="l" t="t" r="r" b="b"/>
              <a:pathLst>
                <a:path w="22225" h="10159">
                  <a:moveTo>
                    <a:pt x="2298" y="9080"/>
                  </a:moveTo>
                  <a:lnTo>
                    <a:pt x="1968" y="8775"/>
                  </a:lnTo>
                  <a:lnTo>
                    <a:pt x="1701" y="8521"/>
                  </a:lnTo>
                  <a:lnTo>
                    <a:pt x="1498" y="8280"/>
                  </a:lnTo>
                  <a:lnTo>
                    <a:pt x="990" y="8432"/>
                  </a:lnTo>
                  <a:lnTo>
                    <a:pt x="495" y="8559"/>
                  </a:lnTo>
                  <a:lnTo>
                    <a:pt x="0" y="8699"/>
                  </a:lnTo>
                  <a:lnTo>
                    <a:pt x="1447" y="9982"/>
                  </a:lnTo>
                  <a:lnTo>
                    <a:pt x="2298" y="9080"/>
                  </a:lnTo>
                  <a:close/>
                </a:path>
                <a:path w="22225" h="10159">
                  <a:moveTo>
                    <a:pt x="2997" y="9626"/>
                  </a:moveTo>
                  <a:lnTo>
                    <a:pt x="2755" y="9461"/>
                  </a:lnTo>
                  <a:lnTo>
                    <a:pt x="2527" y="9271"/>
                  </a:lnTo>
                  <a:lnTo>
                    <a:pt x="2311" y="9080"/>
                  </a:lnTo>
                  <a:lnTo>
                    <a:pt x="1460" y="9994"/>
                  </a:lnTo>
                  <a:lnTo>
                    <a:pt x="2489" y="9766"/>
                  </a:lnTo>
                  <a:lnTo>
                    <a:pt x="2997" y="9626"/>
                  </a:lnTo>
                  <a:close/>
                </a:path>
                <a:path w="22225" h="10159">
                  <a:moveTo>
                    <a:pt x="21755" y="1612"/>
                  </a:moveTo>
                  <a:lnTo>
                    <a:pt x="21704" y="800"/>
                  </a:lnTo>
                  <a:lnTo>
                    <a:pt x="21564" y="0"/>
                  </a:lnTo>
                  <a:lnTo>
                    <a:pt x="20142" y="736"/>
                  </a:lnTo>
                  <a:lnTo>
                    <a:pt x="18732" y="1447"/>
                  </a:lnTo>
                  <a:lnTo>
                    <a:pt x="17322" y="2120"/>
                  </a:lnTo>
                  <a:lnTo>
                    <a:pt x="16738" y="3149"/>
                  </a:lnTo>
                  <a:lnTo>
                    <a:pt x="15925" y="4254"/>
                  </a:lnTo>
                  <a:lnTo>
                    <a:pt x="14846" y="5461"/>
                  </a:lnTo>
                  <a:lnTo>
                    <a:pt x="17043" y="4622"/>
                  </a:lnTo>
                  <a:lnTo>
                    <a:pt x="19354" y="3568"/>
                  </a:lnTo>
                  <a:lnTo>
                    <a:pt x="21704" y="2438"/>
                  </a:lnTo>
                  <a:lnTo>
                    <a:pt x="21755" y="1612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2" name="object 784">
              <a:extLst>
                <a:ext uri="{FF2B5EF4-FFF2-40B4-BE49-F238E27FC236}">
                  <a16:creationId xmlns:a16="http://schemas.microsoft.com/office/drawing/2014/main" id="{E60EA020-BF44-468F-BEB0-C19F269FD995}"/>
                </a:ext>
              </a:extLst>
            </p:cNvPr>
            <p:cNvSpPr/>
            <p:nvPr/>
          </p:nvSpPr>
          <p:spPr>
            <a:xfrm>
              <a:off x="7927061" y="6397590"/>
              <a:ext cx="23495" cy="11430"/>
            </a:xfrm>
            <a:custGeom>
              <a:avLst/>
              <a:gdLst/>
              <a:ahLst/>
              <a:cxnLst/>
              <a:rect l="l" t="t" r="r" b="b"/>
              <a:pathLst>
                <a:path w="23495" h="11429">
                  <a:moveTo>
                    <a:pt x="2959" y="10528"/>
                  </a:moveTo>
                  <a:lnTo>
                    <a:pt x="2387" y="9893"/>
                  </a:lnTo>
                  <a:lnTo>
                    <a:pt x="2247" y="9410"/>
                  </a:lnTo>
                  <a:lnTo>
                    <a:pt x="2425" y="8902"/>
                  </a:lnTo>
                  <a:lnTo>
                    <a:pt x="1612" y="9169"/>
                  </a:lnTo>
                  <a:lnTo>
                    <a:pt x="800" y="9423"/>
                  </a:lnTo>
                  <a:lnTo>
                    <a:pt x="0" y="9652"/>
                  </a:lnTo>
                  <a:lnTo>
                    <a:pt x="1460" y="10947"/>
                  </a:lnTo>
                  <a:lnTo>
                    <a:pt x="1955" y="10820"/>
                  </a:lnTo>
                  <a:lnTo>
                    <a:pt x="2451" y="10680"/>
                  </a:lnTo>
                  <a:lnTo>
                    <a:pt x="2959" y="10528"/>
                  </a:lnTo>
                  <a:close/>
                </a:path>
                <a:path w="23495" h="11429">
                  <a:moveTo>
                    <a:pt x="23012" y="2247"/>
                  </a:moveTo>
                  <a:lnTo>
                    <a:pt x="22885" y="1485"/>
                  </a:lnTo>
                  <a:lnTo>
                    <a:pt x="22669" y="736"/>
                  </a:lnTo>
                  <a:lnTo>
                    <a:pt x="22377" y="0"/>
                  </a:lnTo>
                  <a:lnTo>
                    <a:pt x="21564" y="457"/>
                  </a:lnTo>
                  <a:lnTo>
                    <a:pt x="20751" y="901"/>
                  </a:lnTo>
                  <a:lnTo>
                    <a:pt x="19926" y="1333"/>
                  </a:lnTo>
                  <a:lnTo>
                    <a:pt x="19786" y="2260"/>
                  </a:lnTo>
                  <a:lnTo>
                    <a:pt x="19405" y="3263"/>
                  </a:lnTo>
                  <a:lnTo>
                    <a:pt x="18770" y="4368"/>
                  </a:lnTo>
                  <a:lnTo>
                    <a:pt x="20167" y="3695"/>
                  </a:lnTo>
                  <a:lnTo>
                    <a:pt x="21590" y="2984"/>
                  </a:lnTo>
                  <a:lnTo>
                    <a:pt x="23012" y="2247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3" name="object 785">
              <a:extLst>
                <a:ext uri="{FF2B5EF4-FFF2-40B4-BE49-F238E27FC236}">
                  <a16:creationId xmlns:a16="http://schemas.microsoft.com/office/drawing/2014/main" id="{D6CDEDB3-539C-4D48-8A1F-8A9BB0775EA8}"/>
                </a:ext>
              </a:extLst>
            </p:cNvPr>
            <p:cNvSpPr/>
            <p:nvPr/>
          </p:nvSpPr>
          <p:spPr>
            <a:xfrm>
              <a:off x="7925600" y="6395558"/>
              <a:ext cx="24130" cy="12065"/>
            </a:xfrm>
            <a:custGeom>
              <a:avLst/>
              <a:gdLst/>
              <a:ahLst/>
              <a:cxnLst/>
              <a:rect l="l" t="t" r="r" b="b"/>
              <a:pathLst>
                <a:path w="24129" h="12065">
                  <a:moveTo>
                    <a:pt x="5930" y="8293"/>
                  </a:moveTo>
                  <a:lnTo>
                    <a:pt x="3924" y="9093"/>
                  </a:lnTo>
                  <a:lnTo>
                    <a:pt x="1943" y="9791"/>
                  </a:lnTo>
                  <a:lnTo>
                    <a:pt x="0" y="10388"/>
                  </a:lnTo>
                  <a:lnTo>
                    <a:pt x="1447" y="11671"/>
                  </a:lnTo>
                  <a:lnTo>
                    <a:pt x="3060" y="11201"/>
                  </a:lnTo>
                  <a:lnTo>
                    <a:pt x="3873" y="10934"/>
                  </a:lnTo>
                  <a:lnTo>
                    <a:pt x="4038" y="10439"/>
                  </a:lnTo>
                  <a:lnTo>
                    <a:pt x="5168" y="9169"/>
                  </a:lnTo>
                  <a:lnTo>
                    <a:pt x="5930" y="8293"/>
                  </a:lnTo>
                  <a:close/>
                </a:path>
                <a:path w="24129" h="12065">
                  <a:moveTo>
                    <a:pt x="23850" y="2044"/>
                  </a:moveTo>
                  <a:lnTo>
                    <a:pt x="22796" y="0"/>
                  </a:lnTo>
                  <a:lnTo>
                    <a:pt x="21755" y="609"/>
                  </a:lnTo>
                  <a:lnTo>
                    <a:pt x="21247" y="889"/>
                  </a:lnTo>
                  <a:lnTo>
                    <a:pt x="21488" y="1651"/>
                  </a:lnTo>
                  <a:lnTo>
                    <a:pt x="21551" y="2476"/>
                  </a:lnTo>
                  <a:lnTo>
                    <a:pt x="21399" y="3365"/>
                  </a:lnTo>
                  <a:lnTo>
                    <a:pt x="23025" y="2501"/>
                  </a:lnTo>
                  <a:lnTo>
                    <a:pt x="23850" y="2044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4" name="object 786">
              <a:extLst>
                <a:ext uri="{FF2B5EF4-FFF2-40B4-BE49-F238E27FC236}">
                  <a16:creationId xmlns:a16="http://schemas.microsoft.com/office/drawing/2014/main" id="{9E062E02-146B-4A17-A8AF-1582E695BBFB}"/>
                </a:ext>
              </a:extLst>
            </p:cNvPr>
            <p:cNvSpPr/>
            <p:nvPr/>
          </p:nvSpPr>
          <p:spPr>
            <a:xfrm>
              <a:off x="7924165" y="6393729"/>
              <a:ext cx="24765" cy="12700"/>
            </a:xfrm>
            <a:custGeom>
              <a:avLst/>
              <a:gdLst/>
              <a:ahLst/>
              <a:cxnLst/>
              <a:rect l="l" t="t" r="r" b="b"/>
              <a:pathLst>
                <a:path w="24765" h="12700">
                  <a:moveTo>
                    <a:pt x="10388" y="6743"/>
                  </a:moveTo>
                  <a:lnTo>
                    <a:pt x="6832" y="8432"/>
                  </a:lnTo>
                  <a:lnTo>
                    <a:pt x="3352" y="9842"/>
                  </a:lnTo>
                  <a:lnTo>
                    <a:pt x="0" y="10934"/>
                  </a:lnTo>
                  <a:lnTo>
                    <a:pt x="1435" y="12217"/>
                  </a:lnTo>
                  <a:lnTo>
                    <a:pt x="3378" y="11620"/>
                  </a:lnTo>
                  <a:lnTo>
                    <a:pt x="5359" y="10922"/>
                  </a:lnTo>
                  <a:lnTo>
                    <a:pt x="7378" y="10134"/>
                  </a:lnTo>
                  <a:lnTo>
                    <a:pt x="10388" y="6743"/>
                  </a:lnTo>
                  <a:close/>
                </a:path>
                <a:path w="24765" h="12700">
                  <a:moveTo>
                    <a:pt x="24231" y="1828"/>
                  </a:moveTo>
                  <a:lnTo>
                    <a:pt x="23812" y="1193"/>
                  </a:lnTo>
                  <a:lnTo>
                    <a:pt x="23329" y="596"/>
                  </a:lnTo>
                  <a:lnTo>
                    <a:pt x="22783" y="0"/>
                  </a:lnTo>
                  <a:lnTo>
                    <a:pt x="21996" y="482"/>
                  </a:lnTo>
                  <a:lnTo>
                    <a:pt x="21602" y="711"/>
                  </a:lnTo>
                  <a:lnTo>
                    <a:pt x="22098" y="1333"/>
                  </a:lnTo>
                  <a:lnTo>
                    <a:pt x="22466" y="2006"/>
                  </a:lnTo>
                  <a:lnTo>
                    <a:pt x="22682" y="2717"/>
                  </a:lnTo>
                  <a:lnTo>
                    <a:pt x="23190" y="2425"/>
                  </a:lnTo>
                  <a:lnTo>
                    <a:pt x="23710" y="2133"/>
                  </a:lnTo>
                  <a:lnTo>
                    <a:pt x="24231" y="1828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5" name="object 787">
              <a:extLst>
                <a:ext uri="{FF2B5EF4-FFF2-40B4-BE49-F238E27FC236}">
                  <a16:creationId xmlns:a16="http://schemas.microsoft.com/office/drawing/2014/main" id="{4BF445C8-B9FA-4909-BA8B-B469B84A0B71}"/>
                </a:ext>
              </a:extLst>
            </p:cNvPr>
            <p:cNvSpPr/>
            <p:nvPr/>
          </p:nvSpPr>
          <p:spPr>
            <a:xfrm>
              <a:off x="7922755" y="6392091"/>
              <a:ext cx="24765" cy="12700"/>
            </a:xfrm>
            <a:custGeom>
              <a:avLst/>
              <a:gdLst/>
              <a:ahLst/>
              <a:cxnLst/>
              <a:rect l="l" t="t" r="r" b="b"/>
              <a:pathLst>
                <a:path w="24765" h="12700">
                  <a:moveTo>
                    <a:pt x="15621" y="4089"/>
                  </a:moveTo>
                  <a:lnTo>
                    <a:pt x="11303" y="6515"/>
                  </a:lnTo>
                  <a:lnTo>
                    <a:pt x="7124" y="8559"/>
                  </a:lnTo>
                  <a:lnTo>
                    <a:pt x="3098" y="10160"/>
                  </a:lnTo>
                  <a:lnTo>
                    <a:pt x="2641" y="10515"/>
                  </a:lnTo>
                  <a:lnTo>
                    <a:pt x="2197" y="10693"/>
                  </a:lnTo>
                  <a:lnTo>
                    <a:pt x="1752" y="10680"/>
                  </a:lnTo>
                  <a:lnTo>
                    <a:pt x="0" y="11315"/>
                  </a:lnTo>
                  <a:lnTo>
                    <a:pt x="1422" y="12573"/>
                  </a:lnTo>
                  <a:lnTo>
                    <a:pt x="4775" y="11480"/>
                  </a:lnTo>
                  <a:lnTo>
                    <a:pt x="8242" y="10071"/>
                  </a:lnTo>
                  <a:lnTo>
                    <a:pt x="11811" y="8382"/>
                  </a:lnTo>
                  <a:lnTo>
                    <a:pt x="15621" y="4089"/>
                  </a:lnTo>
                  <a:close/>
                </a:path>
                <a:path w="24765" h="12700">
                  <a:moveTo>
                    <a:pt x="24193" y="1651"/>
                  </a:moveTo>
                  <a:lnTo>
                    <a:pt x="23749" y="1168"/>
                  </a:lnTo>
                  <a:lnTo>
                    <a:pt x="23279" y="711"/>
                  </a:lnTo>
                  <a:lnTo>
                    <a:pt x="22758" y="241"/>
                  </a:lnTo>
                  <a:lnTo>
                    <a:pt x="22479" y="0"/>
                  </a:lnTo>
                  <a:lnTo>
                    <a:pt x="22098" y="228"/>
                  </a:lnTo>
                  <a:lnTo>
                    <a:pt x="21729" y="457"/>
                  </a:lnTo>
                  <a:lnTo>
                    <a:pt x="21374" y="685"/>
                  </a:lnTo>
                  <a:lnTo>
                    <a:pt x="21691" y="965"/>
                  </a:lnTo>
                  <a:lnTo>
                    <a:pt x="22199" y="1409"/>
                  </a:lnTo>
                  <a:lnTo>
                    <a:pt x="22644" y="1879"/>
                  </a:lnTo>
                  <a:lnTo>
                    <a:pt x="23012" y="2349"/>
                  </a:lnTo>
                  <a:lnTo>
                    <a:pt x="23406" y="2120"/>
                  </a:lnTo>
                  <a:lnTo>
                    <a:pt x="23799" y="1879"/>
                  </a:lnTo>
                  <a:lnTo>
                    <a:pt x="24193" y="1651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6" name="object 788">
              <a:extLst>
                <a:ext uri="{FF2B5EF4-FFF2-40B4-BE49-F238E27FC236}">
                  <a16:creationId xmlns:a16="http://schemas.microsoft.com/office/drawing/2014/main" id="{D2B1A9BC-0AAA-4E0F-888B-5A1C959ED3C8}"/>
                </a:ext>
              </a:extLst>
            </p:cNvPr>
            <p:cNvSpPr/>
            <p:nvPr/>
          </p:nvSpPr>
          <p:spPr>
            <a:xfrm>
              <a:off x="7921650" y="6390491"/>
              <a:ext cx="24130" cy="13335"/>
            </a:xfrm>
            <a:custGeom>
              <a:avLst/>
              <a:gdLst/>
              <a:ahLst/>
              <a:cxnLst/>
              <a:rect l="l" t="t" r="r" b="b"/>
              <a:pathLst>
                <a:path w="24129" h="13334">
                  <a:moveTo>
                    <a:pt x="2857" y="12280"/>
                  </a:moveTo>
                  <a:lnTo>
                    <a:pt x="2247" y="12280"/>
                  </a:lnTo>
                  <a:lnTo>
                    <a:pt x="1587" y="11925"/>
                  </a:lnTo>
                  <a:lnTo>
                    <a:pt x="812" y="11252"/>
                  </a:lnTo>
                  <a:lnTo>
                    <a:pt x="609" y="11328"/>
                  </a:lnTo>
                  <a:lnTo>
                    <a:pt x="0" y="11938"/>
                  </a:lnTo>
                  <a:lnTo>
                    <a:pt x="1104" y="12928"/>
                  </a:lnTo>
                  <a:lnTo>
                    <a:pt x="1689" y="12725"/>
                  </a:lnTo>
                  <a:lnTo>
                    <a:pt x="2273" y="12509"/>
                  </a:lnTo>
                  <a:lnTo>
                    <a:pt x="2857" y="12280"/>
                  </a:lnTo>
                  <a:close/>
                </a:path>
                <a:path w="24129" h="13334">
                  <a:moveTo>
                    <a:pt x="23583" y="1600"/>
                  </a:moveTo>
                  <a:lnTo>
                    <a:pt x="21793" y="0"/>
                  </a:lnTo>
                  <a:lnTo>
                    <a:pt x="16789" y="3289"/>
                  </a:lnTo>
                  <a:lnTo>
                    <a:pt x="11963" y="6096"/>
                  </a:lnTo>
                  <a:lnTo>
                    <a:pt x="7327" y="8369"/>
                  </a:lnTo>
                  <a:lnTo>
                    <a:pt x="4445" y="11569"/>
                  </a:lnTo>
                  <a:lnTo>
                    <a:pt x="4203" y="11760"/>
                  </a:lnTo>
                  <a:lnTo>
                    <a:pt x="20878" y="1016"/>
                  </a:lnTo>
                  <a:lnTo>
                    <a:pt x="22479" y="2286"/>
                  </a:lnTo>
                  <a:lnTo>
                    <a:pt x="23583" y="1600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7" name="object 789">
              <a:extLst>
                <a:ext uri="{FF2B5EF4-FFF2-40B4-BE49-F238E27FC236}">
                  <a16:creationId xmlns:a16="http://schemas.microsoft.com/office/drawing/2014/main" id="{94B856C5-B084-44A1-887E-DF9469A41878}"/>
                </a:ext>
              </a:extLst>
            </p:cNvPr>
            <p:cNvSpPr/>
            <p:nvPr/>
          </p:nvSpPr>
          <p:spPr>
            <a:xfrm>
              <a:off x="7922159" y="6388916"/>
              <a:ext cx="21590" cy="13335"/>
            </a:xfrm>
            <a:custGeom>
              <a:avLst/>
              <a:gdLst/>
              <a:ahLst/>
              <a:cxnLst/>
              <a:rect l="l" t="t" r="r" b="b"/>
              <a:pathLst>
                <a:path w="21590" h="13334">
                  <a:moveTo>
                    <a:pt x="304" y="12814"/>
                  </a:moveTo>
                  <a:lnTo>
                    <a:pt x="0" y="12928"/>
                  </a:lnTo>
                  <a:lnTo>
                    <a:pt x="203" y="12865"/>
                  </a:lnTo>
                  <a:close/>
                </a:path>
                <a:path w="21590" h="13334">
                  <a:moveTo>
                    <a:pt x="21285" y="1574"/>
                  </a:moveTo>
                  <a:lnTo>
                    <a:pt x="19507" y="0"/>
                  </a:lnTo>
                  <a:lnTo>
                    <a:pt x="16484" y="2057"/>
                  </a:lnTo>
                  <a:lnTo>
                    <a:pt x="13525" y="3949"/>
                  </a:lnTo>
                  <a:lnTo>
                    <a:pt x="10642" y="5638"/>
                  </a:lnTo>
                  <a:lnTo>
                    <a:pt x="6819" y="9944"/>
                  </a:lnTo>
                  <a:lnTo>
                    <a:pt x="11442" y="7670"/>
                  </a:lnTo>
                  <a:lnTo>
                    <a:pt x="16281" y="4864"/>
                  </a:lnTo>
                  <a:lnTo>
                    <a:pt x="21285" y="1574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8" name="object 790">
              <a:extLst>
                <a:ext uri="{FF2B5EF4-FFF2-40B4-BE49-F238E27FC236}">
                  <a16:creationId xmlns:a16="http://schemas.microsoft.com/office/drawing/2014/main" id="{7CD5BE84-10BC-4E59-B737-B9DEB608E891}"/>
                </a:ext>
              </a:extLst>
            </p:cNvPr>
            <p:cNvSpPr/>
            <p:nvPr/>
          </p:nvSpPr>
          <p:spPr>
            <a:xfrm>
              <a:off x="7932818" y="6387344"/>
              <a:ext cx="8890" cy="7620"/>
            </a:xfrm>
            <a:custGeom>
              <a:avLst/>
              <a:gdLst/>
              <a:ahLst/>
              <a:cxnLst/>
              <a:rect l="l" t="t" r="r" b="b"/>
              <a:pathLst>
                <a:path w="8890" h="7620">
                  <a:moveTo>
                    <a:pt x="7099" y="0"/>
                  </a:moveTo>
                  <a:lnTo>
                    <a:pt x="4800" y="1600"/>
                  </a:lnTo>
                  <a:lnTo>
                    <a:pt x="4622" y="1930"/>
                  </a:lnTo>
                  <a:lnTo>
                    <a:pt x="4381" y="2273"/>
                  </a:lnTo>
                  <a:lnTo>
                    <a:pt x="0" y="7200"/>
                  </a:lnTo>
                  <a:lnTo>
                    <a:pt x="2870" y="5511"/>
                  </a:lnTo>
                  <a:lnTo>
                    <a:pt x="5829" y="3632"/>
                  </a:lnTo>
                  <a:lnTo>
                    <a:pt x="8851" y="1562"/>
                  </a:lnTo>
                  <a:lnTo>
                    <a:pt x="7099" y="0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799" name="object 791">
              <a:extLst>
                <a:ext uri="{FF2B5EF4-FFF2-40B4-BE49-F238E27FC236}">
                  <a16:creationId xmlns:a16="http://schemas.microsoft.com/office/drawing/2014/main" id="{0361444F-392E-4B9E-9C24-71170FBD318A}"/>
                </a:ext>
              </a:extLst>
            </p:cNvPr>
            <p:cNvSpPr/>
            <p:nvPr/>
          </p:nvSpPr>
          <p:spPr>
            <a:xfrm>
              <a:off x="7937235" y="6385786"/>
              <a:ext cx="3175" cy="3175"/>
            </a:xfrm>
            <a:custGeom>
              <a:avLst/>
              <a:gdLst/>
              <a:ahLst/>
              <a:cxnLst/>
              <a:rect l="l" t="t" r="r" b="b"/>
              <a:pathLst>
                <a:path w="3175" h="3175">
                  <a:moveTo>
                    <a:pt x="927" y="0"/>
                  </a:moveTo>
                  <a:lnTo>
                    <a:pt x="609" y="228"/>
                  </a:lnTo>
                  <a:lnTo>
                    <a:pt x="317" y="457"/>
                  </a:lnTo>
                  <a:lnTo>
                    <a:pt x="0" y="685"/>
                  </a:lnTo>
                  <a:lnTo>
                    <a:pt x="723" y="1536"/>
                  </a:lnTo>
                  <a:lnTo>
                    <a:pt x="850" y="2273"/>
                  </a:lnTo>
                  <a:lnTo>
                    <a:pt x="380" y="3162"/>
                  </a:lnTo>
                  <a:lnTo>
                    <a:pt x="1142" y="2641"/>
                  </a:lnTo>
                  <a:lnTo>
                    <a:pt x="2679" y="1562"/>
                  </a:lnTo>
                  <a:lnTo>
                    <a:pt x="927" y="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0" name="object 792">
              <a:extLst>
                <a:ext uri="{FF2B5EF4-FFF2-40B4-BE49-F238E27FC236}">
                  <a16:creationId xmlns:a16="http://schemas.microsoft.com/office/drawing/2014/main" id="{0965F318-B2FB-49B7-B6AA-18CC129C4C47}"/>
                </a:ext>
              </a:extLst>
            </p:cNvPr>
            <p:cNvSpPr/>
            <p:nvPr/>
          </p:nvSpPr>
          <p:spPr>
            <a:xfrm>
              <a:off x="7936505" y="6384936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698" y="0"/>
                  </a:moveTo>
                  <a:lnTo>
                    <a:pt x="0" y="787"/>
                  </a:lnTo>
                  <a:lnTo>
                    <a:pt x="292" y="1054"/>
                  </a:lnTo>
                  <a:lnTo>
                    <a:pt x="533" y="1295"/>
                  </a:lnTo>
                  <a:lnTo>
                    <a:pt x="736" y="1536"/>
                  </a:lnTo>
                  <a:lnTo>
                    <a:pt x="1346" y="1079"/>
                  </a:lnTo>
                  <a:lnTo>
                    <a:pt x="1663" y="850"/>
                  </a:lnTo>
                  <a:lnTo>
                    <a:pt x="698" y="0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1" name="object 793">
              <a:extLst>
                <a:ext uri="{FF2B5EF4-FFF2-40B4-BE49-F238E27FC236}">
                  <a16:creationId xmlns:a16="http://schemas.microsoft.com/office/drawing/2014/main" id="{EBA0C401-1BEE-4865-8CD0-46F70A3F0698}"/>
                </a:ext>
              </a:extLst>
            </p:cNvPr>
            <p:cNvSpPr/>
            <p:nvPr/>
          </p:nvSpPr>
          <p:spPr>
            <a:xfrm>
              <a:off x="7955575" y="6428294"/>
              <a:ext cx="9525" cy="3175"/>
            </a:xfrm>
            <a:custGeom>
              <a:avLst/>
              <a:gdLst/>
              <a:ahLst/>
              <a:cxnLst/>
              <a:rect l="l" t="t" r="r" b="b"/>
              <a:pathLst>
                <a:path w="9525" h="3175">
                  <a:moveTo>
                    <a:pt x="9207" y="0"/>
                  </a:moveTo>
                  <a:lnTo>
                    <a:pt x="6108" y="508"/>
                  </a:lnTo>
                  <a:lnTo>
                    <a:pt x="3035" y="901"/>
                  </a:lnTo>
                  <a:lnTo>
                    <a:pt x="0" y="1155"/>
                  </a:lnTo>
                  <a:lnTo>
                    <a:pt x="3060" y="2832"/>
                  </a:lnTo>
                  <a:lnTo>
                    <a:pt x="6819" y="2489"/>
                  </a:lnTo>
                  <a:lnTo>
                    <a:pt x="9207" y="0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2" name="object 794">
              <a:extLst>
                <a:ext uri="{FF2B5EF4-FFF2-40B4-BE49-F238E27FC236}">
                  <a16:creationId xmlns:a16="http://schemas.microsoft.com/office/drawing/2014/main" id="{043D98D0-88B2-4F5A-974E-05ABA3D4DA27}"/>
                </a:ext>
              </a:extLst>
            </p:cNvPr>
            <p:cNvSpPr/>
            <p:nvPr/>
          </p:nvSpPr>
          <p:spPr>
            <a:xfrm>
              <a:off x="7953502" y="6426013"/>
              <a:ext cx="13335" cy="3810"/>
            </a:xfrm>
            <a:custGeom>
              <a:avLst/>
              <a:gdLst/>
              <a:ahLst/>
              <a:cxnLst/>
              <a:rect l="l" t="t" r="r" b="b"/>
              <a:pathLst>
                <a:path w="13334" h="3809">
                  <a:moveTo>
                    <a:pt x="12776" y="0"/>
                  </a:moveTo>
                  <a:lnTo>
                    <a:pt x="11201" y="330"/>
                  </a:lnTo>
                  <a:lnTo>
                    <a:pt x="8051" y="888"/>
                  </a:lnTo>
                  <a:lnTo>
                    <a:pt x="6756" y="2971"/>
                  </a:lnTo>
                  <a:lnTo>
                    <a:pt x="3898" y="3111"/>
                  </a:lnTo>
                  <a:lnTo>
                    <a:pt x="1727" y="1765"/>
                  </a:lnTo>
                  <a:lnTo>
                    <a:pt x="0" y="1943"/>
                  </a:lnTo>
                  <a:lnTo>
                    <a:pt x="533" y="2412"/>
                  </a:lnTo>
                  <a:lnTo>
                    <a:pt x="1092" y="2857"/>
                  </a:lnTo>
                  <a:lnTo>
                    <a:pt x="1816" y="3301"/>
                  </a:lnTo>
                  <a:lnTo>
                    <a:pt x="2082" y="3441"/>
                  </a:lnTo>
                  <a:lnTo>
                    <a:pt x="5105" y="3187"/>
                  </a:lnTo>
                  <a:lnTo>
                    <a:pt x="12255" y="1015"/>
                  </a:lnTo>
                  <a:lnTo>
                    <a:pt x="12471" y="673"/>
                  </a:lnTo>
                  <a:lnTo>
                    <a:pt x="12776" y="0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3" name="object 795">
              <a:extLst>
                <a:ext uri="{FF2B5EF4-FFF2-40B4-BE49-F238E27FC236}">
                  <a16:creationId xmlns:a16="http://schemas.microsoft.com/office/drawing/2014/main" id="{0E63B765-E386-48BF-8575-DCCAC526261C}"/>
                </a:ext>
              </a:extLst>
            </p:cNvPr>
            <p:cNvSpPr/>
            <p:nvPr/>
          </p:nvSpPr>
          <p:spPr>
            <a:xfrm>
              <a:off x="7952016" y="6423828"/>
              <a:ext cx="15240" cy="4445"/>
            </a:xfrm>
            <a:custGeom>
              <a:avLst/>
              <a:gdLst/>
              <a:ahLst/>
              <a:cxnLst/>
              <a:rect l="l" t="t" r="r" b="b"/>
              <a:pathLst>
                <a:path w="15240" h="4445">
                  <a:moveTo>
                    <a:pt x="3200" y="3949"/>
                  </a:moveTo>
                  <a:lnTo>
                    <a:pt x="2565" y="3517"/>
                  </a:lnTo>
                  <a:lnTo>
                    <a:pt x="2032" y="2997"/>
                  </a:lnTo>
                  <a:lnTo>
                    <a:pt x="1574" y="2400"/>
                  </a:lnTo>
                  <a:lnTo>
                    <a:pt x="1054" y="2463"/>
                  </a:lnTo>
                  <a:lnTo>
                    <a:pt x="520" y="2514"/>
                  </a:lnTo>
                  <a:lnTo>
                    <a:pt x="0" y="2578"/>
                  </a:lnTo>
                  <a:lnTo>
                    <a:pt x="114" y="2705"/>
                  </a:lnTo>
                  <a:lnTo>
                    <a:pt x="546" y="3213"/>
                  </a:lnTo>
                  <a:lnTo>
                    <a:pt x="990" y="3683"/>
                  </a:lnTo>
                  <a:lnTo>
                    <a:pt x="1473" y="4127"/>
                  </a:lnTo>
                  <a:lnTo>
                    <a:pt x="2044" y="4076"/>
                  </a:lnTo>
                  <a:lnTo>
                    <a:pt x="3200" y="3949"/>
                  </a:lnTo>
                  <a:close/>
                </a:path>
                <a:path w="15240" h="4445">
                  <a:moveTo>
                    <a:pt x="14782" y="0"/>
                  </a:moveTo>
                  <a:lnTo>
                    <a:pt x="11595" y="736"/>
                  </a:lnTo>
                  <a:lnTo>
                    <a:pt x="10020" y="1054"/>
                  </a:lnTo>
                  <a:lnTo>
                    <a:pt x="10007" y="2197"/>
                  </a:lnTo>
                  <a:lnTo>
                    <a:pt x="9969" y="2374"/>
                  </a:lnTo>
                  <a:lnTo>
                    <a:pt x="9525" y="3086"/>
                  </a:lnTo>
                  <a:lnTo>
                    <a:pt x="12674" y="2527"/>
                  </a:lnTo>
                  <a:lnTo>
                    <a:pt x="14262" y="2197"/>
                  </a:lnTo>
                  <a:lnTo>
                    <a:pt x="14579" y="1447"/>
                  </a:lnTo>
                  <a:lnTo>
                    <a:pt x="14668" y="1054"/>
                  </a:lnTo>
                  <a:lnTo>
                    <a:pt x="14782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4" name="object 796">
              <a:extLst>
                <a:ext uri="{FF2B5EF4-FFF2-40B4-BE49-F238E27FC236}">
                  <a16:creationId xmlns:a16="http://schemas.microsoft.com/office/drawing/2014/main" id="{5D3D0122-5CB1-436C-8E92-6A5E375E50E4}"/>
                </a:ext>
              </a:extLst>
            </p:cNvPr>
            <p:cNvSpPr/>
            <p:nvPr/>
          </p:nvSpPr>
          <p:spPr>
            <a:xfrm>
              <a:off x="7949666" y="6421733"/>
              <a:ext cx="17780" cy="5080"/>
            </a:xfrm>
            <a:custGeom>
              <a:avLst/>
              <a:gdLst/>
              <a:ahLst/>
              <a:cxnLst/>
              <a:rect l="l" t="t" r="r" b="b"/>
              <a:pathLst>
                <a:path w="17779" h="5079">
                  <a:moveTo>
                    <a:pt x="3937" y="4508"/>
                  </a:moveTo>
                  <a:lnTo>
                    <a:pt x="3568" y="4000"/>
                  </a:lnTo>
                  <a:lnTo>
                    <a:pt x="3238" y="3454"/>
                  </a:lnTo>
                  <a:lnTo>
                    <a:pt x="2971" y="2870"/>
                  </a:lnTo>
                  <a:lnTo>
                    <a:pt x="1981" y="3009"/>
                  </a:lnTo>
                  <a:lnTo>
                    <a:pt x="977" y="3136"/>
                  </a:lnTo>
                  <a:lnTo>
                    <a:pt x="0" y="3251"/>
                  </a:lnTo>
                  <a:lnTo>
                    <a:pt x="736" y="3365"/>
                  </a:lnTo>
                  <a:lnTo>
                    <a:pt x="952" y="3467"/>
                  </a:lnTo>
                  <a:lnTo>
                    <a:pt x="1752" y="3962"/>
                  </a:lnTo>
                  <a:lnTo>
                    <a:pt x="2362" y="4686"/>
                  </a:lnTo>
                  <a:lnTo>
                    <a:pt x="2882" y="4622"/>
                  </a:lnTo>
                  <a:lnTo>
                    <a:pt x="3403" y="4572"/>
                  </a:lnTo>
                  <a:lnTo>
                    <a:pt x="3937" y="4508"/>
                  </a:lnTo>
                  <a:close/>
                </a:path>
                <a:path w="17779" h="5079">
                  <a:moveTo>
                    <a:pt x="17170" y="1384"/>
                  </a:moveTo>
                  <a:lnTo>
                    <a:pt x="17081" y="685"/>
                  </a:lnTo>
                  <a:lnTo>
                    <a:pt x="16891" y="0"/>
                  </a:lnTo>
                  <a:lnTo>
                    <a:pt x="15138" y="469"/>
                  </a:lnTo>
                  <a:lnTo>
                    <a:pt x="13385" y="901"/>
                  </a:lnTo>
                  <a:lnTo>
                    <a:pt x="11658" y="1282"/>
                  </a:lnTo>
                  <a:lnTo>
                    <a:pt x="12026" y="1879"/>
                  </a:lnTo>
                  <a:lnTo>
                    <a:pt x="12293" y="2489"/>
                  </a:lnTo>
                  <a:lnTo>
                    <a:pt x="12369" y="3136"/>
                  </a:lnTo>
                  <a:lnTo>
                    <a:pt x="13957" y="2819"/>
                  </a:lnTo>
                  <a:lnTo>
                    <a:pt x="15544" y="2476"/>
                  </a:lnTo>
                  <a:lnTo>
                    <a:pt x="17132" y="2095"/>
                  </a:lnTo>
                  <a:lnTo>
                    <a:pt x="17170" y="1384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5" name="object 797">
              <a:extLst>
                <a:ext uri="{FF2B5EF4-FFF2-40B4-BE49-F238E27FC236}">
                  <a16:creationId xmlns:a16="http://schemas.microsoft.com/office/drawing/2014/main" id="{41BF4CF4-D415-45A1-BF06-E1BEA8066339}"/>
                </a:ext>
              </a:extLst>
            </p:cNvPr>
            <p:cNvSpPr/>
            <p:nvPr/>
          </p:nvSpPr>
          <p:spPr>
            <a:xfrm>
              <a:off x="7947965" y="6419752"/>
              <a:ext cx="19050" cy="5715"/>
            </a:xfrm>
            <a:custGeom>
              <a:avLst/>
              <a:gdLst/>
              <a:ahLst/>
              <a:cxnLst/>
              <a:rect l="l" t="t" r="r" b="b"/>
              <a:pathLst>
                <a:path w="19050" h="5715">
                  <a:moveTo>
                    <a:pt x="4673" y="4851"/>
                  </a:moveTo>
                  <a:lnTo>
                    <a:pt x="4419" y="4318"/>
                  </a:lnTo>
                  <a:lnTo>
                    <a:pt x="4216" y="3733"/>
                  </a:lnTo>
                  <a:lnTo>
                    <a:pt x="4051" y="3149"/>
                  </a:lnTo>
                  <a:lnTo>
                    <a:pt x="2819" y="3352"/>
                  </a:lnTo>
                  <a:lnTo>
                    <a:pt x="1600" y="3530"/>
                  </a:lnTo>
                  <a:lnTo>
                    <a:pt x="381" y="3695"/>
                  </a:lnTo>
                  <a:lnTo>
                    <a:pt x="0" y="5029"/>
                  </a:lnTo>
                  <a:lnTo>
                    <a:pt x="774" y="5092"/>
                  </a:lnTo>
                  <a:lnTo>
                    <a:pt x="1701" y="5232"/>
                  </a:lnTo>
                  <a:lnTo>
                    <a:pt x="2679" y="5118"/>
                  </a:lnTo>
                  <a:lnTo>
                    <a:pt x="3683" y="4991"/>
                  </a:lnTo>
                  <a:lnTo>
                    <a:pt x="4673" y="4851"/>
                  </a:lnTo>
                  <a:close/>
                </a:path>
                <a:path w="19050" h="5715">
                  <a:moveTo>
                    <a:pt x="18592" y="1981"/>
                  </a:moveTo>
                  <a:lnTo>
                    <a:pt x="18402" y="1308"/>
                  </a:lnTo>
                  <a:lnTo>
                    <a:pt x="18122" y="647"/>
                  </a:lnTo>
                  <a:lnTo>
                    <a:pt x="17767" y="0"/>
                  </a:lnTo>
                  <a:lnTo>
                    <a:pt x="15836" y="558"/>
                  </a:lnTo>
                  <a:lnTo>
                    <a:pt x="13931" y="1066"/>
                  </a:lnTo>
                  <a:lnTo>
                    <a:pt x="12026" y="1524"/>
                  </a:lnTo>
                  <a:lnTo>
                    <a:pt x="12979" y="2641"/>
                  </a:lnTo>
                  <a:lnTo>
                    <a:pt x="13360" y="3263"/>
                  </a:lnTo>
                  <a:lnTo>
                    <a:pt x="15087" y="2882"/>
                  </a:lnTo>
                  <a:lnTo>
                    <a:pt x="18592" y="1981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6" name="object 798">
              <a:extLst>
                <a:ext uri="{FF2B5EF4-FFF2-40B4-BE49-F238E27FC236}">
                  <a16:creationId xmlns:a16="http://schemas.microsoft.com/office/drawing/2014/main" id="{CC5E517C-CFF1-44F9-8C1C-FBD880945E8E}"/>
                </a:ext>
              </a:extLst>
            </p:cNvPr>
            <p:cNvSpPr/>
            <p:nvPr/>
          </p:nvSpPr>
          <p:spPr>
            <a:xfrm>
              <a:off x="7948345" y="6415827"/>
              <a:ext cx="22860" cy="7620"/>
            </a:xfrm>
            <a:custGeom>
              <a:avLst/>
              <a:gdLst/>
              <a:ahLst/>
              <a:cxnLst/>
              <a:rect l="l" t="t" r="r" b="b"/>
              <a:pathLst>
                <a:path w="22859" h="7620">
                  <a:moveTo>
                    <a:pt x="3670" y="7061"/>
                  </a:moveTo>
                  <a:lnTo>
                    <a:pt x="3505" y="6489"/>
                  </a:lnTo>
                  <a:lnTo>
                    <a:pt x="3378" y="5892"/>
                  </a:lnTo>
                  <a:lnTo>
                    <a:pt x="3276" y="5295"/>
                  </a:lnTo>
                  <a:lnTo>
                    <a:pt x="2349" y="5473"/>
                  </a:lnTo>
                  <a:lnTo>
                    <a:pt x="1435" y="5638"/>
                  </a:lnTo>
                  <a:lnTo>
                    <a:pt x="508" y="5791"/>
                  </a:lnTo>
                  <a:lnTo>
                    <a:pt x="0" y="7607"/>
                  </a:lnTo>
                  <a:lnTo>
                    <a:pt x="1219" y="7442"/>
                  </a:lnTo>
                  <a:lnTo>
                    <a:pt x="2438" y="7264"/>
                  </a:lnTo>
                  <a:lnTo>
                    <a:pt x="3670" y="7061"/>
                  </a:lnTo>
                  <a:close/>
                </a:path>
                <a:path w="22859" h="7620">
                  <a:moveTo>
                    <a:pt x="17386" y="3924"/>
                  </a:moveTo>
                  <a:lnTo>
                    <a:pt x="17030" y="3276"/>
                  </a:lnTo>
                  <a:lnTo>
                    <a:pt x="16624" y="2654"/>
                  </a:lnTo>
                  <a:lnTo>
                    <a:pt x="16167" y="2044"/>
                  </a:lnTo>
                  <a:lnTo>
                    <a:pt x="14160" y="2667"/>
                  </a:lnTo>
                  <a:lnTo>
                    <a:pt x="12166" y="3238"/>
                  </a:lnTo>
                  <a:lnTo>
                    <a:pt x="10198" y="3746"/>
                  </a:lnTo>
                  <a:lnTo>
                    <a:pt x="10604" y="4241"/>
                  </a:lnTo>
                  <a:lnTo>
                    <a:pt x="11569" y="5359"/>
                  </a:lnTo>
                  <a:lnTo>
                    <a:pt x="13538" y="4991"/>
                  </a:lnTo>
                  <a:lnTo>
                    <a:pt x="15455" y="4483"/>
                  </a:lnTo>
                  <a:lnTo>
                    <a:pt x="17386" y="3924"/>
                  </a:lnTo>
                  <a:close/>
                </a:path>
                <a:path w="22859" h="7620">
                  <a:moveTo>
                    <a:pt x="22237" y="0"/>
                  </a:moveTo>
                  <a:lnTo>
                    <a:pt x="21666" y="203"/>
                  </a:lnTo>
                  <a:lnTo>
                    <a:pt x="21107" y="406"/>
                  </a:lnTo>
                  <a:lnTo>
                    <a:pt x="20535" y="609"/>
                  </a:lnTo>
                  <a:lnTo>
                    <a:pt x="20561" y="1117"/>
                  </a:lnTo>
                  <a:lnTo>
                    <a:pt x="20561" y="1358"/>
                  </a:lnTo>
                  <a:lnTo>
                    <a:pt x="21818" y="1638"/>
                  </a:lnTo>
                  <a:lnTo>
                    <a:pt x="22237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7" name="object 799">
              <a:extLst>
                <a:ext uri="{FF2B5EF4-FFF2-40B4-BE49-F238E27FC236}">
                  <a16:creationId xmlns:a16="http://schemas.microsoft.com/office/drawing/2014/main" id="{1E67364B-3240-4BA4-8E8F-99D78C844B8D}"/>
                </a:ext>
              </a:extLst>
            </p:cNvPr>
            <p:cNvSpPr/>
            <p:nvPr/>
          </p:nvSpPr>
          <p:spPr>
            <a:xfrm>
              <a:off x="7948854" y="6413071"/>
              <a:ext cx="22860" cy="8890"/>
            </a:xfrm>
            <a:custGeom>
              <a:avLst/>
              <a:gdLst/>
              <a:ahLst/>
              <a:cxnLst/>
              <a:rect l="l" t="t" r="r" b="b"/>
              <a:pathLst>
                <a:path w="22859" h="8890">
                  <a:moveTo>
                    <a:pt x="2768" y="8051"/>
                  </a:moveTo>
                  <a:lnTo>
                    <a:pt x="2667" y="7442"/>
                  </a:lnTo>
                  <a:lnTo>
                    <a:pt x="2590" y="6819"/>
                  </a:lnTo>
                  <a:lnTo>
                    <a:pt x="2552" y="6210"/>
                  </a:lnTo>
                  <a:lnTo>
                    <a:pt x="1879" y="6362"/>
                  </a:lnTo>
                  <a:lnTo>
                    <a:pt x="1206" y="6502"/>
                  </a:lnTo>
                  <a:lnTo>
                    <a:pt x="546" y="6629"/>
                  </a:lnTo>
                  <a:lnTo>
                    <a:pt x="0" y="8547"/>
                  </a:lnTo>
                  <a:lnTo>
                    <a:pt x="914" y="8407"/>
                  </a:lnTo>
                  <a:lnTo>
                    <a:pt x="2768" y="8051"/>
                  </a:lnTo>
                  <a:close/>
                </a:path>
                <a:path w="22859" h="8890">
                  <a:moveTo>
                    <a:pt x="15659" y="4813"/>
                  </a:moveTo>
                  <a:lnTo>
                    <a:pt x="15252" y="4267"/>
                  </a:lnTo>
                  <a:lnTo>
                    <a:pt x="14820" y="3733"/>
                  </a:lnTo>
                  <a:lnTo>
                    <a:pt x="14376" y="3225"/>
                  </a:lnTo>
                  <a:lnTo>
                    <a:pt x="14198" y="3009"/>
                  </a:lnTo>
                  <a:lnTo>
                    <a:pt x="12230" y="3657"/>
                  </a:lnTo>
                  <a:lnTo>
                    <a:pt x="10274" y="4241"/>
                  </a:lnTo>
                  <a:lnTo>
                    <a:pt x="8331" y="4775"/>
                  </a:lnTo>
                  <a:lnTo>
                    <a:pt x="8763" y="5372"/>
                  </a:lnTo>
                  <a:lnTo>
                    <a:pt x="9677" y="6502"/>
                  </a:lnTo>
                  <a:lnTo>
                    <a:pt x="11645" y="5994"/>
                  </a:lnTo>
                  <a:lnTo>
                    <a:pt x="13639" y="5435"/>
                  </a:lnTo>
                  <a:lnTo>
                    <a:pt x="15659" y="4813"/>
                  </a:lnTo>
                  <a:close/>
                </a:path>
                <a:path w="22859" h="8890">
                  <a:moveTo>
                    <a:pt x="22466" y="0"/>
                  </a:moveTo>
                  <a:lnTo>
                    <a:pt x="21551" y="355"/>
                  </a:lnTo>
                  <a:lnTo>
                    <a:pt x="20662" y="711"/>
                  </a:lnTo>
                  <a:lnTo>
                    <a:pt x="19761" y="1041"/>
                  </a:lnTo>
                  <a:lnTo>
                    <a:pt x="19913" y="1841"/>
                  </a:lnTo>
                  <a:lnTo>
                    <a:pt x="20002" y="2628"/>
                  </a:lnTo>
                  <a:lnTo>
                    <a:pt x="20040" y="3365"/>
                  </a:lnTo>
                  <a:lnTo>
                    <a:pt x="20612" y="3162"/>
                  </a:lnTo>
                  <a:lnTo>
                    <a:pt x="21170" y="2971"/>
                  </a:lnTo>
                  <a:lnTo>
                    <a:pt x="21742" y="2755"/>
                  </a:lnTo>
                  <a:lnTo>
                    <a:pt x="22466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8" name="object 800">
              <a:extLst>
                <a:ext uri="{FF2B5EF4-FFF2-40B4-BE49-F238E27FC236}">
                  <a16:creationId xmlns:a16="http://schemas.microsoft.com/office/drawing/2014/main" id="{E914D762-23BF-4B1D-B6B6-D8FBA908222A}"/>
                </a:ext>
              </a:extLst>
            </p:cNvPr>
            <p:cNvSpPr/>
            <p:nvPr/>
          </p:nvSpPr>
          <p:spPr>
            <a:xfrm>
              <a:off x="7949400" y="6410481"/>
              <a:ext cx="22860" cy="9525"/>
            </a:xfrm>
            <a:custGeom>
              <a:avLst/>
              <a:gdLst/>
              <a:ahLst/>
              <a:cxnLst/>
              <a:rect l="l" t="t" r="r" b="b"/>
              <a:pathLst>
                <a:path w="22859" h="9525">
                  <a:moveTo>
                    <a:pt x="2006" y="8801"/>
                  </a:moveTo>
                  <a:lnTo>
                    <a:pt x="1968" y="8255"/>
                  </a:lnTo>
                  <a:lnTo>
                    <a:pt x="1943" y="7721"/>
                  </a:lnTo>
                  <a:lnTo>
                    <a:pt x="1943" y="7200"/>
                  </a:lnTo>
                  <a:lnTo>
                    <a:pt x="1257" y="7048"/>
                  </a:lnTo>
                  <a:lnTo>
                    <a:pt x="800" y="7150"/>
                  </a:lnTo>
                  <a:lnTo>
                    <a:pt x="571" y="7213"/>
                  </a:lnTo>
                  <a:lnTo>
                    <a:pt x="0" y="9220"/>
                  </a:lnTo>
                  <a:lnTo>
                    <a:pt x="660" y="9093"/>
                  </a:lnTo>
                  <a:lnTo>
                    <a:pt x="1333" y="8953"/>
                  </a:lnTo>
                  <a:lnTo>
                    <a:pt x="2006" y="8801"/>
                  </a:lnTo>
                  <a:close/>
                </a:path>
                <a:path w="22859" h="9525">
                  <a:moveTo>
                    <a:pt x="13652" y="5600"/>
                  </a:moveTo>
                  <a:lnTo>
                    <a:pt x="12547" y="4305"/>
                  </a:lnTo>
                  <a:lnTo>
                    <a:pt x="12128" y="3822"/>
                  </a:lnTo>
                  <a:lnTo>
                    <a:pt x="10287" y="4457"/>
                  </a:lnTo>
                  <a:lnTo>
                    <a:pt x="8470" y="5041"/>
                  </a:lnTo>
                  <a:lnTo>
                    <a:pt x="6654" y="5575"/>
                  </a:lnTo>
                  <a:lnTo>
                    <a:pt x="6985" y="6184"/>
                  </a:lnTo>
                  <a:lnTo>
                    <a:pt x="7378" y="6794"/>
                  </a:lnTo>
                  <a:lnTo>
                    <a:pt x="7797" y="7366"/>
                  </a:lnTo>
                  <a:lnTo>
                    <a:pt x="9728" y="6832"/>
                  </a:lnTo>
                  <a:lnTo>
                    <a:pt x="11684" y="6248"/>
                  </a:lnTo>
                  <a:lnTo>
                    <a:pt x="13652" y="5600"/>
                  </a:lnTo>
                  <a:close/>
                </a:path>
                <a:path w="22859" h="9525">
                  <a:moveTo>
                    <a:pt x="22593" y="0"/>
                  </a:moveTo>
                  <a:lnTo>
                    <a:pt x="22339" y="50"/>
                  </a:lnTo>
                  <a:lnTo>
                    <a:pt x="22034" y="76"/>
                  </a:lnTo>
                  <a:lnTo>
                    <a:pt x="21729" y="88"/>
                  </a:lnTo>
                  <a:lnTo>
                    <a:pt x="18592" y="1397"/>
                  </a:lnTo>
                  <a:lnTo>
                    <a:pt x="18859" y="2120"/>
                  </a:lnTo>
                  <a:lnTo>
                    <a:pt x="19062" y="2882"/>
                  </a:lnTo>
                  <a:lnTo>
                    <a:pt x="19215" y="3632"/>
                  </a:lnTo>
                  <a:lnTo>
                    <a:pt x="20116" y="3302"/>
                  </a:lnTo>
                  <a:lnTo>
                    <a:pt x="21018" y="2946"/>
                  </a:lnTo>
                  <a:lnTo>
                    <a:pt x="21920" y="2578"/>
                  </a:lnTo>
                  <a:lnTo>
                    <a:pt x="22593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09" name="object 801">
              <a:extLst>
                <a:ext uri="{FF2B5EF4-FFF2-40B4-BE49-F238E27FC236}">
                  <a16:creationId xmlns:a16="http://schemas.microsoft.com/office/drawing/2014/main" id="{E64F890E-A0D6-46AA-9B9E-51CDAA8FF66A}"/>
                </a:ext>
              </a:extLst>
            </p:cNvPr>
            <p:cNvSpPr/>
            <p:nvPr/>
          </p:nvSpPr>
          <p:spPr>
            <a:xfrm>
              <a:off x="7949972" y="6409198"/>
              <a:ext cx="21590" cy="8890"/>
            </a:xfrm>
            <a:custGeom>
              <a:avLst/>
              <a:gdLst/>
              <a:ahLst/>
              <a:cxnLst/>
              <a:rect l="l" t="t" r="r" b="b"/>
              <a:pathLst>
                <a:path w="21590" h="8890">
                  <a:moveTo>
                    <a:pt x="685" y="8331"/>
                  </a:moveTo>
                  <a:lnTo>
                    <a:pt x="88" y="8191"/>
                  </a:lnTo>
                  <a:lnTo>
                    <a:pt x="0" y="8496"/>
                  </a:lnTo>
                  <a:lnTo>
                    <a:pt x="228" y="8432"/>
                  </a:lnTo>
                  <a:lnTo>
                    <a:pt x="685" y="8331"/>
                  </a:lnTo>
                  <a:close/>
                </a:path>
                <a:path w="21590" h="8890">
                  <a:moveTo>
                    <a:pt x="11557" y="5092"/>
                  </a:moveTo>
                  <a:lnTo>
                    <a:pt x="11061" y="4533"/>
                  </a:lnTo>
                  <a:lnTo>
                    <a:pt x="10553" y="3911"/>
                  </a:lnTo>
                  <a:lnTo>
                    <a:pt x="10160" y="3276"/>
                  </a:lnTo>
                  <a:lnTo>
                    <a:pt x="8521" y="3873"/>
                  </a:lnTo>
                  <a:lnTo>
                    <a:pt x="6908" y="4432"/>
                  </a:lnTo>
                  <a:lnTo>
                    <a:pt x="5295" y="4953"/>
                  </a:lnTo>
                  <a:lnTo>
                    <a:pt x="5486" y="5600"/>
                  </a:lnTo>
                  <a:lnTo>
                    <a:pt x="5765" y="6235"/>
                  </a:lnTo>
                  <a:lnTo>
                    <a:pt x="6096" y="6858"/>
                  </a:lnTo>
                  <a:lnTo>
                    <a:pt x="7899" y="6324"/>
                  </a:lnTo>
                  <a:lnTo>
                    <a:pt x="9715" y="5727"/>
                  </a:lnTo>
                  <a:lnTo>
                    <a:pt x="11557" y="5092"/>
                  </a:lnTo>
                  <a:close/>
                </a:path>
                <a:path w="21590" h="8890">
                  <a:moveTo>
                    <a:pt x="21145" y="1371"/>
                  </a:moveTo>
                  <a:lnTo>
                    <a:pt x="20472" y="1384"/>
                  </a:lnTo>
                  <a:lnTo>
                    <a:pt x="19748" y="1282"/>
                  </a:lnTo>
                  <a:lnTo>
                    <a:pt x="18884" y="749"/>
                  </a:lnTo>
                  <a:lnTo>
                    <a:pt x="18313" y="25"/>
                  </a:lnTo>
                  <a:lnTo>
                    <a:pt x="17843" y="190"/>
                  </a:lnTo>
                  <a:lnTo>
                    <a:pt x="17399" y="393"/>
                  </a:lnTo>
                  <a:lnTo>
                    <a:pt x="16954" y="584"/>
                  </a:lnTo>
                  <a:lnTo>
                    <a:pt x="17386" y="1206"/>
                  </a:lnTo>
                  <a:lnTo>
                    <a:pt x="17729" y="1930"/>
                  </a:lnTo>
                  <a:lnTo>
                    <a:pt x="18008" y="2679"/>
                  </a:lnTo>
                  <a:lnTo>
                    <a:pt x="19050" y="2260"/>
                  </a:lnTo>
                  <a:lnTo>
                    <a:pt x="21145" y="1371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0" name="object 802">
              <a:extLst>
                <a:ext uri="{FF2B5EF4-FFF2-40B4-BE49-F238E27FC236}">
                  <a16:creationId xmlns:a16="http://schemas.microsoft.com/office/drawing/2014/main" id="{519C35BE-F1A6-4F50-B50D-0B5AB9FC8D6A}"/>
                </a:ext>
              </a:extLst>
            </p:cNvPr>
            <p:cNvSpPr/>
            <p:nvPr/>
          </p:nvSpPr>
          <p:spPr>
            <a:xfrm>
              <a:off x="7954962" y="6407395"/>
              <a:ext cx="13335" cy="6985"/>
            </a:xfrm>
            <a:custGeom>
              <a:avLst/>
              <a:gdLst/>
              <a:ahLst/>
              <a:cxnLst/>
              <a:rect l="l" t="t" r="r" b="b"/>
              <a:pathLst>
                <a:path w="13334" h="6984">
                  <a:moveTo>
                    <a:pt x="5168" y="5080"/>
                  </a:moveTo>
                  <a:lnTo>
                    <a:pt x="4762" y="4406"/>
                  </a:lnTo>
                  <a:lnTo>
                    <a:pt x="4495" y="3695"/>
                  </a:lnTo>
                  <a:lnTo>
                    <a:pt x="4521" y="2959"/>
                  </a:lnTo>
                  <a:lnTo>
                    <a:pt x="3009" y="3556"/>
                  </a:lnTo>
                  <a:lnTo>
                    <a:pt x="1511" y="4127"/>
                  </a:lnTo>
                  <a:lnTo>
                    <a:pt x="25" y="4648"/>
                  </a:lnTo>
                  <a:lnTo>
                    <a:pt x="0" y="5359"/>
                  </a:lnTo>
                  <a:lnTo>
                    <a:pt x="101" y="6070"/>
                  </a:lnTo>
                  <a:lnTo>
                    <a:pt x="304" y="6756"/>
                  </a:lnTo>
                  <a:lnTo>
                    <a:pt x="1905" y="6235"/>
                  </a:lnTo>
                  <a:lnTo>
                    <a:pt x="3530" y="5676"/>
                  </a:lnTo>
                  <a:lnTo>
                    <a:pt x="5168" y="5080"/>
                  </a:lnTo>
                  <a:close/>
                </a:path>
                <a:path w="13334" h="6984">
                  <a:moveTo>
                    <a:pt x="13322" y="1803"/>
                  </a:moveTo>
                  <a:lnTo>
                    <a:pt x="12725" y="1092"/>
                  </a:lnTo>
                  <a:lnTo>
                    <a:pt x="12179" y="520"/>
                  </a:lnTo>
                  <a:lnTo>
                    <a:pt x="11493" y="0"/>
                  </a:lnTo>
                  <a:lnTo>
                    <a:pt x="10604" y="406"/>
                  </a:lnTo>
                  <a:lnTo>
                    <a:pt x="10172" y="596"/>
                  </a:lnTo>
                  <a:lnTo>
                    <a:pt x="10909" y="1054"/>
                  </a:lnTo>
                  <a:lnTo>
                    <a:pt x="11493" y="1663"/>
                  </a:lnTo>
                  <a:lnTo>
                    <a:pt x="11976" y="2374"/>
                  </a:lnTo>
                  <a:lnTo>
                    <a:pt x="12865" y="1993"/>
                  </a:lnTo>
                  <a:lnTo>
                    <a:pt x="13322" y="1803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1" name="object 803">
              <a:extLst>
                <a:ext uri="{FF2B5EF4-FFF2-40B4-BE49-F238E27FC236}">
                  <a16:creationId xmlns:a16="http://schemas.microsoft.com/office/drawing/2014/main" id="{E9E2157D-48D4-493D-B777-9AF3ECE2DCA2}"/>
                </a:ext>
              </a:extLst>
            </p:cNvPr>
            <p:cNvSpPr/>
            <p:nvPr/>
          </p:nvSpPr>
          <p:spPr>
            <a:xfrm>
              <a:off x="7954992" y="6405994"/>
              <a:ext cx="12065" cy="6350"/>
            </a:xfrm>
            <a:custGeom>
              <a:avLst/>
              <a:gdLst/>
              <a:ahLst/>
              <a:cxnLst/>
              <a:rect l="l" t="t" r="r" b="b"/>
              <a:pathLst>
                <a:path w="12065" h="6350">
                  <a:moveTo>
                    <a:pt x="5894" y="1352"/>
                  </a:moveTo>
                  <a:lnTo>
                    <a:pt x="3327" y="2451"/>
                  </a:lnTo>
                  <a:lnTo>
                    <a:pt x="634" y="3517"/>
                  </a:lnTo>
                  <a:lnTo>
                    <a:pt x="228" y="4368"/>
                  </a:lnTo>
                  <a:lnTo>
                    <a:pt x="86" y="4965"/>
                  </a:lnTo>
                  <a:lnTo>
                    <a:pt x="0" y="6045"/>
                  </a:lnTo>
                  <a:lnTo>
                    <a:pt x="1485" y="5524"/>
                  </a:lnTo>
                  <a:lnTo>
                    <a:pt x="2984" y="4965"/>
                  </a:lnTo>
                  <a:lnTo>
                    <a:pt x="4464" y="4368"/>
                  </a:lnTo>
                  <a:lnTo>
                    <a:pt x="4508" y="3886"/>
                  </a:lnTo>
                  <a:lnTo>
                    <a:pt x="4648" y="3390"/>
                  </a:lnTo>
                  <a:lnTo>
                    <a:pt x="5894" y="1352"/>
                  </a:lnTo>
                  <a:close/>
                </a:path>
                <a:path w="12065" h="6350">
                  <a:moveTo>
                    <a:pt x="10684" y="863"/>
                  </a:moveTo>
                  <a:lnTo>
                    <a:pt x="8267" y="863"/>
                  </a:lnTo>
                  <a:lnTo>
                    <a:pt x="10134" y="1993"/>
                  </a:lnTo>
                  <a:lnTo>
                    <a:pt x="11468" y="1397"/>
                  </a:lnTo>
                  <a:lnTo>
                    <a:pt x="10684" y="863"/>
                  </a:lnTo>
                  <a:close/>
                </a:path>
                <a:path w="12065" h="6350">
                  <a:moveTo>
                    <a:pt x="6844" y="914"/>
                  </a:moveTo>
                  <a:lnTo>
                    <a:pt x="6146" y="939"/>
                  </a:lnTo>
                  <a:lnTo>
                    <a:pt x="5894" y="1352"/>
                  </a:lnTo>
                  <a:lnTo>
                    <a:pt x="6844" y="914"/>
                  </a:lnTo>
                  <a:close/>
                </a:path>
                <a:path w="12065" h="6350">
                  <a:moveTo>
                    <a:pt x="8801" y="0"/>
                  </a:moveTo>
                  <a:lnTo>
                    <a:pt x="6844" y="914"/>
                  </a:lnTo>
                  <a:lnTo>
                    <a:pt x="8267" y="863"/>
                  </a:lnTo>
                  <a:lnTo>
                    <a:pt x="10684" y="863"/>
                  </a:lnTo>
                  <a:lnTo>
                    <a:pt x="10058" y="469"/>
                  </a:lnTo>
                  <a:lnTo>
                    <a:pt x="9436" y="203"/>
                  </a:lnTo>
                  <a:lnTo>
                    <a:pt x="8801" y="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2" name="object 804">
              <a:extLst>
                <a:ext uri="{FF2B5EF4-FFF2-40B4-BE49-F238E27FC236}">
                  <a16:creationId xmlns:a16="http://schemas.microsoft.com/office/drawing/2014/main" id="{08D2660E-89A5-432B-86E7-8F14C78BE9AC}"/>
                </a:ext>
              </a:extLst>
            </p:cNvPr>
            <p:cNvSpPr/>
            <p:nvPr/>
          </p:nvSpPr>
          <p:spPr>
            <a:xfrm>
              <a:off x="7955631" y="6405083"/>
              <a:ext cx="8255" cy="4445"/>
            </a:xfrm>
            <a:custGeom>
              <a:avLst/>
              <a:gdLst/>
              <a:ahLst/>
              <a:cxnLst/>
              <a:rect l="l" t="t" r="r" b="b"/>
              <a:pathLst>
                <a:path w="8254" h="4445">
                  <a:moveTo>
                    <a:pt x="5257" y="0"/>
                  </a:moveTo>
                  <a:lnTo>
                    <a:pt x="2120" y="888"/>
                  </a:lnTo>
                  <a:lnTo>
                    <a:pt x="368" y="3746"/>
                  </a:lnTo>
                  <a:lnTo>
                    <a:pt x="114" y="4190"/>
                  </a:lnTo>
                  <a:lnTo>
                    <a:pt x="0" y="4432"/>
                  </a:lnTo>
                  <a:lnTo>
                    <a:pt x="2692" y="3365"/>
                  </a:lnTo>
                  <a:lnTo>
                    <a:pt x="5410" y="2197"/>
                  </a:lnTo>
                  <a:lnTo>
                    <a:pt x="8166" y="914"/>
                  </a:lnTo>
                  <a:lnTo>
                    <a:pt x="5257" y="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3" name="object 805">
              <a:extLst>
                <a:ext uri="{FF2B5EF4-FFF2-40B4-BE49-F238E27FC236}">
                  <a16:creationId xmlns:a16="http://schemas.microsoft.com/office/drawing/2014/main" id="{D8E8CA47-4999-42D8-AB53-54EC9F05F47A}"/>
                </a:ext>
              </a:extLst>
            </p:cNvPr>
            <p:cNvSpPr/>
            <p:nvPr/>
          </p:nvSpPr>
          <p:spPr>
            <a:xfrm>
              <a:off x="7977841" y="6439848"/>
              <a:ext cx="3175" cy="1270"/>
            </a:xfrm>
            <a:custGeom>
              <a:avLst/>
              <a:gdLst/>
              <a:ahLst/>
              <a:cxnLst/>
              <a:rect l="l" t="t" r="r" b="b"/>
              <a:pathLst>
                <a:path w="3175" h="1270">
                  <a:moveTo>
                    <a:pt x="2209" y="0"/>
                  </a:moveTo>
                  <a:lnTo>
                    <a:pt x="736" y="152"/>
                  </a:lnTo>
                  <a:lnTo>
                    <a:pt x="0" y="215"/>
                  </a:lnTo>
                  <a:lnTo>
                    <a:pt x="2387" y="1257"/>
                  </a:lnTo>
                  <a:lnTo>
                    <a:pt x="2819" y="279"/>
                  </a:lnTo>
                  <a:lnTo>
                    <a:pt x="2590" y="190"/>
                  </a:lnTo>
                  <a:lnTo>
                    <a:pt x="2400" y="88"/>
                  </a:lnTo>
                  <a:lnTo>
                    <a:pt x="2209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4" name="object 806">
              <a:extLst>
                <a:ext uri="{FF2B5EF4-FFF2-40B4-BE49-F238E27FC236}">
                  <a16:creationId xmlns:a16="http://schemas.microsoft.com/office/drawing/2014/main" id="{FA3A166E-2EC2-4495-8BE7-0C8A4262EA01}"/>
                </a:ext>
              </a:extLst>
            </p:cNvPr>
            <p:cNvSpPr/>
            <p:nvPr/>
          </p:nvSpPr>
          <p:spPr>
            <a:xfrm>
              <a:off x="7974281" y="6438060"/>
              <a:ext cx="6350" cy="2540"/>
            </a:xfrm>
            <a:custGeom>
              <a:avLst/>
              <a:gdLst/>
              <a:ahLst/>
              <a:cxnLst/>
              <a:rect l="l" t="t" r="r" b="b"/>
              <a:pathLst>
                <a:path w="6350" h="2540">
                  <a:moveTo>
                    <a:pt x="4279" y="0"/>
                  </a:moveTo>
                  <a:lnTo>
                    <a:pt x="1422" y="317"/>
                  </a:lnTo>
                  <a:lnTo>
                    <a:pt x="0" y="444"/>
                  </a:lnTo>
                  <a:lnTo>
                    <a:pt x="3568" y="2006"/>
                  </a:lnTo>
                  <a:lnTo>
                    <a:pt x="4292" y="1930"/>
                  </a:lnTo>
                  <a:lnTo>
                    <a:pt x="5029" y="1866"/>
                  </a:lnTo>
                  <a:lnTo>
                    <a:pt x="5765" y="1790"/>
                  </a:lnTo>
                  <a:lnTo>
                    <a:pt x="4825" y="1282"/>
                  </a:lnTo>
                  <a:lnTo>
                    <a:pt x="4343" y="736"/>
                  </a:lnTo>
                  <a:lnTo>
                    <a:pt x="4279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5" name="object 807">
              <a:extLst>
                <a:ext uri="{FF2B5EF4-FFF2-40B4-BE49-F238E27FC236}">
                  <a16:creationId xmlns:a16="http://schemas.microsoft.com/office/drawing/2014/main" id="{21160666-AD37-4946-8497-292D05517296}"/>
                </a:ext>
              </a:extLst>
            </p:cNvPr>
            <p:cNvSpPr/>
            <p:nvPr/>
          </p:nvSpPr>
          <p:spPr>
            <a:xfrm>
              <a:off x="7970742" y="6435994"/>
              <a:ext cx="8890" cy="2540"/>
            </a:xfrm>
            <a:custGeom>
              <a:avLst/>
              <a:gdLst/>
              <a:ahLst/>
              <a:cxnLst/>
              <a:rect l="l" t="t" r="r" b="b"/>
              <a:pathLst>
                <a:path w="8890" h="2540">
                  <a:moveTo>
                    <a:pt x="8331" y="0"/>
                  </a:moveTo>
                  <a:lnTo>
                    <a:pt x="5537" y="406"/>
                  </a:lnTo>
                  <a:lnTo>
                    <a:pt x="2755" y="736"/>
                  </a:lnTo>
                  <a:lnTo>
                    <a:pt x="0" y="965"/>
                  </a:lnTo>
                  <a:lnTo>
                    <a:pt x="3543" y="2514"/>
                  </a:lnTo>
                  <a:lnTo>
                    <a:pt x="4953" y="2387"/>
                  </a:lnTo>
                  <a:lnTo>
                    <a:pt x="7823" y="2070"/>
                  </a:lnTo>
                  <a:lnTo>
                    <a:pt x="7772" y="1549"/>
                  </a:lnTo>
                  <a:lnTo>
                    <a:pt x="7912" y="952"/>
                  </a:lnTo>
                  <a:lnTo>
                    <a:pt x="8242" y="203"/>
                  </a:lnTo>
                  <a:lnTo>
                    <a:pt x="8331" y="0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6" name="object 808">
              <a:extLst>
                <a:ext uri="{FF2B5EF4-FFF2-40B4-BE49-F238E27FC236}">
                  <a16:creationId xmlns:a16="http://schemas.microsoft.com/office/drawing/2014/main" id="{1F623EF6-26BA-4B52-9607-55BA3B7A0C98}"/>
                </a:ext>
              </a:extLst>
            </p:cNvPr>
            <p:cNvSpPr/>
            <p:nvPr/>
          </p:nvSpPr>
          <p:spPr>
            <a:xfrm>
              <a:off x="7969745" y="6433750"/>
              <a:ext cx="10795" cy="3810"/>
            </a:xfrm>
            <a:custGeom>
              <a:avLst/>
              <a:gdLst/>
              <a:ahLst/>
              <a:cxnLst/>
              <a:rect l="l" t="t" r="r" b="b"/>
              <a:pathLst>
                <a:path w="10795" h="3809">
                  <a:moveTo>
                    <a:pt x="10312" y="0"/>
                  </a:moveTo>
                  <a:lnTo>
                    <a:pt x="8242" y="380"/>
                  </a:lnTo>
                  <a:lnTo>
                    <a:pt x="6172" y="698"/>
                  </a:lnTo>
                  <a:lnTo>
                    <a:pt x="4127" y="977"/>
                  </a:lnTo>
                  <a:lnTo>
                    <a:pt x="3302" y="2451"/>
                  </a:lnTo>
                  <a:lnTo>
                    <a:pt x="2286" y="2616"/>
                  </a:lnTo>
                  <a:lnTo>
                    <a:pt x="419" y="1803"/>
                  </a:lnTo>
                  <a:lnTo>
                    <a:pt x="0" y="2781"/>
                  </a:lnTo>
                  <a:lnTo>
                    <a:pt x="990" y="3213"/>
                  </a:lnTo>
                  <a:lnTo>
                    <a:pt x="3746" y="2984"/>
                  </a:lnTo>
                  <a:lnTo>
                    <a:pt x="6527" y="2654"/>
                  </a:lnTo>
                  <a:lnTo>
                    <a:pt x="9334" y="2247"/>
                  </a:lnTo>
                  <a:lnTo>
                    <a:pt x="10312" y="0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7" name="object 809">
              <a:extLst>
                <a:ext uri="{FF2B5EF4-FFF2-40B4-BE49-F238E27FC236}">
                  <a16:creationId xmlns:a16="http://schemas.microsoft.com/office/drawing/2014/main" id="{74B05EE4-7805-4D65-8C28-D09F4E3BB727}"/>
                </a:ext>
              </a:extLst>
            </p:cNvPr>
            <p:cNvSpPr/>
            <p:nvPr/>
          </p:nvSpPr>
          <p:spPr>
            <a:xfrm>
              <a:off x="7973873" y="6431380"/>
              <a:ext cx="7620" cy="3810"/>
            </a:xfrm>
            <a:custGeom>
              <a:avLst/>
              <a:gdLst/>
              <a:ahLst/>
              <a:cxnLst/>
              <a:rect l="l" t="t" r="r" b="b"/>
              <a:pathLst>
                <a:path w="7620" h="3809">
                  <a:moveTo>
                    <a:pt x="7213" y="0"/>
                  </a:moveTo>
                  <a:lnTo>
                    <a:pt x="5130" y="444"/>
                  </a:lnTo>
                  <a:lnTo>
                    <a:pt x="3047" y="850"/>
                  </a:lnTo>
                  <a:lnTo>
                    <a:pt x="965" y="1193"/>
                  </a:lnTo>
                  <a:lnTo>
                    <a:pt x="203" y="2959"/>
                  </a:lnTo>
                  <a:lnTo>
                    <a:pt x="0" y="3340"/>
                  </a:lnTo>
                  <a:lnTo>
                    <a:pt x="2044" y="3073"/>
                  </a:lnTo>
                  <a:lnTo>
                    <a:pt x="4114" y="2743"/>
                  </a:lnTo>
                  <a:lnTo>
                    <a:pt x="6184" y="2374"/>
                  </a:lnTo>
                  <a:lnTo>
                    <a:pt x="7213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8" name="object 810">
              <a:extLst>
                <a:ext uri="{FF2B5EF4-FFF2-40B4-BE49-F238E27FC236}">
                  <a16:creationId xmlns:a16="http://schemas.microsoft.com/office/drawing/2014/main" id="{E0CA05A8-A039-437F-9A13-8E230925BFDF}"/>
                </a:ext>
              </a:extLst>
            </p:cNvPr>
            <p:cNvSpPr/>
            <p:nvPr/>
          </p:nvSpPr>
          <p:spPr>
            <a:xfrm>
              <a:off x="7974838" y="6425924"/>
              <a:ext cx="17780" cy="6985"/>
            </a:xfrm>
            <a:custGeom>
              <a:avLst/>
              <a:gdLst/>
              <a:ahLst/>
              <a:cxnLst/>
              <a:rect l="l" t="t" r="r" b="b"/>
              <a:pathLst>
                <a:path w="17779" h="6984">
                  <a:moveTo>
                    <a:pt x="7340" y="2959"/>
                  </a:moveTo>
                  <a:lnTo>
                    <a:pt x="5207" y="3492"/>
                  </a:lnTo>
                  <a:lnTo>
                    <a:pt x="3098" y="3975"/>
                  </a:lnTo>
                  <a:lnTo>
                    <a:pt x="990" y="4394"/>
                  </a:lnTo>
                  <a:lnTo>
                    <a:pt x="0" y="6654"/>
                  </a:lnTo>
                  <a:lnTo>
                    <a:pt x="2070" y="6311"/>
                  </a:lnTo>
                  <a:lnTo>
                    <a:pt x="4165" y="5905"/>
                  </a:lnTo>
                  <a:lnTo>
                    <a:pt x="6248" y="5461"/>
                  </a:lnTo>
                  <a:lnTo>
                    <a:pt x="7340" y="2959"/>
                  </a:lnTo>
                  <a:close/>
                </a:path>
                <a:path w="17779" h="6984">
                  <a:moveTo>
                    <a:pt x="17526" y="0"/>
                  </a:moveTo>
                  <a:lnTo>
                    <a:pt x="16954" y="190"/>
                  </a:lnTo>
                  <a:lnTo>
                    <a:pt x="15836" y="546"/>
                  </a:lnTo>
                  <a:lnTo>
                    <a:pt x="15989" y="1282"/>
                  </a:lnTo>
                  <a:lnTo>
                    <a:pt x="16040" y="1625"/>
                  </a:lnTo>
                  <a:lnTo>
                    <a:pt x="17259" y="1816"/>
                  </a:lnTo>
                  <a:lnTo>
                    <a:pt x="17526" y="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19" name="object 811">
              <a:extLst>
                <a:ext uri="{FF2B5EF4-FFF2-40B4-BE49-F238E27FC236}">
                  <a16:creationId xmlns:a16="http://schemas.microsoft.com/office/drawing/2014/main" id="{C0658504-9D92-420C-AEC2-7A3A107BF842}"/>
                </a:ext>
              </a:extLst>
            </p:cNvPr>
            <p:cNvSpPr/>
            <p:nvPr/>
          </p:nvSpPr>
          <p:spPr>
            <a:xfrm>
              <a:off x="7975828" y="6423181"/>
              <a:ext cx="17145" cy="7620"/>
            </a:xfrm>
            <a:custGeom>
              <a:avLst/>
              <a:gdLst/>
              <a:ahLst/>
              <a:cxnLst/>
              <a:rect l="l" t="t" r="r" b="b"/>
              <a:pathLst>
                <a:path w="17145" h="7620">
                  <a:moveTo>
                    <a:pt x="7505" y="3048"/>
                  </a:moveTo>
                  <a:lnTo>
                    <a:pt x="5346" y="3670"/>
                  </a:lnTo>
                  <a:lnTo>
                    <a:pt x="3187" y="4229"/>
                  </a:lnTo>
                  <a:lnTo>
                    <a:pt x="1041" y="4749"/>
                  </a:lnTo>
                  <a:lnTo>
                    <a:pt x="0" y="7137"/>
                  </a:lnTo>
                  <a:lnTo>
                    <a:pt x="2108" y="6718"/>
                  </a:lnTo>
                  <a:lnTo>
                    <a:pt x="4216" y="6235"/>
                  </a:lnTo>
                  <a:lnTo>
                    <a:pt x="6350" y="5702"/>
                  </a:lnTo>
                  <a:lnTo>
                    <a:pt x="7505" y="3048"/>
                  </a:lnTo>
                  <a:close/>
                </a:path>
                <a:path w="17145" h="7620">
                  <a:moveTo>
                    <a:pt x="16941" y="0"/>
                  </a:moveTo>
                  <a:lnTo>
                    <a:pt x="16002" y="342"/>
                  </a:lnTo>
                  <a:lnTo>
                    <a:pt x="14135" y="977"/>
                  </a:lnTo>
                  <a:lnTo>
                    <a:pt x="14439" y="1752"/>
                  </a:lnTo>
                  <a:lnTo>
                    <a:pt x="14668" y="2527"/>
                  </a:lnTo>
                  <a:lnTo>
                    <a:pt x="14846" y="3289"/>
                  </a:lnTo>
                  <a:lnTo>
                    <a:pt x="15405" y="3111"/>
                  </a:lnTo>
                  <a:lnTo>
                    <a:pt x="15976" y="2946"/>
                  </a:lnTo>
                  <a:lnTo>
                    <a:pt x="16535" y="2755"/>
                  </a:lnTo>
                  <a:lnTo>
                    <a:pt x="16941" y="0"/>
                  </a:lnTo>
                  <a:close/>
                </a:path>
              </a:pathLst>
            </a:custGeom>
            <a:solidFill>
              <a:srgbClr val="E7BF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0" name="object 812">
              <a:extLst>
                <a:ext uri="{FF2B5EF4-FFF2-40B4-BE49-F238E27FC236}">
                  <a16:creationId xmlns:a16="http://schemas.microsoft.com/office/drawing/2014/main" id="{ED161649-5103-4845-AF95-D950CA9453A5}"/>
                </a:ext>
              </a:extLst>
            </p:cNvPr>
            <p:cNvSpPr/>
            <p:nvPr/>
          </p:nvSpPr>
          <p:spPr>
            <a:xfrm>
              <a:off x="7976882" y="6420755"/>
              <a:ext cx="16510" cy="7620"/>
            </a:xfrm>
            <a:custGeom>
              <a:avLst/>
              <a:gdLst/>
              <a:ahLst/>
              <a:cxnLst/>
              <a:rect l="l" t="t" r="r" b="b"/>
              <a:pathLst>
                <a:path w="16509" h="7620">
                  <a:moveTo>
                    <a:pt x="7683" y="2654"/>
                  </a:moveTo>
                  <a:lnTo>
                    <a:pt x="5486" y="3365"/>
                  </a:lnTo>
                  <a:lnTo>
                    <a:pt x="3289" y="4025"/>
                  </a:lnTo>
                  <a:lnTo>
                    <a:pt x="1104" y="4635"/>
                  </a:lnTo>
                  <a:lnTo>
                    <a:pt x="0" y="7188"/>
                  </a:lnTo>
                  <a:lnTo>
                    <a:pt x="2133" y="6667"/>
                  </a:lnTo>
                  <a:lnTo>
                    <a:pt x="4292" y="6096"/>
                  </a:lnTo>
                  <a:lnTo>
                    <a:pt x="6451" y="5486"/>
                  </a:lnTo>
                  <a:lnTo>
                    <a:pt x="7683" y="2654"/>
                  </a:lnTo>
                  <a:close/>
                </a:path>
                <a:path w="16509" h="7620">
                  <a:moveTo>
                    <a:pt x="16192" y="431"/>
                  </a:moveTo>
                  <a:lnTo>
                    <a:pt x="15201" y="0"/>
                  </a:lnTo>
                  <a:lnTo>
                    <a:pt x="13030" y="812"/>
                  </a:lnTo>
                  <a:lnTo>
                    <a:pt x="11950" y="1193"/>
                  </a:lnTo>
                  <a:lnTo>
                    <a:pt x="12407" y="1879"/>
                  </a:lnTo>
                  <a:lnTo>
                    <a:pt x="12776" y="2628"/>
                  </a:lnTo>
                  <a:lnTo>
                    <a:pt x="13081" y="3403"/>
                  </a:lnTo>
                  <a:lnTo>
                    <a:pt x="14947" y="2768"/>
                  </a:lnTo>
                  <a:lnTo>
                    <a:pt x="15887" y="2413"/>
                  </a:lnTo>
                  <a:lnTo>
                    <a:pt x="16192" y="431"/>
                  </a:lnTo>
                  <a:close/>
                </a:path>
              </a:pathLst>
            </a:custGeom>
            <a:solidFill>
              <a:srgbClr val="E6BF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1" name="object 813">
              <a:extLst>
                <a:ext uri="{FF2B5EF4-FFF2-40B4-BE49-F238E27FC236}">
                  <a16:creationId xmlns:a16="http://schemas.microsoft.com/office/drawing/2014/main" id="{79F9139A-E4D0-4118-9FE9-8FF572EFDC10}"/>
                </a:ext>
              </a:extLst>
            </p:cNvPr>
            <p:cNvSpPr/>
            <p:nvPr/>
          </p:nvSpPr>
          <p:spPr>
            <a:xfrm>
              <a:off x="7977975" y="6419307"/>
              <a:ext cx="14604" cy="6350"/>
            </a:xfrm>
            <a:custGeom>
              <a:avLst/>
              <a:gdLst/>
              <a:ahLst/>
              <a:cxnLst/>
              <a:rect l="l" t="t" r="r" b="b"/>
              <a:pathLst>
                <a:path w="14604" h="6350">
                  <a:moveTo>
                    <a:pt x="7899" y="1092"/>
                  </a:moveTo>
                  <a:lnTo>
                    <a:pt x="5651" y="1917"/>
                  </a:lnTo>
                  <a:lnTo>
                    <a:pt x="3416" y="2667"/>
                  </a:lnTo>
                  <a:lnTo>
                    <a:pt x="1181" y="3365"/>
                  </a:lnTo>
                  <a:lnTo>
                    <a:pt x="0" y="6070"/>
                  </a:lnTo>
                  <a:lnTo>
                    <a:pt x="2184" y="5473"/>
                  </a:lnTo>
                  <a:lnTo>
                    <a:pt x="4381" y="4813"/>
                  </a:lnTo>
                  <a:lnTo>
                    <a:pt x="6591" y="4102"/>
                  </a:lnTo>
                  <a:lnTo>
                    <a:pt x="7899" y="1092"/>
                  </a:lnTo>
                  <a:close/>
                </a:path>
                <a:path w="14604" h="6350">
                  <a:moveTo>
                    <a:pt x="14109" y="1447"/>
                  </a:moveTo>
                  <a:lnTo>
                    <a:pt x="10820" y="0"/>
                  </a:lnTo>
                  <a:lnTo>
                    <a:pt x="10210" y="241"/>
                  </a:lnTo>
                  <a:lnTo>
                    <a:pt x="9613" y="457"/>
                  </a:lnTo>
                  <a:lnTo>
                    <a:pt x="9017" y="698"/>
                  </a:lnTo>
                  <a:lnTo>
                    <a:pt x="9740" y="1181"/>
                  </a:lnTo>
                  <a:lnTo>
                    <a:pt x="10363" y="1866"/>
                  </a:lnTo>
                  <a:lnTo>
                    <a:pt x="10871" y="2641"/>
                  </a:lnTo>
                  <a:lnTo>
                    <a:pt x="13030" y="1854"/>
                  </a:lnTo>
                  <a:lnTo>
                    <a:pt x="14109" y="1447"/>
                  </a:lnTo>
                  <a:close/>
                </a:path>
              </a:pathLst>
            </a:custGeom>
            <a:solidFill>
              <a:srgbClr val="E7C0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2" name="object 814">
              <a:extLst>
                <a:ext uri="{FF2B5EF4-FFF2-40B4-BE49-F238E27FC236}">
                  <a16:creationId xmlns:a16="http://schemas.microsoft.com/office/drawing/2014/main" id="{9506515D-F5A9-4D08-98CD-4A356586B465}"/>
                </a:ext>
              </a:extLst>
            </p:cNvPr>
            <p:cNvSpPr/>
            <p:nvPr/>
          </p:nvSpPr>
          <p:spPr>
            <a:xfrm>
              <a:off x="7979176" y="6417890"/>
              <a:ext cx="10160" cy="5080"/>
            </a:xfrm>
            <a:custGeom>
              <a:avLst/>
              <a:gdLst/>
              <a:ahLst/>
              <a:cxnLst/>
              <a:rect l="l" t="t" r="r" b="b"/>
              <a:pathLst>
                <a:path w="10159" h="5079">
                  <a:moveTo>
                    <a:pt x="6362" y="0"/>
                  </a:moveTo>
                  <a:lnTo>
                    <a:pt x="4660" y="660"/>
                  </a:lnTo>
                  <a:lnTo>
                    <a:pt x="2959" y="1282"/>
                  </a:lnTo>
                  <a:lnTo>
                    <a:pt x="1257" y="1879"/>
                  </a:lnTo>
                  <a:lnTo>
                    <a:pt x="0" y="4775"/>
                  </a:lnTo>
                  <a:lnTo>
                    <a:pt x="2222" y="4076"/>
                  </a:lnTo>
                  <a:lnTo>
                    <a:pt x="4457" y="3327"/>
                  </a:lnTo>
                  <a:lnTo>
                    <a:pt x="6705" y="2501"/>
                  </a:lnTo>
                  <a:lnTo>
                    <a:pt x="7073" y="1663"/>
                  </a:lnTo>
                  <a:lnTo>
                    <a:pt x="7340" y="1790"/>
                  </a:lnTo>
                  <a:lnTo>
                    <a:pt x="7823" y="2108"/>
                  </a:lnTo>
                  <a:lnTo>
                    <a:pt x="8420" y="1866"/>
                  </a:lnTo>
                  <a:lnTo>
                    <a:pt x="9626" y="1409"/>
                  </a:lnTo>
                  <a:lnTo>
                    <a:pt x="6362" y="0"/>
                  </a:lnTo>
                  <a:close/>
                </a:path>
              </a:pathLst>
            </a:custGeom>
            <a:solidFill>
              <a:srgbClr val="E9C2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3" name="object 815">
              <a:extLst>
                <a:ext uri="{FF2B5EF4-FFF2-40B4-BE49-F238E27FC236}">
                  <a16:creationId xmlns:a16="http://schemas.microsoft.com/office/drawing/2014/main" id="{8ECA8541-ABAA-4DA3-AAF1-012AE27B1924}"/>
                </a:ext>
              </a:extLst>
            </p:cNvPr>
            <p:cNvSpPr/>
            <p:nvPr/>
          </p:nvSpPr>
          <p:spPr>
            <a:xfrm>
              <a:off x="7980404" y="6416484"/>
              <a:ext cx="5715" cy="3810"/>
            </a:xfrm>
            <a:custGeom>
              <a:avLst/>
              <a:gdLst/>
              <a:ahLst/>
              <a:cxnLst/>
              <a:rect l="l" t="t" r="r" b="b"/>
              <a:pathLst>
                <a:path w="5715" h="3809">
                  <a:moveTo>
                    <a:pt x="1930" y="0"/>
                  </a:moveTo>
                  <a:lnTo>
                    <a:pt x="0" y="749"/>
                  </a:lnTo>
                  <a:lnTo>
                    <a:pt x="355" y="800"/>
                  </a:lnTo>
                  <a:lnTo>
                    <a:pt x="698" y="876"/>
                  </a:lnTo>
                  <a:lnTo>
                    <a:pt x="1041" y="977"/>
                  </a:lnTo>
                  <a:lnTo>
                    <a:pt x="25" y="3289"/>
                  </a:lnTo>
                  <a:lnTo>
                    <a:pt x="1727" y="2692"/>
                  </a:lnTo>
                  <a:lnTo>
                    <a:pt x="3429" y="2070"/>
                  </a:lnTo>
                  <a:lnTo>
                    <a:pt x="5143" y="1396"/>
                  </a:lnTo>
                  <a:lnTo>
                    <a:pt x="1930" y="0"/>
                  </a:lnTo>
                  <a:close/>
                </a:path>
              </a:pathLst>
            </a:custGeom>
            <a:solidFill>
              <a:srgbClr val="EAC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4" name="object 816">
              <a:extLst>
                <a:ext uri="{FF2B5EF4-FFF2-40B4-BE49-F238E27FC236}">
                  <a16:creationId xmlns:a16="http://schemas.microsoft.com/office/drawing/2014/main" id="{9A77F87C-A49D-46C3-81A2-6B7C80B89E88}"/>
                </a:ext>
              </a:extLst>
            </p:cNvPr>
            <p:cNvSpPr/>
            <p:nvPr/>
          </p:nvSpPr>
          <p:spPr>
            <a:xfrm>
              <a:off x="7971538" y="6415103"/>
              <a:ext cx="10795" cy="4445"/>
            </a:xfrm>
            <a:custGeom>
              <a:avLst/>
              <a:gdLst/>
              <a:ahLst/>
              <a:cxnLst/>
              <a:rect l="l" t="t" r="r" b="b"/>
              <a:pathLst>
                <a:path w="10795" h="4445">
                  <a:moveTo>
                    <a:pt x="7632" y="0"/>
                  </a:moveTo>
                  <a:lnTo>
                    <a:pt x="5346" y="914"/>
                  </a:lnTo>
                  <a:lnTo>
                    <a:pt x="3086" y="1752"/>
                  </a:lnTo>
                  <a:lnTo>
                    <a:pt x="838" y="2527"/>
                  </a:lnTo>
                  <a:lnTo>
                    <a:pt x="0" y="3644"/>
                  </a:lnTo>
                  <a:lnTo>
                    <a:pt x="952" y="4406"/>
                  </a:lnTo>
                  <a:lnTo>
                    <a:pt x="3251" y="2908"/>
                  </a:lnTo>
                  <a:lnTo>
                    <a:pt x="6095" y="1727"/>
                  </a:lnTo>
                  <a:lnTo>
                    <a:pt x="8864" y="2120"/>
                  </a:lnTo>
                  <a:lnTo>
                    <a:pt x="9512" y="1892"/>
                  </a:lnTo>
                  <a:lnTo>
                    <a:pt x="10794" y="1384"/>
                  </a:lnTo>
                  <a:lnTo>
                    <a:pt x="7632" y="0"/>
                  </a:lnTo>
                  <a:close/>
                </a:path>
              </a:pathLst>
            </a:custGeom>
            <a:solidFill>
              <a:srgbClr val="EAC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5" name="object 817">
              <a:extLst>
                <a:ext uri="{FF2B5EF4-FFF2-40B4-BE49-F238E27FC236}">
                  <a16:creationId xmlns:a16="http://schemas.microsoft.com/office/drawing/2014/main" id="{0DE1AE9F-DEC3-421A-B20E-3EFD3A76CD18}"/>
                </a:ext>
              </a:extLst>
            </p:cNvPr>
            <p:cNvSpPr/>
            <p:nvPr/>
          </p:nvSpPr>
          <p:spPr>
            <a:xfrm>
              <a:off x="7972389" y="6413738"/>
              <a:ext cx="6985" cy="4445"/>
            </a:xfrm>
            <a:custGeom>
              <a:avLst/>
              <a:gdLst/>
              <a:ahLst/>
              <a:cxnLst/>
              <a:rect l="l" t="t" r="r" b="b"/>
              <a:pathLst>
                <a:path w="6984" h="4445">
                  <a:moveTo>
                    <a:pt x="3657" y="0"/>
                  </a:moveTo>
                  <a:lnTo>
                    <a:pt x="2667" y="393"/>
                  </a:lnTo>
                  <a:lnTo>
                    <a:pt x="0" y="3898"/>
                  </a:lnTo>
                  <a:lnTo>
                    <a:pt x="2235" y="3111"/>
                  </a:lnTo>
                  <a:lnTo>
                    <a:pt x="4495" y="2273"/>
                  </a:lnTo>
                  <a:lnTo>
                    <a:pt x="6781" y="1358"/>
                  </a:lnTo>
                  <a:lnTo>
                    <a:pt x="3657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6" name="object 818">
              <a:extLst>
                <a:ext uri="{FF2B5EF4-FFF2-40B4-BE49-F238E27FC236}">
                  <a16:creationId xmlns:a16="http://schemas.microsoft.com/office/drawing/2014/main" id="{F695FA48-ABE3-4676-A5CE-58C5A1F3D196}"/>
                </a:ext>
              </a:extLst>
            </p:cNvPr>
            <p:cNvSpPr/>
            <p:nvPr/>
          </p:nvSpPr>
          <p:spPr>
            <a:xfrm>
              <a:off x="7975056" y="6413510"/>
              <a:ext cx="1270" cy="635"/>
            </a:xfrm>
            <a:custGeom>
              <a:avLst/>
              <a:gdLst/>
              <a:ahLst/>
              <a:cxnLst/>
              <a:rect l="l" t="t" r="r" b="b"/>
              <a:pathLst>
                <a:path w="1270" h="634">
                  <a:moveTo>
                    <a:pt x="469" y="0"/>
                  </a:moveTo>
                  <a:lnTo>
                    <a:pt x="0" y="622"/>
                  </a:lnTo>
                  <a:lnTo>
                    <a:pt x="660" y="368"/>
                  </a:lnTo>
                  <a:lnTo>
                    <a:pt x="990" y="228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7" name="object 819">
              <a:extLst>
                <a:ext uri="{FF2B5EF4-FFF2-40B4-BE49-F238E27FC236}">
                  <a16:creationId xmlns:a16="http://schemas.microsoft.com/office/drawing/2014/main" id="{82235CC3-4DB1-448A-9638-993606F007F8}"/>
                </a:ext>
              </a:extLst>
            </p:cNvPr>
            <p:cNvSpPr/>
            <p:nvPr/>
          </p:nvSpPr>
          <p:spPr>
            <a:xfrm>
              <a:off x="8005560" y="6448906"/>
              <a:ext cx="1905" cy="1270"/>
            </a:xfrm>
            <a:custGeom>
              <a:avLst/>
              <a:gdLst/>
              <a:ahLst/>
              <a:cxnLst/>
              <a:rect l="l" t="t" r="r" b="b"/>
              <a:pathLst>
                <a:path w="1904" h="1270">
                  <a:moveTo>
                    <a:pt x="1663" y="0"/>
                  </a:moveTo>
                  <a:lnTo>
                    <a:pt x="1104" y="88"/>
                  </a:lnTo>
                  <a:lnTo>
                    <a:pt x="558" y="165"/>
                  </a:lnTo>
                  <a:lnTo>
                    <a:pt x="0" y="253"/>
                  </a:lnTo>
                  <a:lnTo>
                    <a:pt x="1460" y="685"/>
                  </a:lnTo>
                  <a:lnTo>
                    <a:pt x="1663" y="0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8" name="object 820">
              <a:extLst>
                <a:ext uri="{FF2B5EF4-FFF2-40B4-BE49-F238E27FC236}">
                  <a16:creationId xmlns:a16="http://schemas.microsoft.com/office/drawing/2014/main" id="{F94935B4-96E3-4E1B-BE7C-841329BD036F}"/>
                </a:ext>
              </a:extLst>
            </p:cNvPr>
            <p:cNvSpPr/>
            <p:nvPr/>
          </p:nvSpPr>
          <p:spPr>
            <a:xfrm>
              <a:off x="8000492" y="6446973"/>
              <a:ext cx="6985" cy="2540"/>
            </a:xfrm>
            <a:custGeom>
              <a:avLst/>
              <a:gdLst/>
              <a:ahLst/>
              <a:cxnLst/>
              <a:rect l="l" t="t" r="r" b="b"/>
              <a:pathLst>
                <a:path w="6984" h="2540">
                  <a:moveTo>
                    <a:pt x="4635" y="0"/>
                  </a:moveTo>
                  <a:lnTo>
                    <a:pt x="3098" y="266"/>
                  </a:lnTo>
                  <a:lnTo>
                    <a:pt x="1549" y="495"/>
                  </a:lnTo>
                  <a:lnTo>
                    <a:pt x="0" y="698"/>
                  </a:lnTo>
                  <a:lnTo>
                    <a:pt x="5067" y="2184"/>
                  </a:lnTo>
                  <a:lnTo>
                    <a:pt x="6731" y="1930"/>
                  </a:lnTo>
                  <a:lnTo>
                    <a:pt x="6832" y="1600"/>
                  </a:lnTo>
                  <a:lnTo>
                    <a:pt x="5638" y="1219"/>
                  </a:lnTo>
                  <a:lnTo>
                    <a:pt x="4991" y="685"/>
                  </a:lnTo>
                  <a:lnTo>
                    <a:pt x="4635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29" name="object 821">
              <a:extLst>
                <a:ext uri="{FF2B5EF4-FFF2-40B4-BE49-F238E27FC236}">
                  <a16:creationId xmlns:a16="http://schemas.microsoft.com/office/drawing/2014/main" id="{9C8E52C6-481E-44FB-812C-BB1D59A4CA35}"/>
                </a:ext>
              </a:extLst>
            </p:cNvPr>
            <p:cNvSpPr/>
            <p:nvPr/>
          </p:nvSpPr>
          <p:spPr>
            <a:xfrm>
              <a:off x="7996251" y="6444753"/>
              <a:ext cx="8890" cy="3175"/>
            </a:xfrm>
            <a:custGeom>
              <a:avLst/>
              <a:gdLst/>
              <a:ahLst/>
              <a:cxnLst/>
              <a:rect l="l" t="t" r="r" b="b"/>
              <a:pathLst>
                <a:path w="8890" h="3175">
                  <a:moveTo>
                    <a:pt x="8470" y="0"/>
                  </a:moveTo>
                  <a:lnTo>
                    <a:pt x="5676" y="520"/>
                  </a:lnTo>
                  <a:lnTo>
                    <a:pt x="2882" y="965"/>
                  </a:lnTo>
                  <a:lnTo>
                    <a:pt x="114" y="1320"/>
                  </a:lnTo>
                  <a:lnTo>
                    <a:pt x="0" y="1676"/>
                  </a:lnTo>
                  <a:lnTo>
                    <a:pt x="4241" y="2920"/>
                  </a:lnTo>
                  <a:lnTo>
                    <a:pt x="5791" y="2717"/>
                  </a:lnTo>
                  <a:lnTo>
                    <a:pt x="7340" y="2489"/>
                  </a:lnTo>
                  <a:lnTo>
                    <a:pt x="8877" y="2222"/>
                  </a:lnTo>
                  <a:lnTo>
                    <a:pt x="8572" y="1600"/>
                  </a:lnTo>
                  <a:lnTo>
                    <a:pt x="8496" y="863"/>
                  </a:lnTo>
                  <a:lnTo>
                    <a:pt x="8470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0" name="object 822">
              <a:extLst>
                <a:ext uri="{FF2B5EF4-FFF2-40B4-BE49-F238E27FC236}">
                  <a16:creationId xmlns:a16="http://schemas.microsoft.com/office/drawing/2014/main" id="{58AACD26-8C69-48FE-A985-75013EFDCE72}"/>
                </a:ext>
              </a:extLst>
            </p:cNvPr>
            <p:cNvSpPr/>
            <p:nvPr/>
          </p:nvSpPr>
          <p:spPr>
            <a:xfrm>
              <a:off x="7985341" y="6440021"/>
              <a:ext cx="19685" cy="6350"/>
            </a:xfrm>
            <a:custGeom>
              <a:avLst/>
              <a:gdLst/>
              <a:ahLst/>
              <a:cxnLst/>
              <a:rect l="l" t="t" r="r" b="b"/>
              <a:pathLst>
                <a:path w="19684" h="6350">
                  <a:moveTo>
                    <a:pt x="5803" y="3822"/>
                  </a:moveTo>
                  <a:lnTo>
                    <a:pt x="5168" y="3594"/>
                  </a:lnTo>
                  <a:lnTo>
                    <a:pt x="4572" y="3225"/>
                  </a:lnTo>
                  <a:lnTo>
                    <a:pt x="4152" y="2743"/>
                  </a:lnTo>
                  <a:lnTo>
                    <a:pt x="1371" y="3086"/>
                  </a:lnTo>
                  <a:lnTo>
                    <a:pt x="0" y="3213"/>
                  </a:lnTo>
                  <a:lnTo>
                    <a:pt x="5041" y="4699"/>
                  </a:lnTo>
                  <a:lnTo>
                    <a:pt x="5511" y="4838"/>
                  </a:lnTo>
                  <a:lnTo>
                    <a:pt x="5562" y="4635"/>
                  </a:lnTo>
                  <a:lnTo>
                    <a:pt x="5803" y="3822"/>
                  </a:lnTo>
                  <a:close/>
                </a:path>
                <a:path w="19684" h="6350">
                  <a:moveTo>
                    <a:pt x="12852" y="5829"/>
                  </a:moveTo>
                  <a:lnTo>
                    <a:pt x="11201" y="5397"/>
                  </a:lnTo>
                  <a:lnTo>
                    <a:pt x="11010" y="6057"/>
                  </a:lnTo>
                  <a:lnTo>
                    <a:pt x="12852" y="5829"/>
                  </a:lnTo>
                  <a:close/>
                </a:path>
                <a:path w="19684" h="6350">
                  <a:moveTo>
                    <a:pt x="13589" y="5727"/>
                  </a:moveTo>
                  <a:lnTo>
                    <a:pt x="12852" y="5829"/>
                  </a:lnTo>
                  <a:lnTo>
                    <a:pt x="13182" y="5905"/>
                  </a:lnTo>
                  <a:lnTo>
                    <a:pt x="13589" y="5727"/>
                  </a:lnTo>
                  <a:close/>
                </a:path>
                <a:path w="19684" h="6350">
                  <a:moveTo>
                    <a:pt x="19380" y="4737"/>
                  </a:moveTo>
                  <a:lnTo>
                    <a:pt x="19342" y="2400"/>
                  </a:lnTo>
                  <a:lnTo>
                    <a:pt x="19304" y="0"/>
                  </a:lnTo>
                  <a:lnTo>
                    <a:pt x="17589" y="393"/>
                  </a:lnTo>
                  <a:lnTo>
                    <a:pt x="15875" y="774"/>
                  </a:lnTo>
                  <a:lnTo>
                    <a:pt x="14160" y="1104"/>
                  </a:lnTo>
                  <a:lnTo>
                    <a:pt x="14185" y="3022"/>
                  </a:lnTo>
                  <a:lnTo>
                    <a:pt x="14198" y="3200"/>
                  </a:lnTo>
                  <a:lnTo>
                    <a:pt x="14185" y="3390"/>
                  </a:lnTo>
                  <a:lnTo>
                    <a:pt x="14160" y="4318"/>
                  </a:lnTo>
                  <a:lnTo>
                    <a:pt x="13766" y="5651"/>
                  </a:lnTo>
                  <a:lnTo>
                    <a:pt x="13589" y="5727"/>
                  </a:lnTo>
                  <a:lnTo>
                    <a:pt x="16586" y="5257"/>
                  </a:lnTo>
                  <a:lnTo>
                    <a:pt x="19380" y="4737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1" name="object 823">
              <a:extLst>
                <a:ext uri="{FF2B5EF4-FFF2-40B4-BE49-F238E27FC236}">
                  <a16:creationId xmlns:a16="http://schemas.microsoft.com/office/drawing/2014/main" id="{859CD680-4EF3-4D5E-AECC-2DC262DA7EF6}"/>
                </a:ext>
              </a:extLst>
            </p:cNvPr>
            <p:cNvSpPr/>
            <p:nvPr/>
          </p:nvSpPr>
          <p:spPr>
            <a:xfrm>
              <a:off x="7982687" y="6435042"/>
              <a:ext cx="22225" cy="8255"/>
            </a:xfrm>
            <a:custGeom>
              <a:avLst/>
              <a:gdLst/>
              <a:ahLst/>
              <a:cxnLst/>
              <a:rect l="l" t="t" r="r" b="b"/>
              <a:pathLst>
                <a:path w="22225" h="8254">
                  <a:moveTo>
                    <a:pt x="7734" y="3302"/>
                  </a:moveTo>
                  <a:lnTo>
                    <a:pt x="6985" y="3441"/>
                  </a:lnTo>
                  <a:lnTo>
                    <a:pt x="5486" y="3695"/>
                  </a:lnTo>
                  <a:lnTo>
                    <a:pt x="4368" y="5105"/>
                  </a:lnTo>
                  <a:lnTo>
                    <a:pt x="3390" y="6045"/>
                  </a:lnTo>
                  <a:lnTo>
                    <a:pt x="1587" y="6324"/>
                  </a:lnTo>
                  <a:lnTo>
                    <a:pt x="3175" y="6134"/>
                  </a:lnTo>
                  <a:lnTo>
                    <a:pt x="4381" y="5981"/>
                  </a:lnTo>
                  <a:lnTo>
                    <a:pt x="3187" y="6146"/>
                  </a:lnTo>
                  <a:lnTo>
                    <a:pt x="1587" y="6324"/>
                  </a:lnTo>
                  <a:lnTo>
                    <a:pt x="1130" y="6375"/>
                  </a:lnTo>
                  <a:lnTo>
                    <a:pt x="876" y="6400"/>
                  </a:lnTo>
                  <a:lnTo>
                    <a:pt x="584" y="6413"/>
                  </a:lnTo>
                  <a:lnTo>
                    <a:pt x="292" y="6413"/>
                  </a:lnTo>
                  <a:lnTo>
                    <a:pt x="0" y="7429"/>
                  </a:lnTo>
                  <a:lnTo>
                    <a:pt x="2654" y="8204"/>
                  </a:lnTo>
                  <a:lnTo>
                    <a:pt x="5410" y="7899"/>
                  </a:lnTo>
                  <a:lnTo>
                    <a:pt x="6807" y="7721"/>
                  </a:lnTo>
                  <a:lnTo>
                    <a:pt x="6350" y="7200"/>
                  </a:lnTo>
                  <a:lnTo>
                    <a:pt x="6134" y="6540"/>
                  </a:lnTo>
                  <a:lnTo>
                    <a:pt x="6362" y="5702"/>
                  </a:lnTo>
                  <a:lnTo>
                    <a:pt x="6616" y="4838"/>
                  </a:lnTo>
                  <a:lnTo>
                    <a:pt x="7734" y="3314"/>
                  </a:lnTo>
                  <a:close/>
                </a:path>
                <a:path w="22225" h="8254">
                  <a:moveTo>
                    <a:pt x="21958" y="4978"/>
                  </a:moveTo>
                  <a:lnTo>
                    <a:pt x="21920" y="2527"/>
                  </a:lnTo>
                  <a:lnTo>
                    <a:pt x="21882" y="0"/>
                  </a:lnTo>
                  <a:lnTo>
                    <a:pt x="20154" y="495"/>
                  </a:lnTo>
                  <a:lnTo>
                    <a:pt x="18440" y="952"/>
                  </a:lnTo>
                  <a:lnTo>
                    <a:pt x="16713" y="1371"/>
                  </a:lnTo>
                  <a:lnTo>
                    <a:pt x="16725" y="2298"/>
                  </a:lnTo>
                  <a:lnTo>
                    <a:pt x="14998" y="1790"/>
                  </a:lnTo>
                  <a:lnTo>
                    <a:pt x="13982" y="2032"/>
                  </a:lnTo>
                  <a:lnTo>
                    <a:pt x="11963" y="2476"/>
                  </a:lnTo>
                  <a:lnTo>
                    <a:pt x="16560" y="3810"/>
                  </a:lnTo>
                  <a:lnTo>
                    <a:pt x="16802" y="3873"/>
                  </a:lnTo>
                  <a:lnTo>
                    <a:pt x="16814" y="6083"/>
                  </a:lnTo>
                  <a:lnTo>
                    <a:pt x="18529" y="5753"/>
                  </a:lnTo>
                  <a:lnTo>
                    <a:pt x="20243" y="5372"/>
                  </a:lnTo>
                  <a:lnTo>
                    <a:pt x="21958" y="4978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2" name="object 824">
              <a:extLst>
                <a:ext uri="{FF2B5EF4-FFF2-40B4-BE49-F238E27FC236}">
                  <a16:creationId xmlns:a16="http://schemas.microsoft.com/office/drawing/2014/main" id="{682B5C14-1A47-4C1D-8539-2B7BAF358F62}"/>
                </a:ext>
              </a:extLst>
            </p:cNvPr>
            <p:cNvSpPr/>
            <p:nvPr/>
          </p:nvSpPr>
          <p:spPr>
            <a:xfrm>
              <a:off x="7988173" y="6432464"/>
              <a:ext cx="16510" cy="6350"/>
            </a:xfrm>
            <a:custGeom>
              <a:avLst/>
              <a:gdLst/>
              <a:ahLst/>
              <a:cxnLst/>
              <a:rect l="l" t="t" r="r" b="b"/>
              <a:pathLst>
                <a:path w="16509" h="6350">
                  <a:moveTo>
                    <a:pt x="9499" y="4368"/>
                  </a:moveTo>
                  <a:lnTo>
                    <a:pt x="5003" y="3048"/>
                  </a:lnTo>
                  <a:lnTo>
                    <a:pt x="4267" y="3213"/>
                  </a:lnTo>
                  <a:lnTo>
                    <a:pt x="3492" y="3390"/>
                  </a:lnTo>
                  <a:lnTo>
                    <a:pt x="2717" y="3556"/>
                  </a:lnTo>
                  <a:lnTo>
                    <a:pt x="1943" y="3708"/>
                  </a:lnTo>
                  <a:lnTo>
                    <a:pt x="431" y="5727"/>
                  </a:lnTo>
                  <a:lnTo>
                    <a:pt x="0" y="6273"/>
                  </a:lnTo>
                  <a:lnTo>
                    <a:pt x="1511" y="6019"/>
                  </a:lnTo>
                  <a:lnTo>
                    <a:pt x="2260" y="5880"/>
                  </a:lnTo>
                  <a:lnTo>
                    <a:pt x="3479" y="4178"/>
                  </a:lnTo>
                  <a:lnTo>
                    <a:pt x="6477" y="5054"/>
                  </a:lnTo>
                  <a:lnTo>
                    <a:pt x="7480" y="4826"/>
                  </a:lnTo>
                  <a:lnTo>
                    <a:pt x="8496" y="4610"/>
                  </a:lnTo>
                  <a:lnTo>
                    <a:pt x="9499" y="4368"/>
                  </a:lnTo>
                  <a:close/>
                </a:path>
                <a:path w="16509" h="6350">
                  <a:moveTo>
                    <a:pt x="16395" y="2578"/>
                  </a:moveTo>
                  <a:lnTo>
                    <a:pt x="16357" y="0"/>
                  </a:lnTo>
                  <a:lnTo>
                    <a:pt x="14630" y="533"/>
                  </a:lnTo>
                  <a:lnTo>
                    <a:pt x="12903" y="1041"/>
                  </a:lnTo>
                  <a:lnTo>
                    <a:pt x="11176" y="1498"/>
                  </a:lnTo>
                  <a:lnTo>
                    <a:pt x="11226" y="3949"/>
                  </a:lnTo>
                  <a:lnTo>
                    <a:pt x="12941" y="3530"/>
                  </a:lnTo>
                  <a:lnTo>
                    <a:pt x="14668" y="3073"/>
                  </a:lnTo>
                  <a:lnTo>
                    <a:pt x="16395" y="2578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3" name="object 825">
              <a:extLst>
                <a:ext uri="{FF2B5EF4-FFF2-40B4-BE49-F238E27FC236}">
                  <a16:creationId xmlns:a16="http://schemas.microsoft.com/office/drawing/2014/main" id="{DD7E0A17-CB7E-4BFB-8EAF-860F99DE61EF}"/>
                </a:ext>
              </a:extLst>
            </p:cNvPr>
            <p:cNvSpPr/>
            <p:nvPr/>
          </p:nvSpPr>
          <p:spPr>
            <a:xfrm>
              <a:off x="7990116" y="6429810"/>
              <a:ext cx="14604" cy="6985"/>
            </a:xfrm>
            <a:custGeom>
              <a:avLst/>
              <a:gdLst/>
              <a:ahLst/>
              <a:cxnLst/>
              <a:rect l="l" t="t" r="r" b="b"/>
              <a:pathLst>
                <a:path w="14604" h="6984">
                  <a:moveTo>
                    <a:pt x="4521" y="2946"/>
                  </a:moveTo>
                  <a:lnTo>
                    <a:pt x="3708" y="3162"/>
                  </a:lnTo>
                  <a:lnTo>
                    <a:pt x="2095" y="3568"/>
                  </a:lnTo>
                  <a:lnTo>
                    <a:pt x="0" y="6362"/>
                  </a:lnTo>
                  <a:lnTo>
                    <a:pt x="774" y="6197"/>
                  </a:lnTo>
                  <a:lnTo>
                    <a:pt x="1549" y="6045"/>
                  </a:lnTo>
                  <a:lnTo>
                    <a:pt x="2324" y="5867"/>
                  </a:lnTo>
                  <a:lnTo>
                    <a:pt x="2565" y="5816"/>
                  </a:lnTo>
                  <a:lnTo>
                    <a:pt x="2806" y="5753"/>
                  </a:lnTo>
                  <a:lnTo>
                    <a:pt x="3060" y="5702"/>
                  </a:lnTo>
                  <a:lnTo>
                    <a:pt x="2578" y="5549"/>
                  </a:lnTo>
                  <a:lnTo>
                    <a:pt x="4521" y="2946"/>
                  </a:lnTo>
                  <a:close/>
                </a:path>
                <a:path w="14604" h="6984">
                  <a:moveTo>
                    <a:pt x="14401" y="2641"/>
                  </a:moveTo>
                  <a:lnTo>
                    <a:pt x="14363" y="0"/>
                  </a:lnTo>
                  <a:lnTo>
                    <a:pt x="12636" y="571"/>
                  </a:lnTo>
                  <a:lnTo>
                    <a:pt x="10909" y="1117"/>
                  </a:lnTo>
                  <a:lnTo>
                    <a:pt x="9194" y="1625"/>
                  </a:lnTo>
                  <a:lnTo>
                    <a:pt x="9232" y="4140"/>
                  </a:lnTo>
                  <a:lnTo>
                    <a:pt x="10960" y="3670"/>
                  </a:lnTo>
                  <a:lnTo>
                    <a:pt x="12674" y="3175"/>
                  </a:lnTo>
                  <a:lnTo>
                    <a:pt x="14401" y="2641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4" name="object 826">
              <a:extLst>
                <a:ext uri="{FF2B5EF4-FFF2-40B4-BE49-F238E27FC236}">
                  <a16:creationId xmlns:a16="http://schemas.microsoft.com/office/drawing/2014/main" id="{B9DB8D05-CB3F-4AC9-84D2-BC68441D6D38}"/>
                </a:ext>
              </a:extLst>
            </p:cNvPr>
            <p:cNvSpPr/>
            <p:nvPr/>
          </p:nvSpPr>
          <p:spPr>
            <a:xfrm>
              <a:off x="7992212" y="6427092"/>
              <a:ext cx="12700" cy="6350"/>
            </a:xfrm>
            <a:custGeom>
              <a:avLst/>
              <a:gdLst/>
              <a:ahLst/>
              <a:cxnLst/>
              <a:rect l="l" t="t" r="r" b="b"/>
              <a:pathLst>
                <a:path w="12700" h="6350">
                  <a:moveTo>
                    <a:pt x="4787" y="2489"/>
                  </a:moveTo>
                  <a:lnTo>
                    <a:pt x="3124" y="2997"/>
                  </a:lnTo>
                  <a:lnTo>
                    <a:pt x="2286" y="3238"/>
                  </a:lnTo>
                  <a:lnTo>
                    <a:pt x="0" y="6286"/>
                  </a:lnTo>
                  <a:lnTo>
                    <a:pt x="1612" y="5880"/>
                  </a:lnTo>
                  <a:lnTo>
                    <a:pt x="2425" y="5664"/>
                  </a:lnTo>
                  <a:lnTo>
                    <a:pt x="4787" y="2489"/>
                  </a:lnTo>
                  <a:close/>
                </a:path>
                <a:path w="12700" h="6350">
                  <a:moveTo>
                    <a:pt x="12268" y="2717"/>
                  </a:moveTo>
                  <a:lnTo>
                    <a:pt x="12230" y="0"/>
                  </a:lnTo>
                  <a:lnTo>
                    <a:pt x="10502" y="635"/>
                  </a:lnTo>
                  <a:lnTo>
                    <a:pt x="7061" y="1790"/>
                  </a:lnTo>
                  <a:lnTo>
                    <a:pt x="7099" y="4356"/>
                  </a:lnTo>
                  <a:lnTo>
                    <a:pt x="8826" y="3848"/>
                  </a:lnTo>
                  <a:lnTo>
                    <a:pt x="10541" y="3302"/>
                  </a:lnTo>
                  <a:lnTo>
                    <a:pt x="12268" y="2717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5" name="object 827">
              <a:extLst>
                <a:ext uri="{FF2B5EF4-FFF2-40B4-BE49-F238E27FC236}">
                  <a16:creationId xmlns:a16="http://schemas.microsoft.com/office/drawing/2014/main" id="{EBE5C6B3-9CAF-4EC4-BBC2-8259576FE73D}"/>
                </a:ext>
              </a:extLst>
            </p:cNvPr>
            <p:cNvSpPr/>
            <p:nvPr/>
          </p:nvSpPr>
          <p:spPr>
            <a:xfrm>
              <a:off x="7994504" y="6424321"/>
              <a:ext cx="10160" cy="6350"/>
            </a:xfrm>
            <a:custGeom>
              <a:avLst/>
              <a:gdLst/>
              <a:ahLst/>
              <a:cxnLst/>
              <a:rect l="l" t="t" r="r" b="b"/>
              <a:pathLst>
                <a:path w="10159" h="6350">
                  <a:moveTo>
                    <a:pt x="9906" y="0"/>
                  </a:moveTo>
                  <a:lnTo>
                    <a:pt x="7429" y="952"/>
                  </a:lnTo>
                  <a:lnTo>
                    <a:pt x="4953" y="1841"/>
                  </a:lnTo>
                  <a:lnTo>
                    <a:pt x="2501" y="2666"/>
                  </a:lnTo>
                  <a:lnTo>
                    <a:pt x="0" y="6019"/>
                  </a:lnTo>
                  <a:lnTo>
                    <a:pt x="2501" y="5257"/>
                  </a:lnTo>
                  <a:lnTo>
                    <a:pt x="4737" y="2260"/>
                  </a:lnTo>
                  <a:lnTo>
                    <a:pt x="4775" y="4546"/>
                  </a:lnTo>
                  <a:lnTo>
                    <a:pt x="6489" y="3987"/>
                  </a:lnTo>
                  <a:lnTo>
                    <a:pt x="8216" y="3390"/>
                  </a:lnTo>
                  <a:lnTo>
                    <a:pt x="9944" y="2768"/>
                  </a:lnTo>
                  <a:lnTo>
                    <a:pt x="9906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6" name="object 828">
              <a:extLst>
                <a:ext uri="{FF2B5EF4-FFF2-40B4-BE49-F238E27FC236}">
                  <a16:creationId xmlns:a16="http://schemas.microsoft.com/office/drawing/2014/main" id="{B23D8BF8-EDB4-478B-A89D-FFEA3F8C3358}"/>
                </a:ext>
              </a:extLst>
            </p:cNvPr>
            <p:cNvSpPr/>
            <p:nvPr/>
          </p:nvSpPr>
          <p:spPr>
            <a:xfrm>
              <a:off x="7997007" y="6423552"/>
              <a:ext cx="7620" cy="3810"/>
            </a:xfrm>
            <a:custGeom>
              <a:avLst/>
              <a:gdLst/>
              <a:ahLst/>
              <a:cxnLst/>
              <a:rect l="l" t="t" r="r" b="b"/>
              <a:pathLst>
                <a:path w="7620" h="3809">
                  <a:moveTo>
                    <a:pt x="7378" y="0"/>
                  </a:moveTo>
                  <a:lnTo>
                    <a:pt x="2476" y="139"/>
                  </a:lnTo>
                  <a:lnTo>
                    <a:pt x="0" y="3441"/>
                  </a:lnTo>
                  <a:lnTo>
                    <a:pt x="2451" y="2616"/>
                  </a:lnTo>
                  <a:lnTo>
                    <a:pt x="4927" y="1727"/>
                  </a:lnTo>
                  <a:lnTo>
                    <a:pt x="7391" y="761"/>
                  </a:lnTo>
                  <a:lnTo>
                    <a:pt x="7378" y="0"/>
                  </a:lnTo>
                  <a:close/>
                </a:path>
              </a:pathLst>
            </a:custGeom>
            <a:solidFill>
              <a:srgbClr val="E6BE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7" name="object 829">
              <a:extLst>
                <a:ext uri="{FF2B5EF4-FFF2-40B4-BE49-F238E27FC236}">
                  <a16:creationId xmlns:a16="http://schemas.microsoft.com/office/drawing/2014/main" id="{802E8176-F8F0-43E4-98AF-8867C20019A0}"/>
                </a:ext>
              </a:extLst>
            </p:cNvPr>
            <p:cNvSpPr/>
            <p:nvPr/>
          </p:nvSpPr>
          <p:spPr>
            <a:xfrm>
              <a:off x="8019936" y="6451022"/>
              <a:ext cx="1905" cy="635"/>
            </a:xfrm>
            <a:custGeom>
              <a:avLst/>
              <a:gdLst/>
              <a:ahLst/>
              <a:cxnLst/>
              <a:rect l="l" t="t" r="r" b="b"/>
              <a:pathLst>
                <a:path w="1904" h="634">
                  <a:moveTo>
                    <a:pt x="1663" y="0"/>
                  </a:moveTo>
                  <a:lnTo>
                    <a:pt x="546" y="228"/>
                  </a:lnTo>
                  <a:lnTo>
                    <a:pt x="0" y="330"/>
                  </a:lnTo>
                  <a:lnTo>
                    <a:pt x="1574" y="584"/>
                  </a:lnTo>
                  <a:lnTo>
                    <a:pt x="1663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8" name="object 830">
              <a:extLst>
                <a:ext uri="{FF2B5EF4-FFF2-40B4-BE49-F238E27FC236}">
                  <a16:creationId xmlns:a16="http://schemas.microsoft.com/office/drawing/2014/main" id="{4B72FE8F-8C85-4B76-AC72-D193A8191CEA}"/>
                </a:ext>
              </a:extLst>
            </p:cNvPr>
            <p:cNvSpPr/>
            <p:nvPr/>
          </p:nvSpPr>
          <p:spPr>
            <a:xfrm>
              <a:off x="8012946" y="6449065"/>
              <a:ext cx="8890" cy="2540"/>
            </a:xfrm>
            <a:custGeom>
              <a:avLst/>
              <a:gdLst/>
              <a:ahLst/>
              <a:cxnLst/>
              <a:rect l="l" t="t" r="r" b="b"/>
              <a:pathLst>
                <a:path w="8890" h="2540">
                  <a:moveTo>
                    <a:pt x="6172" y="0"/>
                  </a:moveTo>
                  <a:lnTo>
                    <a:pt x="4102" y="444"/>
                  </a:lnTo>
                  <a:lnTo>
                    <a:pt x="2044" y="838"/>
                  </a:lnTo>
                  <a:lnTo>
                    <a:pt x="0" y="1193"/>
                  </a:lnTo>
                  <a:lnTo>
                    <a:pt x="6985" y="2286"/>
                  </a:lnTo>
                  <a:lnTo>
                    <a:pt x="8648" y="1955"/>
                  </a:lnTo>
                  <a:lnTo>
                    <a:pt x="8724" y="1498"/>
                  </a:lnTo>
                  <a:lnTo>
                    <a:pt x="7264" y="1270"/>
                  </a:lnTo>
                  <a:lnTo>
                    <a:pt x="6477" y="850"/>
                  </a:lnTo>
                  <a:lnTo>
                    <a:pt x="6172" y="0"/>
                  </a:lnTo>
                  <a:close/>
                </a:path>
              </a:pathLst>
            </a:custGeom>
            <a:solidFill>
              <a:srgbClr val="DD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39" name="object 831">
              <a:extLst>
                <a:ext uri="{FF2B5EF4-FFF2-40B4-BE49-F238E27FC236}">
                  <a16:creationId xmlns:a16="http://schemas.microsoft.com/office/drawing/2014/main" id="{08B1393D-066F-4C99-BC26-E49A2D303A38}"/>
                </a:ext>
              </a:extLst>
            </p:cNvPr>
            <p:cNvSpPr/>
            <p:nvPr/>
          </p:nvSpPr>
          <p:spPr>
            <a:xfrm>
              <a:off x="8010200" y="6446542"/>
              <a:ext cx="9525" cy="3810"/>
            </a:xfrm>
            <a:custGeom>
              <a:avLst/>
              <a:gdLst/>
              <a:ahLst/>
              <a:cxnLst/>
              <a:rect l="l" t="t" r="r" b="b"/>
              <a:pathLst>
                <a:path w="9525" h="3809">
                  <a:moveTo>
                    <a:pt x="8966" y="0"/>
                  </a:moveTo>
                  <a:lnTo>
                    <a:pt x="5168" y="876"/>
                  </a:lnTo>
                  <a:lnTo>
                    <a:pt x="3276" y="1244"/>
                  </a:lnTo>
                  <a:lnTo>
                    <a:pt x="2755" y="2273"/>
                  </a:lnTo>
                  <a:lnTo>
                    <a:pt x="1828" y="2514"/>
                  </a:lnTo>
                  <a:lnTo>
                    <a:pt x="165" y="2247"/>
                  </a:lnTo>
                  <a:lnTo>
                    <a:pt x="0" y="3289"/>
                  </a:lnTo>
                  <a:lnTo>
                    <a:pt x="2743" y="3721"/>
                  </a:lnTo>
                  <a:lnTo>
                    <a:pt x="4787" y="3365"/>
                  </a:lnTo>
                  <a:lnTo>
                    <a:pt x="6857" y="2959"/>
                  </a:lnTo>
                  <a:lnTo>
                    <a:pt x="8915" y="2527"/>
                  </a:lnTo>
                  <a:lnTo>
                    <a:pt x="8750" y="2044"/>
                  </a:lnTo>
                  <a:lnTo>
                    <a:pt x="8737" y="1435"/>
                  </a:lnTo>
                  <a:lnTo>
                    <a:pt x="8864" y="634"/>
                  </a:lnTo>
                  <a:lnTo>
                    <a:pt x="8966" y="0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0" name="object 832">
              <a:extLst>
                <a:ext uri="{FF2B5EF4-FFF2-40B4-BE49-F238E27FC236}">
                  <a16:creationId xmlns:a16="http://schemas.microsoft.com/office/drawing/2014/main" id="{0F634711-EE27-4C22-A447-032B689FB665}"/>
                </a:ext>
              </a:extLst>
            </p:cNvPr>
            <p:cNvSpPr/>
            <p:nvPr/>
          </p:nvSpPr>
          <p:spPr>
            <a:xfrm>
              <a:off x="8013476" y="6443859"/>
              <a:ext cx="6350" cy="4445"/>
            </a:xfrm>
            <a:custGeom>
              <a:avLst/>
              <a:gdLst/>
              <a:ahLst/>
              <a:cxnLst/>
              <a:rect l="l" t="t" r="r" b="b"/>
              <a:pathLst>
                <a:path w="6350" h="4445">
                  <a:moveTo>
                    <a:pt x="6108" y="0"/>
                  </a:moveTo>
                  <a:lnTo>
                    <a:pt x="4267" y="495"/>
                  </a:lnTo>
                  <a:lnTo>
                    <a:pt x="2425" y="939"/>
                  </a:lnTo>
                  <a:lnTo>
                    <a:pt x="584" y="1358"/>
                  </a:lnTo>
                  <a:lnTo>
                    <a:pt x="317" y="3098"/>
                  </a:lnTo>
                  <a:lnTo>
                    <a:pt x="177" y="3556"/>
                  </a:lnTo>
                  <a:lnTo>
                    <a:pt x="0" y="3924"/>
                  </a:lnTo>
                  <a:lnTo>
                    <a:pt x="1892" y="3556"/>
                  </a:lnTo>
                  <a:lnTo>
                    <a:pt x="3784" y="3136"/>
                  </a:lnTo>
                  <a:lnTo>
                    <a:pt x="5689" y="2679"/>
                  </a:lnTo>
                  <a:lnTo>
                    <a:pt x="6108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1" name="object 833">
              <a:extLst>
                <a:ext uri="{FF2B5EF4-FFF2-40B4-BE49-F238E27FC236}">
                  <a16:creationId xmlns:a16="http://schemas.microsoft.com/office/drawing/2014/main" id="{B75242B3-B9FE-4394-8D6A-638BF3742869}"/>
                </a:ext>
              </a:extLst>
            </p:cNvPr>
            <p:cNvSpPr/>
            <p:nvPr/>
          </p:nvSpPr>
          <p:spPr>
            <a:xfrm>
              <a:off x="8014061" y="6441090"/>
              <a:ext cx="6350" cy="4445"/>
            </a:xfrm>
            <a:custGeom>
              <a:avLst/>
              <a:gdLst/>
              <a:ahLst/>
              <a:cxnLst/>
              <a:rect l="l" t="t" r="r" b="b"/>
              <a:pathLst>
                <a:path w="6350" h="4445">
                  <a:moveTo>
                    <a:pt x="5956" y="0"/>
                  </a:moveTo>
                  <a:lnTo>
                    <a:pt x="4102" y="533"/>
                  </a:lnTo>
                  <a:lnTo>
                    <a:pt x="2260" y="1041"/>
                  </a:lnTo>
                  <a:lnTo>
                    <a:pt x="419" y="1511"/>
                  </a:lnTo>
                  <a:lnTo>
                    <a:pt x="0" y="4127"/>
                  </a:lnTo>
                  <a:lnTo>
                    <a:pt x="1841" y="3708"/>
                  </a:lnTo>
                  <a:lnTo>
                    <a:pt x="3683" y="3263"/>
                  </a:lnTo>
                  <a:lnTo>
                    <a:pt x="5524" y="2768"/>
                  </a:lnTo>
                  <a:lnTo>
                    <a:pt x="5956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2" name="object 834">
              <a:extLst>
                <a:ext uri="{FF2B5EF4-FFF2-40B4-BE49-F238E27FC236}">
                  <a16:creationId xmlns:a16="http://schemas.microsoft.com/office/drawing/2014/main" id="{D3497A7A-5E7E-4EAA-A766-B90C0409B090}"/>
                </a:ext>
              </a:extLst>
            </p:cNvPr>
            <p:cNvSpPr/>
            <p:nvPr/>
          </p:nvSpPr>
          <p:spPr>
            <a:xfrm>
              <a:off x="8014475" y="6432134"/>
              <a:ext cx="15240" cy="10795"/>
            </a:xfrm>
            <a:custGeom>
              <a:avLst/>
              <a:gdLst/>
              <a:ahLst/>
              <a:cxnLst/>
              <a:rect l="l" t="t" r="r" b="b"/>
              <a:pathLst>
                <a:path w="15240" h="10795">
                  <a:moveTo>
                    <a:pt x="6451" y="3136"/>
                  </a:moveTo>
                  <a:lnTo>
                    <a:pt x="4584" y="3784"/>
                  </a:lnTo>
                  <a:lnTo>
                    <a:pt x="2717" y="4406"/>
                  </a:lnTo>
                  <a:lnTo>
                    <a:pt x="850" y="4978"/>
                  </a:lnTo>
                  <a:lnTo>
                    <a:pt x="419" y="7772"/>
                  </a:lnTo>
                  <a:lnTo>
                    <a:pt x="0" y="10477"/>
                  </a:lnTo>
                  <a:lnTo>
                    <a:pt x="1841" y="10007"/>
                  </a:lnTo>
                  <a:lnTo>
                    <a:pt x="3695" y="9499"/>
                  </a:lnTo>
                  <a:lnTo>
                    <a:pt x="5549" y="8966"/>
                  </a:lnTo>
                  <a:lnTo>
                    <a:pt x="5981" y="6121"/>
                  </a:lnTo>
                  <a:lnTo>
                    <a:pt x="6451" y="3136"/>
                  </a:lnTo>
                  <a:close/>
                </a:path>
                <a:path w="15240" h="10795">
                  <a:moveTo>
                    <a:pt x="15125" y="3530"/>
                  </a:moveTo>
                  <a:lnTo>
                    <a:pt x="15062" y="2895"/>
                  </a:lnTo>
                  <a:lnTo>
                    <a:pt x="14744" y="0"/>
                  </a:lnTo>
                  <a:lnTo>
                    <a:pt x="13182" y="635"/>
                  </a:lnTo>
                  <a:lnTo>
                    <a:pt x="12395" y="939"/>
                  </a:lnTo>
                  <a:lnTo>
                    <a:pt x="12954" y="1739"/>
                  </a:lnTo>
                  <a:lnTo>
                    <a:pt x="13423" y="2590"/>
                  </a:lnTo>
                  <a:lnTo>
                    <a:pt x="13779" y="3378"/>
                  </a:lnTo>
                  <a:lnTo>
                    <a:pt x="14211" y="3213"/>
                  </a:lnTo>
                  <a:lnTo>
                    <a:pt x="14630" y="3060"/>
                  </a:lnTo>
                  <a:lnTo>
                    <a:pt x="14211" y="3225"/>
                  </a:lnTo>
                  <a:lnTo>
                    <a:pt x="13779" y="3378"/>
                  </a:lnTo>
                  <a:lnTo>
                    <a:pt x="13868" y="3568"/>
                  </a:lnTo>
                  <a:lnTo>
                    <a:pt x="15125" y="353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3" name="object 835">
              <a:extLst>
                <a:ext uri="{FF2B5EF4-FFF2-40B4-BE49-F238E27FC236}">
                  <a16:creationId xmlns:a16="http://schemas.microsoft.com/office/drawing/2014/main" id="{B576D44A-667E-434E-9C62-E86A194B3BF5}"/>
                </a:ext>
              </a:extLst>
            </p:cNvPr>
            <p:cNvSpPr/>
            <p:nvPr/>
          </p:nvSpPr>
          <p:spPr>
            <a:xfrm>
              <a:off x="8015338" y="6428273"/>
              <a:ext cx="13970" cy="8890"/>
            </a:xfrm>
            <a:custGeom>
              <a:avLst/>
              <a:gdLst/>
              <a:ahLst/>
              <a:cxnLst/>
              <a:rect l="l" t="t" r="r" b="b"/>
              <a:pathLst>
                <a:path w="13970" h="8890">
                  <a:moveTo>
                    <a:pt x="13881" y="3860"/>
                  </a:moveTo>
                  <a:lnTo>
                    <a:pt x="13563" y="914"/>
                  </a:lnTo>
                  <a:lnTo>
                    <a:pt x="8420" y="0"/>
                  </a:lnTo>
                  <a:lnTo>
                    <a:pt x="5918" y="1054"/>
                  </a:lnTo>
                  <a:lnTo>
                    <a:pt x="3416" y="2032"/>
                  </a:lnTo>
                  <a:lnTo>
                    <a:pt x="914" y="2946"/>
                  </a:lnTo>
                  <a:lnTo>
                    <a:pt x="444" y="5943"/>
                  </a:lnTo>
                  <a:lnTo>
                    <a:pt x="2311" y="5321"/>
                  </a:lnTo>
                  <a:lnTo>
                    <a:pt x="444" y="5956"/>
                  </a:lnTo>
                  <a:lnTo>
                    <a:pt x="0" y="8839"/>
                  </a:lnTo>
                  <a:lnTo>
                    <a:pt x="1854" y="8255"/>
                  </a:lnTo>
                  <a:lnTo>
                    <a:pt x="3721" y="7645"/>
                  </a:lnTo>
                  <a:lnTo>
                    <a:pt x="5588" y="6997"/>
                  </a:lnTo>
                  <a:lnTo>
                    <a:pt x="6070" y="3937"/>
                  </a:lnTo>
                  <a:lnTo>
                    <a:pt x="4191" y="4648"/>
                  </a:lnTo>
                  <a:lnTo>
                    <a:pt x="6057" y="3937"/>
                  </a:lnTo>
                  <a:lnTo>
                    <a:pt x="6527" y="965"/>
                  </a:lnTo>
                  <a:lnTo>
                    <a:pt x="7658" y="1168"/>
                  </a:lnTo>
                  <a:lnTo>
                    <a:pt x="8686" y="1765"/>
                  </a:lnTo>
                  <a:lnTo>
                    <a:pt x="9588" y="2565"/>
                  </a:lnTo>
                  <a:lnTo>
                    <a:pt x="12230" y="1485"/>
                  </a:lnTo>
                  <a:lnTo>
                    <a:pt x="9588" y="2565"/>
                  </a:lnTo>
                  <a:lnTo>
                    <a:pt x="10325" y="3200"/>
                  </a:lnTo>
                  <a:lnTo>
                    <a:pt x="10972" y="3987"/>
                  </a:lnTo>
                  <a:lnTo>
                    <a:pt x="11531" y="4800"/>
                  </a:lnTo>
                  <a:lnTo>
                    <a:pt x="12319" y="4495"/>
                  </a:lnTo>
                  <a:lnTo>
                    <a:pt x="13881" y="386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4" name="object 836">
              <a:extLst>
                <a:ext uri="{FF2B5EF4-FFF2-40B4-BE49-F238E27FC236}">
                  <a16:creationId xmlns:a16="http://schemas.microsoft.com/office/drawing/2014/main" id="{61BAE680-0727-45EF-9E71-42DEA64C1A3D}"/>
                </a:ext>
              </a:extLst>
            </p:cNvPr>
            <p:cNvSpPr/>
            <p:nvPr/>
          </p:nvSpPr>
          <p:spPr>
            <a:xfrm>
              <a:off x="8007426" y="6427448"/>
              <a:ext cx="16510" cy="5715"/>
            </a:xfrm>
            <a:custGeom>
              <a:avLst/>
              <a:gdLst/>
              <a:ahLst/>
              <a:cxnLst/>
              <a:rect l="l" t="t" r="r" b="b"/>
              <a:pathLst>
                <a:path w="16509" h="5715">
                  <a:moveTo>
                    <a:pt x="3975" y="2705"/>
                  </a:moveTo>
                  <a:lnTo>
                    <a:pt x="1536" y="3568"/>
                  </a:lnTo>
                  <a:lnTo>
                    <a:pt x="317" y="3962"/>
                  </a:lnTo>
                  <a:lnTo>
                    <a:pt x="0" y="4737"/>
                  </a:lnTo>
                  <a:lnTo>
                    <a:pt x="1117" y="5245"/>
                  </a:lnTo>
                  <a:lnTo>
                    <a:pt x="1955" y="4305"/>
                  </a:lnTo>
                  <a:lnTo>
                    <a:pt x="2908" y="3429"/>
                  </a:lnTo>
                  <a:lnTo>
                    <a:pt x="3975" y="2705"/>
                  </a:lnTo>
                  <a:close/>
                </a:path>
                <a:path w="16509" h="5715">
                  <a:moveTo>
                    <a:pt x="16344" y="825"/>
                  </a:moveTo>
                  <a:lnTo>
                    <a:pt x="11049" y="0"/>
                  </a:lnTo>
                  <a:lnTo>
                    <a:pt x="10210" y="330"/>
                  </a:lnTo>
                  <a:lnTo>
                    <a:pt x="9385" y="673"/>
                  </a:lnTo>
                  <a:lnTo>
                    <a:pt x="8559" y="990"/>
                  </a:lnTo>
                  <a:lnTo>
                    <a:pt x="9271" y="977"/>
                  </a:lnTo>
                  <a:lnTo>
                    <a:pt x="8826" y="3784"/>
                  </a:lnTo>
                  <a:lnTo>
                    <a:pt x="11328" y="2857"/>
                  </a:lnTo>
                  <a:lnTo>
                    <a:pt x="13843" y="1879"/>
                  </a:lnTo>
                  <a:lnTo>
                    <a:pt x="16344" y="825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5" name="object 837">
              <a:extLst>
                <a:ext uri="{FF2B5EF4-FFF2-40B4-BE49-F238E27FC236}">
                  <a16:creationId xmlns:a16="http://schemas.microsoft.com/office/drawing/2014/main" id="{A504065C-1C99-4C25-BC89-9360874A6DF5}"/>
                </a:ext>
              </a:extLst>
            </p:cNvPr>
            <p:cNvSpPr/>
            <p:nvPr/>
          </p:nvSpPr>
          <p:spPr>
            <a:xfrm>
              <a:off x="8007757" y="6426610"/>
              <a:ext cx="10795" cy="5080"/>
            </a:xfrm>
            <a:custGeom>
              <a:avLst/>
              <a:gdLst/>
              <a:ahLst/>
              <a:cxnLst/>
              <a:rect l="l" t="t" r="r" b="b"/>
              <a:pathLst>
                <a:path w="10795" h="5079">
                  <a:moveTo>
                    <a:pt x="5435" y="0"/>
                  </a:moveTo>
                  <a:lnTo>
                    <a:pt x="4076" y="546"/>
                  </a:lnTo>
                  <a:lnTo>
                    <a:pt x="1346" y="1562"/>
                  </a:lnTo>
                  <a:lnTo>
                    <a:pt x="0" y="4800"/>
                  </a:lnTo>
                  <a:lnTo>
                    <a:pt x="2425" y="3975"/>
                  </a:lnTo>
                  <a:lnTo>
                    <a:pt x="3644" y="3530"/>
                  </a:lnTo>
                  <a:lnTo>
                    <a:pt x="5029" y="2590"/>
                  </a:lnTo>
                  <a:lnTo>
                    <a:pt x="6578" y="1930"/>
                  </a:lnTo>
                  <a:lnTo>
                    <a:pt x="8229" y="1828"/>
                  </a:lnTo>
                  <a:lnTo>
                    <a:pt x="10718" y="825"/>
                  </a:lnTo>
                  <a:lnTo>
                    <a:pt x="5435" y="0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6" name="object 838">
              <a:extLst>
                <a:ext uri="{FF2B5EF4-FFF2-40B4-BE49-F238E27FC236}">
                  <a16:creationId xmlns:a16="http://schemas.microsoft.com/office/drawing/2014/main" id="{FAA54F7A-BC76-430E-9092-45F3A506B8D4}"/>
                </a:ext>
              </a:extLst>
            </p:cNvPr>
            <p:cNvSpPr/>
            <p:nvPr/>
          </p:nvSpPr>
          <p:spPr>
            <a:xfrm>
              <a:off x="8009108" y="6426103"/>
              <a:ext cx="4445" cy="2540"/>
            </a:xfrm>
            <a:custGeom>
              <a:avLst/>
              <a:gdLst/>
              <a:ahLst/>
              <a:cxnLst/>
              <a:rect l="l" t="t" r="r" b="b"/>
              <a:pathLst>
                <a:path w="4445" h="2540">
                  <a:moveTo>
                    <a:pt x="863" y="0"/>
                  </a:moveTo>
                  <a:lnTo>
                    <a:pt x="0" y="2070"/>
                  </a:lnTo>
                  <a:lnTo>
                    <a:pt x="1358" y="1574"/>
                  </a:lnTo>
                  <a:lnTo>
                    <a:pt x="2717" y="1054"/>
                  </a:lnTo>
                  <a:lnTo>
                    <a:pt x="4076" y="508"/>
                  </a:lnTo>
                  <a:lnTo>
                    <a:pt x="863" y="0"/>
                  </a:lnTo>
                  <a:close/>
                </a:path>
              </a:pathLst>
            </a:custGeom>
            <a:solidFill>
              <a:srgbClr val="E3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7" name="object 839">
              <a:extLst>
                <a:ext uri="{FF2B5EF4-FFF2-40B4-BE49-F238E27FC236}">
                  <a16:creationId xmlns:a16="http://schemas.microsoft.com/office/drawing/2014/main" id="{5A27C6CC-DAD0-408A-B2A1-DBCEB47D57EC}"/>
                </a:ext>
              </a:extLst>
            </p:cNvPr>
            <p:cNvSpPr/>
            <p:nvPr/>
          </p:nvSpPr>
          <p:spPr>
            <a:xfrm>
              <a:off x="8034235" y="6443399"/>
              <a:ext cx="13335" cy="7620"/>
            </a:xfrm>
            <a:custGeom>
              <a:avLst/>
              <a:gdLst/>
              <a:ahLst/>
              <a:cxnLst/>
              <a:rect l="l" t="t" r="r" b="b"/>
              <a:pathLst>
                <a:path w="13334" h="7620">
                  <a:moveTo>
                    <a:pt x="5588" y="5575"/>
                  </a:moveTo>
                  <a:lnTo>
                    <a:pt x="5575" y="5397"/>
                  </a:lnTo>
                  <a:lnTo>
                    <a:pt x="5575" y="5003"/>
                  </a:lnTo>
                  <a:lnTo>
                    <a:pt x="5575" y="2705"/>
                  </a:lnTo>
                  <a:lnTo>
                    <a:pt x="3822" y="3289"/>
                  </a:lnTo>
                  <a:lnTo>
                    <a:pt x="2082" y="3835"/>
                  </a:lnTo>
                  <a:lnTo>
                    <a:pt x="330" y="4356"/>
                  </a:lnTo>
                  <a:lnTo>
                    <a:pt x="330" y="6159"/>
                  </a:lnTo>
                  <a:lnTo>
                    <a:pt x="228" y="6756"/>
                  </a:lnTo>
                  <a:lnTo>
                    <a:pt x="0" y="7188"/>
                  </a:lnTo>
                  <a:lnTo>
                    <a:pt x="1854" y="6692"/>
                  </a:lnTo>
                  <a:lnTo>
                    <a:pt x="3721" y="6159"/>
                  </a:lnTo>
                  <a:lnTo>
                    <a:pt x="5588" y="5575"/>
                  </a:lnTo>
                  <a:close/>
                </a:path>
                <a:path w="13334" h="7620">
                  <a:moveTo>
                    <a:pt x="13144" y="0"/>
                  </a:moveTo>
                  <a:lnTo>
                    <a:pt x="12547" y="228"/>
                  </a:lnTo>
                  <a:lnTo>
                    <a:pt x="11328" y="685"/>
                  </a:lnTo>
                  <a:lnTo>
                    <a:pt x="11557" y="1130"/>
                  </a:lnTo>
                  <a:lnTo>
                    <a:pt x="11734" y="1625"/>
                  </a:lnTo>
                  <a:lnTo>
                    <a:pt x="11899" y="2235"/>
                  </a:lnTo>
                  <a:lnTo>
                    <a:pt x="13144" y="2235"/>
                  </a:lnTo>
                  <a:lnTo>
                    <a:pt x="13144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8" name="object 840">
              <a:extLst>
                <a:ext uri="{FF2B5EF4-FFF2-40B4-BE49-F238E27FC236}">
                  <a16:creationId xmlns:a16="http://schemas.microsoft.com/office/drawing/2014/main" id="{0B122C70-CC0A-43DE-942D-A5B46C148F9E}"/>
                </a:ext>
              </a:extLst>
            </p:cNvPr>
            <p:cNvSpPr/>
            <p:nvPr/>
          </p:nvSpPr>
          <p:spPr>
            <a:xfrm>
              <a:off x="8034566" y="6440262"/>
              <a:ext cx="13335" cy="7620"/>
            </a:xfrm>
            <a:custGeom>
              <a:avLst/>
              <a:gdLst/>
              <a:ahLst/>
              <a:cxnLst/>
              <a:rect l="l" t="t" r="r" b="b"/>
              <a:pathLst>
                <a:path w="13334" h="7620">
                  <a:moveTo>
                    <a:pt x="5245" y="2908"/>
                  </a:moveTo>
                  <a:lnTo>
                    <a:pt x="3492" y="3530"/>
                  </a:lnTo>
                  <a:lnTo>
                    <a:pt x="1752" y="4114"/>
                  </a:lnTo>
                  <a:lnTo>
                    <a:pt x="0" y="4686"/>
                  </a:lnTo>
                  <a:lnTo>
                    <a:pt x="0" y="7505"/>
                  </a:lnTo>
                  <a:lnTo>
                    <a:pt x="1752" y="6985"/>
                  </a:lnTo>
                  <a:lnTo>
                    <a:pt x="3492" y="6426"/>
                  </a:lnTo>
                  <a:lnTo>
                    <a:pt x="5245" y="5842"/>
                  </a:lnTo>
                  <a:lnTo>
                    <a:pt x="5245" y="2908"/>
                  </a:lnTo>
                  <a:close/>
                </a:path>
                <a:path w="13334" h="7620">
                  <a:moveTo>
                    <a:pt x="12827" y="0"/>
                  </a:moveTo>
                  <a:lnTo>
                    <a:pt x="11391" y="584"/>
                  </a:lnTo>
                  <a:lnTo>
                    <a:pt x="9969" y="1143"/>
                  </a:lnTo>
                  <a:lnTo>
                    <a:pt x="8547" y="1689"/>
                  </a:lnTo>
                  <a:lnTo>
                    <a:pt x="9639" y="2019"/>
                  </a:lnTo>
                  <a:lnTo>
                    <a:pt x="10439" y="2641"/>
                  </a:lnTo>
                  <a:lnTo>
                    <a:pt x="11010" y="3810"/>
                  </a:lnTo>
                  <a:lnTo>
                    <a:pt x="12827" y="3124"/>
                  </a:lnTo>
                  <a:lnTo>
                    <a:pt x="12827" y="0"/>
                  </a:lnTo>
                  <a:close/>
                </a:path>
              </a:pathLst>
            </a:custGeom>
            <a:solidFill>
              <a:srgbClr val="DD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49" name="object 841">
              <a:extLst>
                <a:ext uri="{FF2B5EF4-FFF2-40B4-BE49-F238E27FC236}">
                  <a16:creationId xmlns:a16="http://schemas.microsoft.com/office/drawing/2014/main" id="{BC2BDA2A-7670-444C-AD2D-38DA5A38E8EB}"/>
                </a:ext>
              </a:extLst>
            </p:cNvPr>
            <p:cNvSpPr/>
            <p:nvPr/>
          </p:nvSpPr>
          <p:spPr>
            <a:xfrm>
              <a:off x="8034566" y="6434738"/>
              <a:ext cx="18415" cy="10795"/>
            </a:xfrm>
            <a:custGeom>
              <a:avLst/>
              <a:gdLst/>
              <a:ahLst/>
              <a:cxnLst/>
              <a:rect l="l" t="t" r="r" b="b"/>
              <a:pathLst>
                <a:path w="18415" h="10795">
                  <a:moveTo>
                    <a:pt x="12814" y="2324"/>
                  </a:moveTo>
                  <a:lnTo>
                    <a:pt x="10947" y="3136"/>
                  </a:lnTo>
                  <a:lnTo>
                    <a:pt x="9931" y="5041"/>
                  </a:lnTo>
                  <a:lnTo>
                    <a:pt x="8509" y="5410"/>
                  </a:lnTo>
                  <a:lnTo>
                    <a:pt x="5245" y="5422"/>
                  </a:lnTo>
                  <a:lnTo>
                    <a:pt x="1752" y="6718"/>
                  </a:lnTo>
                  <a:lnTo>
                    <a:pt x="0" y="7315"/>
                  </a:lnTo>
                  <a:lnTo>
                    <a:pt x="0" y="10198"/>
                  </a:lnTo>
                  <a:lnTo>
                    <a:pt x="1752" y="9639"/>
                  </a:lnTo>
                  <a:lnTo>
                    <a:pt x="5245" y="8420"/>
                  </a:lnTo>
                  <a:lnTo>
                    <a:pt x="5245" y="6921"/>
                  </a:lnTo>
                  <a:lnTo>
                    <a:pt x="6972" y="6921"/>
                  </a:lnTo>
                  <a:lnTo>
                    <a:pt x="7823" y="6997"/>
                  </a:lnTo>
                  <a:lnTo>
                    <a:pt x="8547" y="7213"/>
                  </a:lnTo>
                  <a:lnTo>
                    <a:pt x="11391" y="6108"/>
                  </a:lnTo>
                  <a:lnTo>
                    <a:pt x="12814" y="5524"/>
                  </a:lnTo>
                  <a:lnTo>
                    <a:pt x="12814" y="2324"/>
                  </a:lnTo>
                  <a:close/>
                </a:path>
                <a:path w="18415" h="10795">
                  <a:moveTo>
                    <a:pt x="18186" y="596"/>
                  </a:moveTo>
                  <a:lnTo>
                    <a:pt x="17995" y="0"/>
                  </a:lnTo>
                  <a:lnTo>
                    <a:pt x="17208" y="368"/>
                  </a:lnTo>
                  <a:lnTo>
                    <a:pt x="16814" y="546"/>
                  </a:lnTo>
                  <a:lnTo>
                    <a:pt x="16954" y="698"/>
                  </a:lnTo>
                  <a:lnTo>
                    <a:pt x="17195" y="1016"/>
                  </a:lnTo>
                  <a:lnTo>
                    <a:pt x="18186" y="596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0" name="object 842">
              <a:extLst>
                <a:ext uri="{FF2B5EF4-FFF2-40B4-BE49-F238E27FC236}">
                  <a16:creationId xmlns:a16="http://schemas.microsoft.com/office/drawing/2014/main" id="{6BD107B7-F536-4E80-B46F-7259DA23113F}"/>
                </a:ext>
              </a:extLst>
            </p:cNvPr>
            <p:cNvSpPr/>
            <p:nvPr/>
          </p:nvSpPr>
          <p:spPr>
            <a:xfrm>
              <a:off x="8034566" y="6431817"/>
              <a:ext cx="18415" cy="10795"/>
            </a:xfrm>
            <a:custGeom>
              <a:avLst/>
              <a:gdLst/>
              <a:ahLst/>
              <a:cxnLst/>
              <a:rect l="l" t="t" r="r" b="b"/>
              <a:pathLst>
                <a:path w="18415" h="10795">
                  <a:moveTo>
                    <a:pt x="5245" y="5270"/>
                  </a:moveTo>
                  <a:lnTo>
                    <a:pt x="1752" y="6654"/>
                  </a:lnTo>
                  <a:lnTo>
                    <a:pt x="0" y="7289"/>
                  </a:lnTo>
                  <a:lnTo>
                    <a:pt x="0" y="10248"/>
                  </a:lnTo>
                  <a:lnTo>
                    <a:pt x="1752" y="9639"/>
                  </a:lnTo>
                  <a:lnTo>
                    <a:pt x="3492" y="9004"/>
                  </a:lnTo>
                  <a:lnTo>
                    <a:pt x="5245" y="8343"/>
                  </a:lnTo>
                  <a:lnTo>
                    <a:pt x="5245" y="5270"/>
                  </a:lnTo>
                  <a:close/>
                </a:path>
                <a:path w="18415" h="10795">
                  <a:moveTo>
                    <a:pt x="12814" y="4572"/>
                  </a:moveTo>
                  <a:lnTo>
                    <a:pt x="11569" y="4572"/>
                  </a:lnTo>
                  <a:lnTo>
                    <a:pt x="11366" y="5156"/>
                  </a:lnTo>
                  <a:lnTo>
                    <a:pt x="11163" y="5638"/>
                  </a:lnTo>
                  <a:lnTo>
                    <a:pt x="10947" y="6057"/>
                  </a:lnTo>
                  <a:lnTo>
                    <a:pt x="12814" y="5257"/>
                  </a:lnTo>
                  <a:lnTo>
                    <a:pt x="12814" y="4572"/>
                  </a:lnTo>
                  <a:close/>
                </a:path>
                <a:path w="18415" h="10795">
                  <a:moveTo>
                    <a:pt x="17983" y="2908"/>
                  </a:moveTo>
                  <a:lnTo>
                    <a:pt x="17005" y="0"/>
                  </a:lnTo>
                  <a:lnTo>
                    <a:pt x="15328" y="812"/>
                  </a:lnTo>
                  <a:lnTo>
                    <a:pt x="14503" y="1206"/>
                  </a:lnTo>
                  <a:lnTo>
                    <a:pt x="15354" y="1866"/>
                  </a:lnTo>
                  <a:lnTo>
                    <a:pt x="16141" y="2641"/>
                  </a:lnTo>
                  <a:lnTo>
                    <a:pt x="16814" y="3454"/>
                  </a:lnTo>
                  <a:lnTo>
                    <a:pt x="17589" y="3098"/>
                  </a:lnTo>
                  <a:lnTo>
                    <a:pt x="17983" y="2908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1" name="object 843">
              <a:extLst>
                <a:ext uri="{FF2B5EF4-FFF2-40B4-BE49-F238E27FC236}">
                  <a16:creationId xmlns:a16="http://schemas.microsoft.com/office/drawing/2014/main" id="{1FB1411D-6BA1-4F1B-AABE-54D51EF54543}"/>
                </a:ext>
              </a:extLst>
            </p:cNvPr>
            <p:cNvSpPr/>
            <p:nvPr/>
          </p:nvSpPr>
          <p:spPr>
            <a:xfrm>
              <a:off x="8034566" y="6429353"/>
              <a:ext cx="17145" cy="10160"/>
            </a:xfrm>
            <a:custGeom>
              <a:avLst/>
              <a:gdLst/>
              <a:ahLst/>
              <a:cxnLst/>
              <a:rect l="l" t="t" r="r" b="b"/>
              <a:pathLst>
                <a:path w="17145" h="10159">
                  <a:moveTo>
                    <a:pt x="5245" y="4584"/>
                  </a:moveTo>
                  <a:lnTo>
                    <a:pt x="3492" y="5334"/>
                  </a:lnTo>
                  <a:lnTo>
                    <a:pt x="1752" y="6057"/>
                  </a:lnTo>
                  <a:lnTo>
                    <a:pt x="0" y="6743"/>
                  </a:lnTo>
                  <a:lnTo>
                    <a:pt x="0" y="9753"/>
                  </a:lnTo>
                  <a:lnTo>
                    <a:pt x="1752" y="9118"/>
                  </a:lnTo>
                  <a:lnTo>
                    <a:pt x="5245" y="7734"/>
                  </a:lnTo>
                  <a:lnTo>
                    <a:pt x="5245" y="4584"/>
                  </a:lnTo>
                  <a:close/>
                </a:path>
                <a:path w="17145" h="10159">
                  <a:moveTo>
                    <a:pt x="17005" y="2476"/>
                  </a:moveTo>
                  <a:lnTo>
                    <a:pt x="16167" y="0"/>
                  </a:lnTo>
                  <a:lnTo>
                    <a:pt x="15100" y="0"/>
                  </a:lnTo>
                  <a:lnTo>
                    <a:pt x="13830" y="647"/>
                  </a:lnTo>
                  <a:lnTo>
                    <a:pt x="11303" y="1854"/>
                  </a:lnTo>
                  <a:lnTo>
                    <a:pt x="12446" y="2286"/>
                  </a:lnTo>
                  <a:lnTo>
                    <a:pt x="13525" y="2921"/>
                  </a:lnTo>
                  <a:lnTo>
                    <a:pt x="14503" y="3683"/>
                  </a:lnTo>
                  <a:lnTo>
                    <a:pt x="15341" y="3289"/>
                  </a:lnTo>
                  <a:lnTo>
                    <a:pt x="17005" y="2476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2" name="object 844">
              <a:extLst>
                <a:ext uri="{FF2B5EF4-FFF2-40B4-BE49-F238E27FC236}">
                  <a16:creationId xmlns:a16="http://schemas.microsoft.com/office/drawing/2014/main" id="{1532DDB6-C630-41DE-9C5F-C51A4FA6A5F0}"/>
                </a:ext>
              </a:extLst>
            </p:cNvPr>
            <p:cNvSpPr/>
            <p:nvPr/>
          </p:nvSpPr>
          <p:spPr>
            <a:xfrm>
              <a:off x="8032966" y="6429353"/>
              <a:ext cx="17145" cy="6985"/>
            </a:xfrm>
            <a:custGeom>
              <a:avLst/>
              <a:gdLst/>
              <a:ahLst/>
              <a:cxnLst/>
              <a:rect l="l" t="t" r="r" b="b"/>
              <a:pathLst>
                <a:path w="17145" h="6984">
                  <a:moveTo>
                    <a:pt x="6845" y="1409"/>
                  </a:moveTo>
                  <a:lnTo>
                    <a:pt x="4330" y="2527"/>
                  </a:lnTo>
                  <a:lnTo>
                    <a:pt x="1587" y="3670"/>
                  </a:lnTo>
                  <a:lnTo>
                    <a:pt x="1600" y="6756"/>
                  </a:lnTo>
                  <a:lnTo>
                    <a:pt x="5092" y="5346"/>
                  </a:lnTo>
                  <a:lnTo>
                    <a:pt x="6845" y="4584"/>
                  </a:lnTo>
                  <a:lnTo>
                    <a:pt x="6845" y="1409"/>
                  </a:lnTo>
                  <a:close/>
                </a:path>
                <a:path w="17145" h="6984">
                  <a:moveTo>
                    <a:pt x="16700" y="0"/>
                  </a:moveTo>
                  <a:lnTo>
                    <a:pt x="9804" y="0"/>
                  </a:lnTo>
                  <a:lnTo>
                    <a:pt x="7975" y="876"/>
                  </a:lnTo>
                  <a:lnTo>
                    <a:pt x="9791" y="0"/>
                  </a:lnTo>
                  <a:lnTo>
                    <a:pt x="2743" y="0"/>
                  </a:lnTo>
                  <a:lnTo>
                    <a:pt x="0" y="1219"/>
                  </a:lnTo>
                  <a:lnTo>
                    <a:pt x="1079" y="1498"/>
                  </a:lnTo>
                  <a:lnTo>
                    <a:pt x="1536" y="2235"/>
                  </a:lnTo>
                  <a:lnTo>
                    <a:pt x="1587" y="3670"/>
                  </a:lnTo>
                  <a:lnTo>
                    <a:pt x="4330" y="2514"/>
                  </a:lnTo>
                  <a:lnTo>
                    <a:pt x="6845" y="1409"/>
                  </a:lnTo>
                  <a:lnTo>
                    <a:pt x="6997" y="1346"/>
                  </a:lnTo>
                  <a:lnTo>
                    <a:pt x="7188" y="1244"/>
                  </a:lnTo>
                  <a:lnTo>
                    <a:pt x="10795" y="1244"/>
                  </a:lnTo>
                  <a:lnTo>
                    <a:pt x="11874" y="1473"/>
                  </a:lnTo>
                  <a:lnTo>
                    <a:pt x="12903" y="1854"/>
                  </a:lnTo>
                  <a:lnTo>
                    <a:pt x="15443" y="635"/>
                  </a:lnTo>
                  <a:lnTo>
                    <a:pt x="16700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3" name="object 845">
              <a:extLst>
                <a:ext uri="{FF2B5EF4-FFF2-40B4-BE49-F238E27FC236}">
                  <a16:creationId xmlns:a16="http://schemas.microsoft.com/office/drawing/2014/main" id="{85952F6D-2623-44D5-ABC1-9B8E362C7467}"/>
                </a:ext>
              </a:extLst>
            </p:cNvPr>
            <p:cNvSpPr/>
            <p:nvPr/>
          </p:nvSpPr>
          <p:spPr>
            <a:xfrm>
              <a:off x="8031462" y="6429350"/>
              <a:ext cx="4445" cy="1270"/>
            </a:xfrm>
            <a:custGeom>
              <a:avLst/>
              <a:gdLst/>
              <a:ahLst/>
              <a:cxnLst/>
              <a:rect l="l" t="t" r="r" b="b"/>
              <a:pathLst>
                <a:path w="4445" h="1270">
                  <a:moveTo>
                    <a:pt x="4241" y="0"/>
                  </a:moveTo>
                  <a:lnTo>
                    <a:pt x="0" y="0"/>
                  </a:lnTo>
                  <a:lnTo>
                    <a:pt x="0" y="1054"/>
                  </a:lnTo>
                  <a:lnTo>
                    <a:pt x="596" y="1054"/>
                  </a:lnTo>
                  <a:lnTo>
                    <a:pt x="1092" y="1104"/>
                  </a:lnTo>
                  <a:lnTo>
                    <a:pt x="1511" y="1219"/>
                  </a:lnTo>
                  <a:lnTo>
                    <a:pt x="2413" y="812"/>
                  </a:lnTo>
                  <a:lnTo>
                    <a:pt x="3340" y="406"/>
                  </a:lnTo>
                  <a:lnTo>
                    <a:pt x="4241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4" name="object 846">
              <a:extLst>
                <a:ext uri="{FF2B5EF4-FFF2-40B4-BE49-F238E27FC236}">
                  <a16:creationId xmlns:a16="http://schemas.microsoft.com/office/drawing/2014/main" id="{CB063DE8-966D-48A9-A69B-84E4407373CB}"/>
                </a:ext>
              </a:extLst>
            </p:cNvPr>
            <p:cNvSpPr/>
            <p:nvPr/>
          </p:nvSpPr>
          <p:spPr>
            <a:xfrm>
              <a:off x="8057033" y="6432287"/>
              <a:ext cx="14604" cy="8890"/>
            </a:xfrm>
            <a:custGeom>
              <a:avLst/>
              <a:gdLst/>
              <a:ahLst/>
              <a:cxnLst/>
              <a:rect l="l" t="t" r="r" b="b"/>
              <a:pathLst>
                <a:path w="14604" h="8890">
                  <a:moveTo>
                    <a:pt x="11544" y="4902"/>
                  </a:moveTo>
                  <a:lnTo>
                    <a:pt x="10452" y="4546"/>
                  </a:lnTo>
                  <a:lnTo>
                    <a:pt x="9283" y="4279"/>
                  </a:lnTo>
                  <a:lnTo>
                    <a:pt x="8102" y="4076"/>
                  </a:lnTo>
                  <a:lnTo>
                    <a:pt x="6718" y="3835"/>
                  </a:lnTo>
                  <a:lnTo>
                    <a:pt x="4483" y="4965"/>
                  </a:lnTo>
                  <a:lnTo>
                    <a:pt x="2235" y="6045"/>
                  </a:lnTo>
                  <a:lnTo>
                    <a:pt x="0" y="7073"/>
                  </a:lnTo>
                  <a:lnTo>
                    <a:pt x="952" y="7874"/>
                  </a:lnTo>
                  <a:lnTo>
                    <a:pt x="2146" y="8432"/>
                  </a:lnTo>
                  <a:lnTo>
                    <a:pt x="3429" y="8839"/>
                  </a:lnTo>
                  <a:lnTo>
                    <a:pt x="6134" y="7607"/>
                  </a:lnTo>
                  <a:lnTo>
                    <a:pt x="8839" y="6299"/>
                  </a:lnTo>
                  <a:lnTo>
                    <a:pt x="11544" y="4902"/>
                  </a:lnTo>
                  <a:close/>
                </a:path>
                <a:path w="14604" h="8890">
                  <a:moveTo>
                    <a:pt x="14185" y="558"/>
                  </a:moveTo>
                  <a:lnTo>
                    <a:pt x="13931" y="0"/>
                  </a:lnTo>
                  <a:lnTo>
                    <a:pt x="13512" y="241"/>
                  </a:lnTo>
                  <a:lnTo>
                    <a:pt x="13081" y="469"/>
                  </a:lnTo>
                  <a:lnTo>
                    <a:pt x="12661" y="698"/>
                  </a:lnTo>
                  <a:lnTo>
                    <a:pt x="12801" y="850"/>
                  </a:lnTo>
                  <a:lnTo>
                    <a:pt x="13042" y="1143"/>
                  </a:lnTo>
                  <a:lnTo>
                    <a:pt x="14185" y="558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5" name="object 847">
              <a:extLst>
                <a:ext uri="{FF2B5EF4-FFF2-40B4-BE49-F238E27FC236}">
                  <a16:creationId xmlns:a16="http://schemas.microsoft.com/office/drawing/2014/main" id="{5B63A6D2-F90A-46B8-B497-CB37440A7A3E}"/>
                </a:ext>
              </a:extLst>
            </p:cNvPr>
            <p:cNvSpPr/>
            <p:nvPr/>
          </p:nvSpPr>
          <p:spPr>
            <a:xfrm>
              <a:off x="8055216" y="6429378"/>
              <a:ext cx="15875" cy="10160"/>
            </a:xfrm>
            <a:custGeom>
              <a:avLst/>
              <a:gdLst/>
              <a:ahLst/>
              <a:cxnLst/>
              <a:rect l="l" t="t" r="r" b="b"/>
              <a:pathLst>
                <a:path w="15875" h="10159">
                  <a:moveTo>
                    <a:pt x="8534" y="6743"/>
                  </a:moveTo>
                  <a:lnTo>
                    <a:pt x="7962" y="6642"/>
                  </a:lnTo>
                  <a:lnTo>
                    <a:pt x="6680" y="6426"/>
                  </a:lnTo>
                  <a:lnTo>
                    <a:pt x="5130" y="6235"/>
                  </a:lnTo>
                  <a:lnTo>
                    <a:pt x="4025" y="5524"/>
                  </a:lnTo>
                  <a:lnTo>
                    <a:pt x="1346" y="6832"/>
                  </a:lnTo>
                  <a:lnTo>
                    <a:pt x="0" y="7454"/>
                  </a:lnTo>
                  <a:lnTo>
                    <a:pt x="406" y="8496"/>
                  </a:lnTo>
                  <a:lnTo>
                    <a:pt x="1028" y="9309"/>
                  </a:lnTo>
                  <a:lnTo>
                    <a:pt x="1816" y="9969"/>
                  </a:lnTo>
                  <a:lnTo>
                    <a:pt x="4051" y="8953"/>
                  </a:lnTo>
                  <a:lnTo>
                    <a:pt x="6299" y="7861"/>
                  </a:lnTo>
                  <a:lnTo>
                    <a:pt x="8534" y="6743"/>
                  </a:lnTo>
                  <a:close/>
                </a:path>
                <a:path w="15875" h="10159">
                  <a:moveTo>
                    <a:pt x="15748" y="2921"/>
                  </a:moveTo>
                  <a:lnTo>
                    <a:pt x="14376" y="0"/>
                  </a:lnTo>
                  <a:lnTo>
                    <a:pt x="12776" y="914"/>
                  </a:lnTo>
                  <a:lnTo>
                    <a:pt x="11976" y="1346"/>
                  </a:lnTo>
                  <a:lnTo>
                    <a:pt x="12928" y="2044"/>
                  </a:lnTo>
                  <a:lnTo>
                    <a:pt x="13779" y="2844"/>
                  </a:lnTo>
                  <a:lnTo>
                    <a:pt x="14478" y="3619"/>
                  </a:lnTo>
                  <a:lnTo>
                    <a:pt x="15748" y="2921"/>
                  </a:lnTo>
                  <a:close/>
                </a:path>
              </a:pathLst>
            </a:custGeom>
            <a:solidFill>
              <a:srgbClr val="DD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6" name="object 848">
              <a:extLst>
                <a:ext uri="{FF2B5EF4-FFF2-40B4-BE49-F238E27FC236}">
                  <a16:creationId xmlns:a16="http://schemas.microsoft.com/office/drawing/2014/main" id="{F0D7D239-3A4D-478D-B133-D12BBDF8649F}"/>
                </a:ext>
              </a:extLst>
            </p:cNvPr>
            <p:cNvSpPr/>
            <p:nvPr/>
          </p:nvSpPr>
          <p:spPr>
            <a:xfrm>
              <a:off x="8054721" y="6426432"/>
              <a:ext cx="15240" cy="10795"/>
            </a:xfrm>
            <a:custGeom>
              <a:avLst/>
              <a:gdLst/>
              <a:ahLst/>
              <a:cxnLst/>
              <a:rect l="l" t="t" r="r" b="b"/>
              <a:pathLst>
                <a:path w="15240" h="10795">
                  <a:moveTo>
                    <a:pt x="4533" y="8470"/>
                  </a:moveTo>
                  <a:lnTo>
                    <a:pt x="3124" y="5905"/>
                  </a:lnTo>
                  <a:lnTo>
                    <a:pt x="3124" y="5702"/>
                  </a:lnTo>
                  <a:lnTo>
                    <a:pt x="1066" y="6743"/>
                  </a:lnTo>
                  <a:lnTo>
                    <a:pt x="38" y="7239"/>
                  </a:lnTo>
                  <a:lnTo>
                    <a:pt x="0" y="7747"/>
                  </a:lnTo>
                  <a:lnTo>
                    <a:pt x="12" y="8267"/>
                  </a:lnTo>
                  <a:lnTo>
                    <a:pt x="165" y="9385"/>
                  </a:lnTo>
                  <a:lnTo>
                    <a:pt x="304" y="9918"/>
                  </a:lnTo>
                  <a:lnTo>
                    <a:pt x="495" y="10401"/>
                  </a:lnTo>
                  <a:lnTo>
                    <a:pt x="1841" y="9779"/>
                  </a:lnTo>
                  <a:lnTo>
                    <a:pt x="3187" y="9131"/>
                  </a:lnTo>
                  <a:lnTo>
                    <a:pt x="4533" y="8470"/>
                  </a:lnTo>
                  <a:close/>
                </a:path>
                <a:path w="15240" h="10795">
                  <a:moveTo>
                    <a:pt x="14871" y="2933"/>
                  </a:moveTo>
                  <a:lnTo>
                    <a:pt x="13512" y="0"/>
                  </a:lnTo>
                  <a:lnTo>
                    <a:pt x="13385" y="63"/>
                  </a:lnTo>
                  <a:lnTo>
                    <a:pt x="13157" y="203"/>
                  </a:lnTo>
                  <a:lnTo>
                    <a:pt x="12623" y="749"/>
                  </a:lnTo>
                  <a:lnTo>
                    <a:pt x="11836" y="1295"/>
                  </a:lnTo>
                  <a:lnTo>
                    <a:pt x="11087" y="1397"/>
                  </a:lnTo>
                  <a:lnTo>
                    <a:pt x="10414" y="1790"/>
                  </a:lnTo>
                  <a:lnTo>
                    <a:pt x="9067" y="2540"/>
                  </a:lnTo>
                  <a:lnTo>
                    <a:pt x="10248" y="2882"/>
                  </a:lnTo>
                  <a:lnTo>
                    <a:pt x="11417" y="3517"/>
                  </a:lnTo>
                  <a:lnTo>
                    <a:pt x="12471" y="4292"/>
                  </a:lnTo>
                  <a:lnTo>
                    <a:pt x="14071" y="3403"/>
                  </a:lnTo>
                  <a:lnTo>
                    <a:pt x="14871" y="2933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7" name="object 849">
              <a:extLst>
                <a:ext uri="{FF2B5EF4-FFF2-40B4-BE49-F238E27FC236}">
                  <a16:creationId xmlns:a16="http://schemas.microsoft.com/office/drawing/2014/main" id="{2D0910DA-3E72-4E95-A06D-FCF473C414DD}"/>
                </a:ext>
              </a:extLst>
            </p:cNvPr>
            <p:cNvSpPr/>
            <p:nvPr/>
          </p:nvSpPr>
          <p:spPr>
            <a:xfrm>
              <a:off x="8054759" y="6426318"/>
              <a:ext cx="13970" cy="7620"/>
            </a:xfrm>
            <a:custGeom>
              <a:avLst/>
              <a:gdLst/>
              <a:ahLst/>
              <a:cxnLst/>
              <a:rect l="l" t="t" r="r" b="b"/>
              <a:pathLst>
                <a:path w="13970" h="7620">
                  <a:moveTo>
                    <a:pt x="11049" y="1511"/>
                  </a:moveTo>
                  <a:lnTo>
                    <a:pt x="10617" y="1549"/>
                  </a:lnTo>
                  <a:lnTo>
                    <a:pt x="8509" y="1130"/>
                  </a:lnTo>
                  <a:lnTo>
                    <a:pt x="7493" y="1054"/>
                  </a:lnTo>
                  <a:lnTo>
                    <a:pt x="2819" y="1714"/>
                  </a:lnTo>
                  <a:lnTo>
                    <a:pt x="254" y="4114"/>
                  </a:lnTo>
                  <a:lnTo>
                    <a:pt x="0" y="7353"/>
                  </a:lnTo>
                  <a:lnTo>
                    <a:pt x="1028" y="6858"/>
                  </a:lnTo>
                  <a:lnTo>
                    <a:pt x="3086" y="5816"/>
                  </a:lnTo>
                  <a:lnTo>
                    <a:pt x="3124" y="3911"/>
                  </a:lnTo>
                  <a:lnTo>
                    <a:pt x="4610" y="2717"/>
                  </a:lnTo>
                  <a:lnTo>
                    <a:pt x="6591" y="2438"/>
                  </a:lnTo>
                  <a:lnTo>
                    <a:pt x="7391" y="2324"/>
                  </a:lnTo>
                  <a:lnTo>
                    <a:pt x="8204" y="2425"/>
                  </a:lnTo>
                  <a:lnTo>
                    <a:pt x="9017" y="2654"/>
                  </a:lnTo>
                  <a:lnTo>
                    <a:pt x="10375" y="1905"/>
                  </a:lnTo>
                  <a:lnTo>
                    <a:pt x="11049" y="1511"/>
                  </a:lnTo>
                  <a:close/>
                </a:path>
                <a:path w="13970" h="7620">
                  <a:moveTo>
                    <a:pt x="13462" y="114"/>
                  </a:moveTo>
                  <a:lnTo>
                    <a:pt x="13322" y="101"/>
                  </a:lnTo>
                  <a:lnTo>
                    <a:pt x="13106" y="317"/>
                  </a:lnTo>
                  <a:lnTo>
                    <a:pt x="13233" y="254"/>
                  </a:lnTo>
                  <a:lnTo>
                    <a:pt x="13462" y="114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8" name="object 850">
              <a:extLst>
                <a:ext uri="{FF2B5EF4-FFF2-40B4-BE49-F238E27FC236}">
                  <a16:creationId xmlns:a16="http://schemas.microsoft.com/office/drawing/2014/main" id="{A4F5F16C-7806-48F6-A0FC-BC20B078C1EB}"/>
                </a:ext>
              </a:extLst>
            </p:cNvPr>
            <p:cNvSpPr/>
            <p:nvPr/>
          </p:nvSpPr>
          <p:spPr>
            <a:xfrm>
              <a:off x="7987360" y="6228337"/>
              <a:ext cx="112395" cy="13970"/>
            </a:xfrm>
            <a:custGeom>
              <a:avLst/>
              <a:gdLst/>
              <a:ahLst/>
              <a:cxnLst/>
              <a:rect l="l" t="t" r="r" b="b"/>
              <a:pathLst>
                <a:path w="112395" h="13970">
                  <a:moveTo>
                    <a:pt x="106883" y="12"/>
                  </a:moveTo>
                  <a:lnTo>
                    <a:pt x="101079" y="12"/>
                  </a:lnTo>
                  <a:lnTo>
                    <a:pt x="99034" y="1460"/>
                  </a:lnTo>
                  <a:lnTo>
                    <a:pt x="98094" y="736"/>
                  </a:lnTo>
                  <a:lnTo>
                    <a:pt x="96608" y="12"/>
                  </a:lnTo>
                  <a:lnTo>
                    <a:pt x="91592" y="12"/>
                  </a:lnTo>
                  <a:lnTo>
                    <a:pt x="89217" y="1041"/>
                  </a:lnTo>
                  <a:lnTo>
                    <a:pt x="88531" y="1714"/>
                  </a:lnTo>
                  <a:lnTo>
                    <a:pt x="87477" y="749"/>
                  </a:lnTo>
                  <a:lnTo>
                    <a:pt x="86093" y="12"/>
                  </a:lnTo>
                  <a:lnTo>
                    <a:pt x="82905" y="12"/>
                  </a:lnTo>
                  <a:lnTo>
                    <a:pt x="80860" y="1460"/>
                  </a:lnTo>
                  <a:lnTo>
                    <a:pt x="79933" y="736"/>
                  </a:lnTo>
                  <a:lnTo>
                    <a:pt x="78435" y="12"/>
                  </a:lnTo>
                  <a:lnTo>
                    <a:pt x="73431" y="12"/>
                  </a:lnTo>
                  <a:lnTo>
                    <a:pt x="71043" y="1041"/>
                  </a:lnTo>
                  <a:lnTo>
                    <a:pt x="70357" y="1714"/>
                  </a:lnTo>
                  <a:lnTo>
                    <a:pt x="69316" y="749"/>
                  </a:lnTo>
                  <a:lnTo>
                    <a:pt x="67919" y="12"/>
                  </a:lnTo>
                  <a:lnTo>
                    <a:pt x="64744" y="12"/>
                  </a:lnTo>
                  <a:lnTo>
                    <a:pt x="62687" y="1460"/>
                  </a:lnTo>
                  <a:lnTo>
                    <a:pt x="61760" y="736"/>
                  </a:lnTo>
                  <a:lnTo>
                    <a:pt x="60261" y="12"/>
                  </a:lnTo>
                  <a:lnTo>
                    <a:pt x="55244" y="12"/>
                  </a:lnTo>
                  <a:lnTo>
                    <a:pt x="52870" y="1041"/>
                  </a:lnTo>
                  <a:lnTo>
                    <a:pt x="52184" y="1714"/>
                  </a:lnTo>
                  <a:lnTo>
                    <a:pt x="51142" y="749"/>
                  </a:lnTo>
                  <a:lnTo>
                    <a:pt x="49758" y="12"/>
                  </a:lnTo>
                  <a:lnTo>
                    <a:pt x="46570" y="12"/>
                  </a:lnTo>
                  <a:lnTo>
                    <a:pt x="44526" y="1460"/>
                  </a:lnTo>
                  <a:lnTo>
                    <a:pt x="43599" y="736"/>
                  </a:lnTo>
                  <a:lnTo>
                    <a:pt x="42100" y="12"/>
                  </a:lnTo>
                  <a:lnTo>
                    <a:pt x="37083" y="12"/>
                  </a:lnTo>
                  <a:lnTo>
                    <a:pt x="34709" y="1041"/>
                  </a:lnTo>
                  <a:lnTo>
                    <a:pt x="34023" y="1714"/>
                  </a:lnTo>
                  <a:lnTo>
                    <a:pt x="32981" y="749"/>
                  </a:lnTo>
                  <a:lnTo>
                    <a:pt x="31584" y="12"/>
                  </a:lnTo>
                  <a:lnTo>
                    <a:pt x="28397" y="12"/>
                  </a:lnTo>
                  <a:lnTo>
                    <a:pt x="26352" y="1460"/>
                  </a:lnTo>
                  <a:lnTo>
                    <a:pt x="25425" y="736"/>
                  </a:lnTo>
                  <a:lnTo>
                    <a:pt x="23926" y="12"/>
                  </a:lnTo>
                  <a:lnTo>
                    <a:pt x="18961" y="12"/>
                  </a:lnTo>
                  <a:lnTo>
                    <a:pt x="16636" y="990"/>
                  </a:lnTo>
                  <a:lnTo>
                    <a:pt x="15900" y="1676"/>
                  </a:lnTo>
                  <a:lnTo>
                    <a:pt x="14858" y="723"/>
                  </a:lnTo>
                  <a:lnTo>
                    <a:pt x="13474" y="12"/>
                  </a:lnTo>
                  <a:lnTo>
                    <a:pt x="10299" y="12"/>
                  </a:lnTo>
                  <a:lnTo>
                    <a:pt x="8496" y="1219"/>
                  </a:lnTo>
                  <a:lnTo>
                    <a:pt x="7429" y="469"/>
                  </a:lnTo>
                  <a:lnTo>
                    <a:pt x="6159" y="139"/>
                  </a:lnTo>
                  <a:lnTo>
                    <a:pt x="1650" y="0"/>
                  </a:lnTo>
                  <a:lnTo>
                    <a:pt x="0" y="2438"/>
                  </a:lnTo>
                  <a:lnTo>
                    <a:pt x="0" y="10972"/>
                  </a:lnTo>
                  <a:lnTo>
                    <a:pt x="3784" y="13309"/>
                  </a:lnTo>
                  <a:lnTo>
                    <a:pt x="8762" y="13309"/>
                  </a:lnTo>
                  <a:lnTo>
                    <a:pt x="10337" y="13004"/>
                  </a:lnTo>
                  <a:lnTo>
                    <a:pt x="11595" y="11709"/>
                  </a:lnTo>
                  <a:lnTo>
                    <a:pt x="14058" y="13347"/>
                  </a:lnTo>
                  <a:lnTo>
                    <a:pt x="20142" y="13423"/>
                  </a:lnTo>
                  <a:lnTo>
                    <a:pt x="21843" y="11353"/>
                  </a:lnTo>
                  <a:lnTo>
                    <a:pt x="22809" y="12344"/>
                  </a:lnTo>
                  <a:lnTo>
                    <a:pt x="23990" y="13093"/>
                  </a:lnTo>
                  <a:lnTo>
                    <a:pt x="27165" y="13360"/>
                  </a:lnTo>
                  <a:lnTo>
                    <a:pt x="30010" y="12954"/>
                  </a:lnTo>
                  <a:lnTo>
                    <a:pt x="30733" y="12242"/>
                  </a:lnTo>
                  <a:lnTo>
                    <a:pt x="31864" y="13157"/>
                  </a:lnTo>
                  <a:lnTo>
                    <a:pt x="33324" y="13373"/>
                  </a:lnTo>
                  <a:lnTo>
                    <a:pt x="39090" y="13398"/>
                  </a:lnTo>
                  <a:lnTo>
                    <a:pt x="39293" y="12636"/>
                  </a:lnTo>
                  <a:lnTo>
                    <a:pt x="40182" y="11531"/>
                  </a:lnTo>
                  <a:lnTo>
                    <a:pt x="41122" y="12433"/>
                  </a:lnTo>
                  <a:lnTo>
                    <a:pt x="42252" y="13106"/>
                  </a:lnTo>
                  <a:lnTo>
                    <a:pt x="45338" y="13360"/>
                  </a:lnTo>
                  <a:lnTo>
                    <a:pt x="48183" y="12954"/>
                  </a:lnTo>
                  <a:lnTo>
                    <a:pt x="48907" y="12242"/>
                  </a:lnTo>
                  <a:lnTo>
                    <a:pt x="50037" y="13157"/>
                  </a:lnTo>
                  <a:lnTo>
                    <a:pt x="51485" y="13373"/>
                  </a:lnTo>
                  <a:lnTo>
                    <a:pt x="57264" y="13398"/>
                  </a:lnTo>
                  <a:lnTo>
                    <a:pt x="57454" y="12636"/>
                  </a:lnTo>
                  <a:lnTo>
                    <a:pt x="58356" y="11531"/>
                  </a:lnTo>
                  <a:lnTo>
                    <a:pt x="59283" y="12433"/>
                  </a:lnTo>
                  <a:lnTo>
                    <a:pt x="60413" y="13106"/>
                  </a:lnTo>
                  <a:lnTo>
                    <a:pt x="63512" y="13360"/>
                  </a:lnTo>
                  <a:lnTo>
                    <a:pt x="66357" y="12954"/>
                  </a:lnTo>
                  <a:lnTo>
                    <a:pt x="67068" y="12242"/>
                  </a:lnTo>
                  <a:lnTo>
                    <a:pt x="68198" y="13157"/>
                  </a:lnTo>
                  <a:lnTo>
                    <a:pt x="69659" y="13373"/>
                  </a:lnTo>
                  <a:lnTo>
                    <a:pt x="75437" y="13398"/>
                  </a:lnTo>
                  <a:lnTo>
                    <a:pt x="75628" y="12636"/>
                  </a:lnTo>
                  <a:lnTo>
                    <a:pt x="76517" y="11531"/>
                  </a:lnTo>
                  <a:lnTo>
                    <a:pt x="77457" y="12433"/>
                  </a:lnTo>
                  <a:lnTo>
                    <a:pt x="78587" y="13106"/>
                  </a:lnTo>
                  <a:lnTo>
                    <a:pt x="81673" y="13360"/>
                  </a:lnTo>
                  <a:lnTo>
                    <a:pt x="84518" y="12954"/>
                  </a:lnTo>
                  <a:lnTo>
                    <a:pt x="85242" y="12242"/>
                  </a:lnTo>
                  <a:lnTo>
                    <a:pt x="86385" y="13157"/>
                  </a:lnTo>
                  <a:lnTo>
                    <a:pt x="87833" y="13373"/>
                  </a:lnTo>
                  <a:lnTo>
                    <a:pt x="93598" y="13398"/>
                  </a:lnTo>
                  <a:lnTo>
                    <a:pt x="93802" y="12636"/>
                  </a:lnTo>
                  <a:lnTo>
                    <a:pt x="94691" y="11531"/>
                  </a:lnTo>
                  <a:lnTo>
                    <a:pt x="95630" y="12433"/>
                  </a:lnTo>
                  <a:lnTo>
                    <a:pt x="96761" y="13106"/>
                  </a:lnTo>
                  <a:lnTo>
                    <a:pt x="99847" y="13360"/>
                  </a:lnTo>
                  <a:lnTo>
                    <a:pt x="102692" y="12954"/>
                  </a:lnTo>
                  <a:lnTo>
                    <a:pt x="103416" y="12242"/>
                  </a:lnTo>
                  <a:lnTo>
                    <a:pt x="104546" y="13157"/>
                  </a:lnTo>
                  <a:lnTo>
                    <a:pt x="105994" y="13360"/>
                  </a:lnTo>
                  <a:lnTo>
                    <a:pt x="110515" y="13398"/>
                  </a:lnTo>
                  <a:lnTo>
                    <a:pt x="111226" y="12052"/>
                  </a:lnTo>
                  <a:lnTo>
                    <a:pt x="111975" y="9093"/>
                  </a:lnTo>
                  <a:lnTo>
                    <a:pt x="110921" y="6578"/>
                  </a:lnTo>
                  <a:lnTo>
                    <a:pt x="110172" y="5537"/>
                  </a:lnTo>
                  <a:lnTo>
                    <a:pt x="108330" y="2984"/>
                  </a:lnTo>
                  <a:lnTo>
                    <a:pt x="106883" y="12"/>
                  </a:lnTo>
                  <a:close/>
                </a:path>
              </a:pathLst>
            </a:custGeom>
            <a:solidFill>
              <a:srgbClr val="1620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59" name="object 851">
              <a:extLst>
                <a:ext uri="{FF2B5EF4-FFF2-40B4-BE49-F238E27FC236}">
                  <a16:creationId xmlns:a16="http://schemas.microsoft.com/office/drawing/2014/main" id="{A5471820-B9C7-4F2D-95D3-D4966256671A}"/>
                </a:ext>
              </a:extLst>
            </p:cNvPr>
            <p:cNvSpPr/>
            <p:nvPr/>
          </p:nvSpPr>
          <p:spPr>
            <a:xfrm>
              <a:off x="7987360" y="6228337"/>
              <a:ext cx="112395" cy="13970"/>
            </a:xfrm>
            <a:custGeom>
              <a:avLst/>
              <a:gdLst/>
              <a:ahLst/>
              <a:cxnLst/>
              <a:rect l="l" t="t" r="r" b="b"/>
              <a:pathLst>
                <a:path w="112395" h="13970">
                  <a:moveTo>
                    <a:pt x="110172" y="5537"/>
                  </a:moveTo>
                  <a:lnTo>
                    <a:pt x="108330" y="2984"/>
                  </a:lnTo>
                  <a:lnTo>
                    <a:pt x="106883" y="12"/>
                  </a:lnTo>
                  <a:lnTo>
                    <a:pt x="102349" y="12"/>
                  </a:lnTo>
                  <a:lnTo>
                    <a:pt x="101079" y="12"/>
                  </a:lnTo>
                  <a:lnTo>
                    <a:pt x="99593" y="1003"/>
                  </a:lnTo>
                  <a:lnTo>
                    <a:pt x="99034" y="1460"/>
                  </a:lnTo>
                  <a:lnTo>
                    <a:pt x="98094" y="736"/>
                  </a:lnTo>
                  <a:lnTo>
                    <a:pt x="96608" y="12"/>
                  </a:lnTo>
                  <a:lnTo>
                    <a:pt x="93814" y="12"/>
                  </a:lnTo>
                  <a:lnTo>
                    <a:pt x="91592" y="12"/>
                  </a:lnTo>
                  <a:lnTo>
                    <a:pt x="89217" y="1041"/>
                  </a:lnTo>
                  <a:lnTo>
                    <a:pt x="88531" y="1714"/>
                  </a:lnTo>
                  <a:lnTo>
                    <a:pt x="87477" y="749"/>
                  </a:lnTo>
                  <a:lnTo>
                    <a:pt x="86093" y="12"/>
                  </a:lnTo>
                  <a:lnTo>
                    <a:pt x="84188" y="12"/>
                  </a:lnTo>
                  <a:lnTo>
                    <a:pt x="82905" y="12"/>
                  </a:lnTo>
                  <a:lnTo>
                    <a:pt x="81432" y="1003"/>
                  </a:lnTo>
                  <a:lnTo>
                    <a:pt x="80860" y="1460"/>
                  </a:lnTo>
                  <a:lnTo>
                    <a:pt x="79933" y="736"/>
                  </a:lnTo>
                  <a:lnTo>
                    <a:pt x="78435" y="12"/>
                  </a:lnTo>
                  <a:lnTo>
                    <a:pt x="75653" y="12"/>
                  </a:lnTo>
                  <a:lnTo>
                    <a:pt x="73431" y="12"/>
                  </a:lnTo>
                  <a:lnTo>
                    <a:pt x="71043" y="1041"/>
                  </a:lnTo>
                  <a:lnTo>
                    <a:pt x="70357" y="1714"/>
                  </a:lnTo>
                  <a:lnTo>
                    <a:pt x="69316" y="749"/>
                  </a:lnTo>
                  <a:lnTo>
                    <a:pt x="67919" y="12"/>
                  </a:lnTo>
                  <a:lnTo>
                    <a:pt x="66014" y="12"/>
                  </a:lnTo>
                  <a:lnTo>
                    <a:pt x="64744" y="12"/>
                  </a:lnTo>
                  <a:lnTo>
                    <a:pt x="63258" y="1003"/>
                  </a:lnTo>
                  <a:lnTo>
                    <a:pt x="62687" y="1460"/>
                  </a:lnTo>
                  <a:lnTo>
                    <a:pt x="61760" y="736"/>
                  </a:lnTo>
                  <a:lnTo>
                    <a:pt x="60261" y="12"/>
                  </a:lnTo>
                  <a:lnTo>
                    <a:pt x="57480" y="12"/>
                  </a:lnTo>
                  <a:lnTo>
                    <a:pt x="55244" y="12"/>
                  </a:lnTo>
                  <a:lnTo>
                    <a:pt x="52870" y="1041"/>
                  </a:lnTo>
                  <a:lnTo>
                    <a:pt x="52184" y="1714"/>
                  </a:lnTo>
                  <a:lnTo>
                    <a:pt x="51142" y="749"/>
                  </a:lnTo>
                  <a:lnTo>
                    <a:pt x="49758" y="12"/>
                  </a:lnTo>
                  <a:lnTo>
                    <a:pt x="47853" y="12"/>
                  </a:lnTo>
                  <a:lnTo>
                    <a:pt x="46570" y="12"/>
                  </a:lnTo>
                  <a:lnTo>
                    <a:pt x="45084" y="1003"/>
                  </a:lnTo>
                  <a:lnTo>
                    <a:pt x="44526" y="1460"/>
                  </a:lnTo>
                  <a:lnTo>
                    <a:pt x="43599" y="736"/>
                  </a:lnTo>
                  <a:lnTo>
                    <a:pt x="42100" y="12"/>
                  </a:lnTo>
                  <a:lnTo>
                    <a:pt x="39306" y="12"/>
                  </a:lnTo>
                  <a:lnTo>
                    <a:pt x="37083" y="12"/>
                  </a:lnTo>
                  <a:lnTo>
                    <a:pt x="34709" y="1041"/>
                  </a:lnTo>
                  <a:lnTo>
                    <a:pt x="34023" y="1714"/>
                  </a:lnTo>
                  <a:lnTo>
                    <a:pt x="32981" y="749"/>
                  </a:lnTo>
                  <a:lnTo>
                    <a:pt x="31584" y="12"/>
                  </a:lnTo>
                  <a:lnTo>
                    <a:pt x="29679" y="12"/>
                  </a:lnTo>
                  <a:lnTo>
                    <a:pt x="28397" y="12"/>
                  </a:lnTo>
                  <a:lnTo>
                    <a:pt x="26923" y="1003"/>
                  </a:lnTo>
                  <a:lnTo>
                    <a:pt x="26352" y="1460"/>
                  </a:lnTo>
                  <a:lnTo>
                    <a:pt x="25425" y="736"/>
                  </a:lnTo>
                  <a:lnTo>
                    <a:pt x="23926" y="12"/>
                  </a:lnTo>
                  <a:lnTo>
                    <a:pt x="21145" y="12"/>
                  </a:lnTo>
                  <a:lnTo>
                    <a:pt x="18961" y="12"/>
                  </a:lnTo>
                  <a:lnTo>
                    <a:pt x="16636" y="990"/>
                  </a:lnTo>
                  <a:lnTo>
                    <a:pt x="15900" y="1676"/>
                  </a:lnTo>
                  <a:lnTo>
                    <a:pt x="14858" y="723"/>
                  </a:lnTo>
                  <a:lnTo>
                    <a:pt x="13474" y="12"/>
                  </a:lnTo>
                  <a:lnTo>
                    <a:pt x="11582" y="12"/>
                  </a:lnTo>
                  <a:lnTo>
                    <a:pt x="10299" y="12"/>
                  </a:lnTo>
                  <a:lnTo>
                    <a:pt x="9067" y="774"/>
                  </a:lnTo>
                  <a:lnTo>
                    <a:pt x="8496" y="1219"/>
                  </a:lnTo>
                  <a:lnTo>
                    <a:pt x="7429" y="469"/>
                  </a:lnTo>
                  <a:lnTo>
                    <a:pt x="6159" y="139"/>
                  </a:lnTo>
                  <a:lnTo>
                    <a:pt x="4559" y="88"/>
                  </a:lnTo>
                  <a:lnTo>
                    <a:pt x="1650" y="0"/>
                  </a:lnTo>
                  <a:lnTo>
                    <a:pt x="0" y="2438"/>
                  </a:lnTo>
                  <a:lnTo>
                    <a:pt x="0" y="5600"/>
                  </a:lnTo>
                  <a:lnTo>
                    <a:pt x="0" y="10972"/>
                  </a:lnTo>
                  <a:lnTo>
                    <a:pt x="3784" y="13309"/>
                  </a:lnTo>
                  <a:lnTo>
                    <a:pt x="7061" y="13309"/>
                  </a:lnTo>
                  <a:lnTo>
                    <a:pt x="8762" y="13309"/>
                  </a:lnTo>
                  <a:lnTo>
                    <a:pt x="10337" y="13004"/>
                  </a:lnTo>
                  <a:lnTo>
                    <a:pt x="11595" y="11709"/>
                  </a:lnTo>
                  <a:lnTo>
                    <a:pt x="12839" y="12585"/>
                  </a:lnTo>
                  <a:lnTo>
                    <a:pt x="14058" y="13347"/>
                  </a:lnTo>
                  <a:lnTo>
                    <a:pt x="16738" y="13385"/>
                  </a:lnTo>
                  <a:lnTo>
                    <a:pt x="20142" y="13423"/>
                  </a:lnTo>
                  <a:lnTo>
                    <a:pt x="20942" y="12458"/>
                  </a:lnTo>
                  <a:lnTo>
                    <a:pt x="21843" y="11353"/>
                  </a:lnTo>
                  <a:lnTo>
                    <a:pt x="22809" y="12344"/>
                  </a:lnTo>
                  <a:lnTo>
                    <a:pt x="23990" y="13093"/>
                  </a:lnTo>
                  <a:lnTo>
                    <a:pt x="25450" y="13220"/>
                  </a:lnTo>
                  <a:lnTo>
                    <a:pt x="27165" y="13360"/>
                  </a:lnTo>
                  <a:lnTo>
                    <a:pt x="30010" y="12954"/>
                  </a:lnTo>
                  <a:lnTo>
                    <a:pt x="30733" y="12242"/>
                  </a:lnTo>
                  <a:lnTo>
                    <a:pt x="31864" y="13157"/>
                  </a:lnTo>
                  <a:lnTo>
                    <a:pt x="33324" y="13373"/>
                  </a:lnTo>
                  <a:lnTo>
                    <a:pt x="35661" y="13385"/>
                  </a:lnTo>
                  <a:lnTo>
                    <a:pt x="39090" y="13398"/>
                  </a:lnTo>
                  <a:lnTo>
                    <a:pt x="39293" y="12636"/>
                  </a:lnTo>
                  <a:lnTo>
                    <a:pt x="40182" y="11531"/>
                  </a:lnTo>
                  <a:lnTo>
                    <a:pt x="41122" y="12433"/>
                  </a:lnTo>
                  <a:lnTo>
                    <a:pt x="42252" y="13106"/>
                  </a:lnTo>
                  <a:lnTo>
                    <a:pt x="43611" y="13220"/>
                  </a:lnTo>
                  <a:lnTo>
                    <a:pt x="45338" y="13360"/>
                  </a:lnTo>
                  <a:lnTo>
                    <a:pt x="48183" y="12954"/>
                  </a:lnTo>
                  <a:lnTo>
                    <a:pt x="48907" y="12242"/>
                  </a:lnTo>
                  <a:lnTo>
                    <a:pt x="50037" y="13157"/>
                  </a:lnTo>
                  <a:lnTo>
                    <a:pt x="51485" y="13373"/>
                  </a:lnTo>
                  <a:lnTo>
                    <a:pt x="53835" y="13385"/>
                  </a:lnTo>
                  <a:lnTo>
                    <a:pt x="57264" y="13398"/>
                  </a:lnTo>
                  <a:lnTo>
                    <a:pt x="57454" y="12636"/>
                  </a:lnTo>
                  <a:lnTo>
                    <a:pt x="58356" y="11531"/>
                  </a:lnTo>
                  <a:lnTo>
                    <a:pt x="59283" y="12433"/>
                  </a:lnTo>
                  <a:lnTo>
                    <a:pt x="60413" y="13106"/>
                  </a:lnTo>
                  <a:lnTo>
                    <a:pt x="61785" y="13220"/>
                  </a:lnTo>
                  <a:lnTo>
                    <a:pt x="63512" y="13360"/>
                  </a:lnTo>
                  <a:lnTo>
                    <a:pt x="66357" y="12954"/>
                  </a:lnTo>
                  <a:lnTo>
                    <a:pt x="67068" y="12242"/>
                  </a:lnTo>
                  <a:lnTo>
                    <a:pt x="68198" y="13157"/>
                  </a:lnTo>
                  <a:lnTo>
                    <a:pt x="69659" y="13373"/>
                  </a:lnTo>
                  <a:lnTo>
                    <a:pt x="71996" y="13385"/>
                  </a:lnTo>
                  <a:lnTo>
                    <a:pt x="75437" y="13398"/>
                  </a:lnTo>
                  <a:lnTo>
                    <a:pt x="75628" y="12636"/>
                  </a:lnTo>
                  <a:lnTo>
                    <a:pt x="76517" y="11531"/>
                  </a:lnTo>
                  <a:lnTo>
                    <a:pt x="77457" y="12433"/>
                  </a:lnTo>
                  <a:lnTo>
                    <a:pt x="78587" y="13106"/>
                  </a:lnTo>
                  <a:lnTo>
                    <a:pt x="79959" y="13220"/>
                  </a:lnTo>
                  <a:lnTo>
                    <a:pt x="81673" y="13360"/>
                  </a:lnTo>
                  <a:lnTo>
                    <a:pt x="84518" y="12954"/>
                  </a:lnTo>
                  <a:lnTo>
                    <a:pt x="85242" y="12242"/>
                  </a:lnTo>
                  <a:lnTo>
                    <a:pt x="86385" y="13157"/>
                  </a:lnTo>
                  <a:lnTo>
                    <a:pt x="87833" y="13373"/>
                  </a:lnTo>
                  <a:lnTo>
                    <a:pt x="90169" y="13385"/>
                  </a:lnTo>
                  <a:lnTo>
                    <a:pt x="93598" y="13398"/>
                  </a:lnTo>
                  <a:lnTo>
                    <a:pt x="93802" y="12636"/>
                  </a:lnTo>
                  <a:lnTo>
                    <a:pt x="94691" y="11531"/>
                  </a:lnTo>
                  <a:lnTo>
                    <a:pt x="95630" y="12433"/>
                  </a:lnTo>
                  <a:lnTo>
                    <a:pt x="96761" y="13106"/>
                  </a:lnTo>
                  <a:lnTo>
                    <a:pt x="98120" y="13220"/>
                  </a:lnTo>
                  <a:lnTo>
                    <a:pt x="99847" y="13360"/>
                  </a:lnTo>
                  <a:lnTo>
                    <a:pt x="102692" y="12954"/>
                  </a:lnTo>
                  <a:lnTo>
                    <a:pt x="103416" y="12242"/>
                  </a:lnTo>
                  <a:lnTo>
                    <a:pt x="104546" y="13157"/>
                  </a:lnTo>
                  <a:lnTo>
                    <a:pt x="105994" y="13360"/>
                  </a:lnTo>
                  <a:lnTo>
                    <a:pt x="108343" y="13385"/>
                  </a:lnTo>
                  <a:lnTo>
                    <a:pt x="110515" y="13398"/>
                  </a:lnTo>
                  <a:lnTo>
                    <a:pt x="111226" y="12052"/>
                  </a:lnTo>
                  <a:lnTo>
                    <a:pt x="111594" y="10566"/>
                  </a:lnTo>
                  <a:lnTo>
                    <a:pt x="111975" y="9093"/>
                  </a:lnTo>
                  <a:lnTo>
                    <a:pt x="110921" y="6578"/>
                  </a:lnTo>
                  <a:lnTo>
                    <a:pt x="110172" y="5537"/>
                  </a:lnTo>
                  <a:close/>
                </a:path>
              </a:pathLst>
            </a:custGeom>
            <a:ln w="3175">
              <a:solidFill>
                <a:srgbClr val="16204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0" name="object 852">
              <a:extLst>
                <a:ext uri="{FF2B5EF4-FFF2-40B4-BE49-F238E27FC236}">
                  <a16:creationId xmlns:a16="http://schemas.microsoft.com/office/drawing/2014/main" id="{C42E264A-ECE8-476B-85E9-60EF4EC19F6B}"/>
                </a:ext>
              </a:extLst>
            </p:cNvPr>
            <p:cNvSpPr/>
            <p:nvPr/>
          </p:nvSpPr>
          <p:spPr>
            <a:xfrm>
              <a:off x="7979992" y="6244241"/>
              <a:ext cx="128905" cy="163830"/>
            </a:xfrm>
            <a:custGeom>
              <a:avLst/>
              <a:gdLst/>
              <a:ahLst/>
              <a:cxnLst/>
              <a:rect l="l" t="t" r="r" b="b"/>
              <a:pathLst>
                <a:path w="128904" h="163829">
                  <a:moveTo>
                    <a:pt x="128409" y="0"/>
                  </a:moveTo>
                  <a:lnTo>
                    <a:pt x="0" y="0"/>
                  </a:lnTo>
                  <a:lnTo>
                    <a:pt x="0" y="73164"/>
                  </a:lnTo>
                  <a:lnTo>
                    <a:pt x="4666" y="99218"/>
                  </a:lnTo>
                  <a:lnTo>
                    <a:pt x="16051" y="121813"/>
                  </a:lnTo>
                  <a:lnTo>
                    <a:pt x="35749" y="142610"/>
                  </a:lnTo>
                  <a:lnTo>
                    <a:pt x="65354" y="163271"/>
                  </a:lnTo>
                  <a:lnTo>
                    <a:pt x="94944" y="142610"/>
                  </a:lnTo>
                  <a:lnTo>
                    <a:pt x="114426" y="121813"/>
                  </a:lnTo>
                  <a:lnTo>
                    <a:pt x="125136" y="99218"/>
                  </a:lnTo>
                  <a:lnTo>
                    <a:pt x="128409" y="73164"/>
                  </a:lnTo>
                  <a:lnTo>
                    <a:pt x="128409" y="0"/>
                  </a:lnTo>
                  <a:close/>
                </a:path>
              </a:pathLst>
            </a:custGeom>
            <a:solidFill>
              <a:srgbClr val="1620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1" name="object 853">
              <a:extLst>
                <a:ext uri="{FF2B5EF4-FFF2-40B4-BE49-F238E27FC236}">
                  <a16:creationId xmlns:a16="http://schemas.microsoft.com/office/drawing/2014/main" id="{050BFC54-A80D-4FA1-82F6-F63F6007DEF9}"/>
                </a:ext>
              </a:extLst>
            </p:cNvPr>
            <p:cNvSpPr/>
            <p:nvPr/>
          </p:nvSpPr>
          <p:spPr>
            <a:xfrm>
              <a:off x="7979992" y="6244241"/>
              <a:ext cx="128905" cy="163830"/>
            </a:xfrm>
            <a:custGeom>
              <a:avLst/>
              <a:gdLst/>
              <a:ahLst/>
              <a:cxnLst/>
              <a:rect l="l" t="t" r="r" b="b"/>
              <a:pathLst>
                <a:path w="128904" h="163829">
                  <a:moveTo>
                    <a:pt x="65354" y="163271"/>
                  </a:moveTo>
                  <a:lnTo>
                    <a:pt x="94944" y="142610"/>
                  </a:lnTo>
                  <a:lnTo>
                    <a:pt x="114426" y="121813"/>
                  </a:lnTo>
                  <a:lnTo>
                    <a:pt x="125136" y="99218"/>
                  </a:lnTo>
                  <a:lnTo>
                    <a:pt x="128409" y="73164"/>
                  </a:lnTo>
                  <a:lnTo>
                    <a:pt x="128409" y="0"/>
                  </a:lnTo>
                  <a:lnTo>
                    <a:pt x="0" y="0"/>
                  </a:lnTo>
                  <a:lnTo>
                    <a:pt x="0" y="73164"/>
                  </a:lnTo>
                  <a:lnTo>
                    <a:pt x="4666" y="99218"/>
                  </a:lnTo>
                  <a:lnTo>
                    <a:pt x="16051" y="121813"/>
                  </a:lnTo>
                  <a:lnTo>
                    <a:pt x="35749" y="142610"/>
                  </a:lnTo>
                  <a:lnTo>
                    <a:pt x="65354" y="163271"/>
                  </a:lnTo>
                  <a:close/>
                </a:path>
              </a:pathLst>
            </a:custGeom>
            <a:ln w="3175">
              <a:solidFill>
                <a:srgbClr val="16204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2" name="object 854">
              <a:extLst>
                <a:ext uri="{FF2B5EF4-FFF2-40B4-BE49-F238E27FC236}">
                  <a16:creationId xmlns:a16="http://schemas.microsoft.com/office/drawing/2014/main" id="{31554794-9A69-43B7-8D50-F62C721B04D6}"/>
                </a:ext>
              </a:extLst>
            </p:cNvPr>
            <p:cNvSpPr/>
            <p:nvPr/>
          </p:nvSpPr>
          <p:spPr>
            <a:xfrm>
              <a:off x="8014386" y="6167648"/>
              <a:ext cx="59055" cy="60325"/>
            </a:xfrm>
            <a:custGeom>
              <a:avLst/>
              <a:gdLst/>
              <a:ahLst/>
              <a:cxnLst/>
              <a:rect l="l" t="t" r="r" b="b"/>
              <a:pathLst>
                <a:path w="59054" h="60325">
                  <a:moveTo>
                    <a:pt x="22851" y="55956"/>
                  </a:moveTo>
                  <a:lnTo>
                    <a:pt x="11214" y="55956"/>
                  </a:lnTo>
                  <a:lnTo>
                    <a:pt x="11861" y="60248"/>
                  </a:lnTo>
                  <a:lnTo>
                    <a:pt x="14223" y="58851"/>
                  </a:lnTo>
                  <a:lnTo>
                    <a:pt x="14612" y="57810"/>
                  </a:lnTo>
                  <a:lnTo>
                    <a:pt x="16196" y="56934"/>
                  </a:lnTo>
                  <a:lnTo>
                    <a:pt x="17271" y="56070"/>
                  </a:lnTo>
                  <a:lnTo>
                    <a:pt x="22797" y="56070"/>
                  </a:lnTo>
                  <a:close/>
                </a:path>
                <a:path w="59054" h="60325">
                  <a:moveTo>
                    <a:pt x="22797" y="56070"/>
                  </a:moveTo>
                  <a:lnTo>
                    <a:pt x="17271" y="56070"/>
                  </a:lnTo>
                  <a:lnTo>
                    <a:pt x="16048" y="57746"/>
                  </a:lnTo>
                  <a:lnTo>
                    <a:pt x="15925" y="59258"/>
                  </a:lnTo>
                  <a:lnTo>
                    <a:pt x="16840" y="60172"/>
                  </a:lnTo>
                  <a:lnTo>
                    <a:pt x="17716" y="59258"/>
                  </a:lnTo>
                  <a:lnTo>
                    <a:pt x="22009" y="57746"/>
                  </a:lnTo>
                  <a:lnTo>
                    <a:pt x="22797" y="56070"/>
                  </a:lnTo>
                  <a:close/>
                </a:path>
                <a:path w="59054" h="60325">
                  <a:moveTo>
                    <a:pt x="36563" y="54076"/>
                  </a:moveTo>
                  <a:lnTo>
                    <a:pt x="23736" y="54076"/>
                  </a:lnTo>
                  <a:lnTo>
                    <a:pt x="23809" y="55587"/>
                  </a:lnTo>
                  <a:lnTo>
                    <a:pt x="23924" y="56819"/>
                  </a:lnTo>
                  <a:lnTo>
                    <a:pt x="24159" y="58546"/>
                  </a:lnTo>
                  <a:lnTo>
                    <a:pt x="26530" y="59677"/>
                  </a:lnTo>
                  <a:lnTo>
                    <a:pt x="31013" y="58165"/>
                  </a:lnTo>
                  <a:lnTo>
                    <a:pt x="35890" y="55905"/>
                  </a:lnTo>
                  <a:lnTo>
                    <a:pt x="36563" y="54076"/>
                  </a:lnTo>
                  <a:close/>
                </a:path>
                <a:path w="59054" h="60325">
                  <a:moveTo>
                    <a:pt x="8758" y="57759"/>
                  </a:moveTo>
                  <a:lnTo>
                    <a:pt x="4952" y="57759"/>
                  </a:lnTo>
                  <a:lnTo>
                    <a:pt x="7531" y="58661"/>
                  </a:lnTo>
                  <a:lnTo>
                    <a:pt x="8758" y="57759"/>
                  </a:lnTo>
                  <a:close/>
                </a:path>
                <a:path w="59054" h="60325">
                  <a:moveTo>
                    <a:pt x="5868" y="56852"/>
                  </a:moveTo>
                  <a:lnTo>
                    <a:pt x="876" y="58546"/>
                  </a:lnTo>
                  <a:lnTo>
                    <a:pt x="4952" y="57759"/>
                  </a:lnTo>
                  <a:lnTo>
                    <a:pt x="8776" y="57746"/>
                  </a:lnTo>
                  <a:lnTo>
                    <a:pt x="9882" y="56934"/>
                  </a:lnTo>
                  <a:lnTo>
                    <a:pt x="5816" y="56934"/>
                  </a:lnTo>
                  <a:close/>
                </a:path>
                <a:path w="59054" h="60325">
                  <a:moveTo>
                    <a:pt x="57334" y="51803"/>
                  </a:moveTo>
                  <a:lnTo>
                    <a:pt x="43141" y="51803"/>
                  </a:lnTo>
                  <a:lnTo>
                    <a:pt x="44458" y="54278"/>
                  </a:lnTo>
                  <a:lnTo>
                    <a:pt x="46367" y="55587"/>
                  </a:lnTo>
                  <a:lnTo>
                    <a:pt x="45657" y="56534"/>
                  </a:lnTo>
                  <a:lnTo>
                    <a:pt x="46329" y="57797"/>
                  </a:lnTo>
                  <a:lnTo>
                    <a:pt x="54444" y="56819"/>
                  </a:lnTo>
                  <a:lnTo>
                    <a:pt x="58814" y="56819"/>
                  </a:lnTo>
                  <a:lnTo>
                    <a:pt x="58877" y="55206"/>
                  </a:lnTo>
                  <a:lnTo>
                    <a:pt x="58318" y="53746"/>
                  </a:lnTo>
                  <a:lnTo>
                    <a:pt x="57334" y="51803"/>
                  </a:lnTo>
                  <a:close/>
                </a:path>
                <a:path w="59054" h="60325">
                  <a:moveTo>
                    <a:pt x="43391" y="53212"/>
                  </a:moveTo>
                  <a:lnTo>
                    <a:pt x="36880" y="53212"/>
                  </a:lnTo>
                  <a:lnTo>
                    <a:pt x="38277" y="56070"/>
                  </a:lnTo>
                  <a:lnTo>
                    <a:pt x="43078" y="57467"/>
                  </a:lnTo>
                  <a:lnTo>
                    <a:pt x="45072" y="57315"/>
                  </a:lnTo>
                  <a:lnTo>
                    <a:pt x="45657" y="56534"/>
                  </a:lnTo>
                  <a:lnTo>
                    <a:pt x="44458" y="54278"/>
                  </a:lnTo>
                  <a:lnTo>
                    <a:pt x="43459" y="53593"/>
                  </a:lnTo>
                  <a:lnTo>
                    <a:pt x="43391" y="53212"/>
                  </a:lnTo>
                  <a:close/>
                </a:path>
                <a:path w="59054" h="60325">
                  <a:moveTo>
                    <a:pt x="58814" y="56819"/>
                  </a:moveTo>
                  <a:lnTo>
                    <a:pt x="54444" y="56819"/>
                  </a:lnTo>
                  <a:lnTo>
                    <a:pt x="58800" y="57175"/>
                  </a:lnTo>
                  <a:lnTo>
                    <a:pt x="58814" y="56819"/>
                  </a:lnTo>
                  <a:close/>
                </a:path>
                <a:path w="59054" h="60325">
                  <a:moveTo>
                    <a:pt x="6489" y="56641"/>
                  </a:moveTo>
                  <a:lnTo>
                    <a:pt x="5868" y="56852"/>
                  </a:lnTo>
                  <a:lnTo>
                    <a:pt x="6489" y="56641"/>
                  </a:lnTo>
                  <a:close/>
                </a:path>
                <a:path w="59054" h="60325">
                  <a:moveTo>
                    <a:pt x="10280" y="56641"/>
                  </a:moveTo>
                  <a:lnTo>
                    <a:pt x="6489" y="56641"/>
                  </a:lnTo>
                  <a:lnTo>
                    <a:pt x="5816" y="56934"/>
                  </a:lnTo>
                  <a:lnTo>
                    <a:pt x="9882" y="56934"/>
                  </a:lnTo>
                  <a:lnTo>
                    <a:pt x="10280" y="56641"/>
                  </a:lnTo>
                  <a:close/>
                </a:path>
                <a:path w="59054" h="60325">
                  <a:moveTo>
                    <a:pt x="46529" y="18199"/>
                  </a:moveTo>
                  <a:lnTo>
                    <a:pt x="18414" y="18199"/>
                  </a:lnTo>
                  <a:lnTo>
                    <a:pt x="19481" y="19113"/>
                  </a:lnTo>
                  <a:lnTo>
                    <a:pt x="20319" y="20142"/>
                  </a:lnTo>
                  <a:lnTo>
                    <a:pt x="24536" y="27431"/>
                  </a:lnTo>
                  <a:lnTo>
                    <a:pt x="22136" y="37680"/>
                  </a:lnTo>
                  <a:lnTo>
                    <a:pt x="15227" y="43980"/>
                  </a:lnTo>
                  <a:lnTo>
                    <a:pt x="13258" y="45364"/>
                  </a:lnTo>
                  <a:lnTo>
                    <a:pt x="5868" y="56852"/>
                  </a:lnTo>
                  <a:lnTo>
                    <a:pt x="6489" y="56641"/>
                  </a:lnTo>
                  <a:lnTo>
                    <a:pt x="10280" y="56641"/>
                  </a:lnTo>
                  <a:lnTo>
                    <a:pt x="11214" y="55956"/>
                  </a:lnTo>
                  <a:lnTo>
                    <a:pt x="22851" y="55956"/>
                  </a:lnTo>
                  <a:lnTo>
                    <a:pt x="23736" y="54076"/>
                  </a:lnTo>
                  <a:lnTo>
                    <a:pt x="36563" y="54076"/>
                  </a:lnTo>
                  <a:lnTo>
                    <a:pt x="36880" y="53212"/>
                  </a:lnTo>
                  <a:lnTo>
                    <a:pt x="43391" y="53212"/>
                  </a:lnTo>
                  <a:lnTo>
                    <a:pt x="43141" y="51803"/>
                  </a:lnTo>
                  <a:lnTo>
                    <a:pt x="57334" y="51803"/>
                  </a:lnTo>
                  <a:lnTo>
                    <a:pt x="55532" y="48247"/>
                  </a:lnTo>
                  <a:lnTo>
                    <a:pt x="50444" y="48247"/>
                  </a:lnTo>
                  <a:lnTo>
                    <a:pt x="48336" y="34594"/>
                  </a:lnTo>
                  <a:lnTo>
                    <a:pt x="48679" y="26542"/>
                  </a:lnTo>
                  <a:lnTo>
                    <a:pt x="46529" y="18199"/>
                  </a:lnTo>
                  <a:close/>
                </a:path>
                <a:path w="59054" h="60325">
                  <a:moveTo>
                    <a:pt x="44458" y="54278"/>
                  </a:moveTo>
                  <a:lnTo>
                    <a:pt x="45657" y="56534"/>
                  </a:lnTo>
                  <a:lnTo>
                    <a:pt x="46367" y="55587"/>
                  </a:lnTo>
                  <a:lnTo>
                    <a:pt x="44458" y="54278"/>
                  </a:lnTo>
                  <a:close/>
                </a:path>
                <a:path w="59054" h="60325">
                  <a:moveTo>
                    <a:pt x="55371" y="47929"/>
                  </a:moveTo>
                  <a:lnTo>
                    <a:pt x="50444" y="48247"/>
                  </a:lnTo>
                  <a:lnTo>
                    <a:pt x="55532" y="48247"/>
                  </a:lnTo>
                  <a:lnTo>
                    <a:pt x="55371" y="47929"/>
                  </a:lnTo>
                  <a:close/>
                </a:path>
                <a:path w="59054" h="60325">
                  <a:moveTo>
                    <a:pt x="14147" y="5600"/>
                  </a:moveTo>
                  <a:lnTo>
                    <a:pt x="11087" y="6121"/>
                  </a:lnTo>
                  <a:lnTo>
                    <a:pt x="1930" y="8166"/>
                  </a:lnTo>
                  <a:lnTo>
                    <a:pt x="0" y="14185"/>
                  </a:lnTo>
                  <a:lnTo>
                    <a:pt x="4292" y="19646"/>
                  </a:lnTo>
                  <a:lnTo>
                    <a:pt x="4376" y="17729"/>
                  </a:lnTo>
                  <a:lnTo>
                    <a:pt x="4597" y="17297"/>
                  </a:lnTo>
                  <a:lnTo>
                    <a:pt x="4926" y="17297"/>
                  </a:lnTo>
                  <a:lnTo>
                    <a:pt x="5270" y="16941"/>
                  </a:lnTo>
                  <a:lnTo>
                    <a:pt x="10312" y="16167"/>
                  </a:lnTo>
                  <a:lnTo>
                    <a:pt x="46006" y="16167"/>
                  </a:lnTo>
                  <a:lnTo>
                    <a:pt x="45453" y="14020"/>
                  </a:lnTo>
                  <a:lnTo>
                    <a:pt x="46100" y="9029"/>
                  </a:lnTo>
                  <a:lnTo>
                    <a:pt x="41759" y="5880"/>
                  </a:lnTo>
                  <a:lnTo>
                    <a:pt x="17779" y="5880"/>
                  </a:lnTo>
                  <a:lnTo>
                    <a:pt x="14147" y="5600"/>
                  </a:lnTo>
                  <a:close/>
                </a:path>
                <a:path w="59054" h="60325">
                  <a:moveTo>
                    <a:pt x="46006" y="16167"/>
                  </a:moveTo>
                  <a:lnTo>
                    <a:pt x="10312" y="16167"/>
                  </a:lnTo>
                  <a:lnTo>
                    <a:pt x="15405" y="16979"/>
                  </a:lnTo>
                  <a:lnTo>
                    <a:pt x="18135" y="18503"/>
                  </a:lnTo>
                  <a:lnTo>
                    <a:pt x="18249" y="18300"/>
                  </a:lnTo>
                  <a:lnTo>
                    <a:pt x="18414" y="18199"/>
                  </a:lnTo>
                  <a:lnTo>
                    <a:pt x="46529" y="18199"/>
                  </a:lnTo>
                  <a:lnTo>
                    <a:pt x="46006" y="16167"/>
                  </a:lnTo>
                  <a:close/>
                </a:path>
                <a:path w="59054" h="60325">
                  <a:moveTo>
                    <a:pt x="4926" y="17297"/>
                  </a:moveTo>
                  <a:lnTo>
                    <a:pt x="4597" y="17297"/>
                  </a:lnTo>
                  <a:lnTo>
                    <a:pt x="4508" y="17729"/>
                  </a:lnTo>
                  <a:lnTo>
                    <a:pt x="4926" y="17297"/>
                  </a:lnTo>
                  <a:close/>
                </a:path>
                <a:path w="59054" h="60325">
                  <a:moveTo>
                    <a:pt x="19088" y="0"/>
                  </a:moveTo>
                  <a:lnTo>
                    <a:pt x="18262" y="4470"/>
                  </a:lnTo>
                  <a:lnTo>
                    <a:pt x="17779" y="5880"/>
                  </a:lnTo>
                  <a:lnTo>
                    <a:pt x="41759" y="5880"/>
                  </a:lnTo>
                  <a:lnTo>
                    <a:pt x="38099" y="3225"/>
                  </a:lnTo>
                  <a:lnTo>
                    <a:pt x="19088" y="0"/>
                  </a:lnTo>
                  <a:close/>
                </a:path>
              </a:pathLst>
            </a:custGeom>
            <a:solidFill>
              <a:srgbClr val="1620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3" name="object 855">
              <a:extLst>
                <a:ext uri="{FF2B5EF4-FFF2-40B4-BE49-F238E27FC236}">
                  <a16:creationId xmlns:a16="http://schemas.microsoft.com/office/drawing/2014/main" id="{17F919A8-370A-4AF9-BB20-CF950067F1F6}"/>
                </a:ext>
              </a:extLst>
            </p:cNvPr>
            <p:cNvSpPr/>
            <p:nvPr/>
          </p:nvSpPr>
          <p:spPr>
            <a:xfrm>
              <a:off x="8014386" y="6167648"/>
              <a:ext cx="59055" cy="60325"/>
            </a:xfrm>
            <a:custGeom>
              <a:avLst/>
              <a:gdLst/>
              <a:ahLst/>
              <a:cxnLst/>
              <a:rect l="l" t="t" r="r" b="b"/>
              <a:pathLst>
                <a:path w="59054" h="60325">
                  <a:moveTo>
                    <a:pt x="58800" y="57175"/>
                  </a:moveTo>
                  <a:lnTo>
                    <a:pt x="58877" y="55206"/>
                  </a:lnTo>
                  <a:lnTo>
                    <a:pt x="58318" y="53746"/>
                  </a:lnTo>
                  <a:lnTo>
                    <a:pt x="55371" y="47929"/>
                  </a:lnTo>
                  <a:lnTo>
                    <a:pt x="50444" y="48247"/>
                  </a:lnTo>
                  <a:lnTo>
                    <a:pt x="48336" y="34594"/>
                  </a:lnTo>
                  <a:lnTo>
                    <a:pt x="48679" y="26542"/>
                  </a:lnTo>
                  <a:lnTo>
                    <a:pt x="45453" y="14020"/>
                  </a:lnTo>
                  <a:lnTo>
                    <a:pt x="45935" y="10299"/>
                  </a:lnTo>
                  <a:lnTo>
                    <a:pt x="46100" y="9029"/>
                  </a:lnTo>
                  <a:lnTo>
                    <a:pt x="38099" y="3225"/>
                  </a:lnTo>
                  <a:lnTo>
                    <a:pt x="29235" y="1727"/>
                  </a:lnTo>
                  <a:lnTo>
                    <a:pt x="19088" y="0"/>
                  </a:lnTo>
                  <a:lnTo>
                    <a:pt x="18262" y="4470"/>
                  </a:lnTo>
                  <a:lnTo>
                    <a:pt x="17779" y="5880"/>
                  </a:lnTo>
                  <a:lnTo>
                    <a:pt x="14147" y="5600"/>
                  </a:lnTo>
                  <a:lnTo>
                    <a:pt x="11087" y="6121"/>
                  </a:lnTo>
                  <a:lnTo>
                    <a:pt x="1930" y="8166"/>
                  </a:lnTo>
                  <a:lnTo>
                    <a:pt x="0" y="14185"/>
                  </a:lnTo>
                  <a:lnTo>
                    <a:pt x="4292" y="19646"/>
                  </a:lnTo>
                  <a:lnTo>
                    <a:pt x="4190" y="18630"/>
                  </a:lnTo>
                  <a:lnTo>
                    <a:pt x="4305" y="17868"/>
                  </a:lnTo>
                  <a:lnTo>
                    <a:pt x="4597" y="17297"/>
                  </a:lnTo>
                  <a:lnTo>
                    <a:pt x="4559" y="17437"/>
                  </a:lnTo>
                  <a:lnTo>
                    <a:pt x="4521" y="17576"/>
                  </a:lnTo>
                  <a:lnTo>
                    <a:pt x="4508" y="17729"/>
                  </a:lnTo>
                  <a:lnTo>
                    <a:pt x="5270" y="16941"/>
                  </a:lnTo>
                  <a:lnTo>
                    <a:pt x="6984" y="16675"/>
                  </a:lnTo>
                  <a:lnTo>
                    <a:pt x="10312" y="16167"/>
                  </a:lnTo>
                  <a:lnTo>
                    <a:pt x="15405" y="16979"/>
                  </a:lnTo>
                  <a:lnTo>
                    <a:pt x="18135" y="18503"/>
                  </a:lnTo>
                  <a:lnTo>
                    <a:pt x="18249" y="18300"/>
                  </a:lnTo>
                  <a:lnTo>
                    <a:pt x="18414" y="18199"/>
                  </a:lnTo>
                  <a:lnTo>
                    <a:pt x="19481" y="19113"/>
                  </a:lnTo>
                  <a:lnTo>
                    <a:pt x="20319" y="20142"/>
                  </a:lnTo>
                  <a:lnTo>
                    <a:pt x="20967" y="21259"/>
                  </a:lnTo>
                  <a:lnTo>
                    <a:pt x="24536" y="27431"/>
                  </a:lnTo>
                  <a:lnTo>
                    <a:pt x="22136" y="37680"/>
                  </a:lnTo>
                  <a:lnTo>
                    <a:pt x="19113" y="40436"/>
                  </a:lnTo>
                  <a:lnTo>
                    <a:pt x="15227" y="43980"/>
                  </a:lnTo>
                  <a:lnTo>
                    <a:pt x="13258" y="45364"/>
                  </a:lnTo>
                  <a:lnTo>
                    <a:pt x="9537" y="51155"/>
                  </a:lnTo>
                  <a:lnTo>
                    <a:pt x="5816" y="56934"/>
                  </a:lnTo>
                  <a:lnTo>
                    <a:pt x="6489" y="56641"/>
                  </a:lnTo>
                  <a:lnTo>
                    <a:pt x="876" y="58546"/>
                  </a:lnTo>
                  <a:lnTo>
                    <a:pt x="4952" y="57759"/>
                  </a:lnTo>
                  <a:lnTo>
                    <a:pt x="7531" y="58661"/>
                  </a:lnTo>
                  <a:lnTo>
                    <a:pt x="11214" y="55956"/>
                  </a:lnTo>
                  <a:lnTo>
                    <a:pt x="11861" y="60248"/>
                  </a:lnTo>
                  <a:lnTo>
                    <a:pt x="14223" y="58851"/>
                  </a:lnTo>
                  <a:lnTo>
                    <a:pt x="14617" y="57797"/>
                  </a:lnTo>
                  <a:lnTo>
                    <a:pt x="16243" y="56908"/>
                  </a:lnTo>
                  <a:lnTo>
                    <a:pt x="17271" y="56070"/>
                  </a:lnTo>
                  <a:lnTo>
                    <a:pt x="16001" y="57810"/>
                  </a:lnTo>
                  <a:lnTo>
                    <a:pt x="15900" y="59232"/>
                  </a:lnTo>
                  <a:lnTo>
                    <a:pt x="16840" y="60172"/>
                  </a:lnTo>
                  <a:lnTo>
                    <a:pt x="17716" y="59258"/>
                  </a:lnTo>
                  <a:lnTo>
                    <a:pt x="22009" y="57746"/>
                  </a:lnTo>
                  <a:lnTo>
                    <a:pt x="23736" y="54076"/>
                  </a:lnTo>
                  <a:lnTo>
                    <a:pt x="23837" y="56184"/>
                  </a:lnTo>
                  <a:lnTo>
                    <a:pt x="24168" y="58610"/>
                  </a:lnTo>
                  <a:lnTo>
                    <a:pt x="26530" y="59677"/>
                  </a:lnTo>
                  <a:lnTo>
                    <a:pt x="31013" y="58165"/>
                  </a:lnTo>
                  <a:lnTo>
                    <a:pt x="35890" y="55905"/>
                  </a:lnTo>
                  <a:lnTo>
                    <a:pt x="36880" y="53212"/>
                  </a:lnTo>
                  <a:lnTo>
                    <a:pt x="38277" y="56070"/>
                  </a:lnTo>
                  <a:lnTo>
                    <a:pt x="43078" y="57467"/>
                  </a:lnTo>
                  <a:lnTo>
                    <a:pt x="45072" y="57315"/>
                  </a:lnTo>
                  <a:lnTo>
                    <a:pt x="46367" y="55587"/>
                  </a:lnTo>
                  <a:lnTo>
                    <a:pt x="43459" y="53593"/>
                  </a:lnTo>
                  <a:lnTo>
                    <a:pt x="43141" y="51803"/>
                  </a:lnTo>
                  <a:lnTo>
                    <a:pt x="46329" y="57797"/>
                  </a:lnTo>
                  <a:lnTo>
                    <a:pt x="54444" y="56819"/>
                  </a:lnTo>
                  <a:lnTo>
                    <a:pt x="58800" y="57175"/>
                  </a:lnTo>
                  <a:close/>
                </a:path>
              </a:pathLst>
            </a:custGeom>
            <a:ln w="3175">
              <a:solidFill>
                <a:srgbClr val="16204C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4" name="object 856">
              <a:extLst>
                <a:ext uri="{FF2B5EF4-FFF2-40B4-BE49-F238E27FC236}">
                  <a16:creationId xmlns:a16="http://schemas.microsoft.com/office/drawing/2014/main" id="{401B4FAB-EB2D-4419-B743-D85CB1662E34}"/>
                </a:ext>
              </a:extLst>
            </p:cNvPr>
            <p:cNvSpPr/>
            <p:nvPr/>
          </p:nvSpPr>
          <p:spPr>
            <a:xfrm>
              <a:off x="7986128" y="6227100"/>
              <a:ext cx="22225" cy="13970"/>
            </a:xfrm>
            <a:custGeom>
              <a:avLst/>
              <a:gdLst/>
              <a:ahLst/>
              <a:cxnLst/>
              <a:rect l="l" t="t" r="r" b="b"/>
              <a:pathLst>
                <a:path w="22225" h="13970">
                  <a:moveTo>
                    <a:pt x="1651" y="0"/>
                  </a:moveTo>
                  <a:lnTo>
                    <a:pt x="0" y="2438"/>
                  </a:lnTo>
                  <a:lnTo>
                    <a:pt x="0" y="10972"/>
                  </a:lnTo>
                  <a:lnTo>
                    <a:pt x="3784" y="13322"/>
                  </a:lnTo>
                  <a:lnTo>
                    <a:pt x="8763" y="13322"/>
                  </a:lnTo>
                  <a:lnTo>
                    <a:pt x="10337" y="13004"/>
                  </a:lnTo>
                  <a:lnTo>
                    <a:pt x="11607" y="11722"/>
                  </a:lnTo>
                  <a:lnTo>
                    <a:pt x="12839" y="12585"/>
                  </a:lnTo>
                  <a:lnTo>
                    <a:pt x="14058" y="13360"/>
                  </a:lnTo>
                  <a:lnTo>
                    <a:pt x="20231" y="13436"/>
                  </a:lnTo>
                  <a:lnTo>
                    <a:pt x="20980" y="12407"/>
                  </a:lnTo>
                  <a:lnTo>
                    <a:pt x="21907" y="11277"/>
                  </a:lnTo>
                  <a:lnTo>
                    <a:pt x="20167" y="9486"/>
                  </a:lnTo>
                  <a:lnTo>
                    <a:pt x="19265" y="7010"/>
                  </a:lnTo>
                  <a:lnTo>
                    <a:pt x="17780" y="4102"/>
                  </a:lnTo>
                  <a:lnTo>
                    <a:pt x="16141" y="25"/>
                  </a:lnTo>
                  <a:lnTo>
                    <a:pt x="10299" y="25"/>
                  </a:lnTo>
                  <a:lnTo>
                    <a:pt x="9067" y="774"/>
                  </a:lnTo>
                  <a:lnTo>
                    <a:pt x="8509" y="1231"/>
                  </a:lnTo>
                  <a:lnTo>
                    <a:pt x="7429" y="469"/>
                  </a:lnTo>
                  <a:lnTo>
                    <a:pt x="6159" y="152"/>
                  </a:lnTo>
                  <a:lnTo>
                    <a:pt x="165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5" name="object 857">
              <a:extLst>
                <a:ext uri="{FF2B5EF4-FFF2-40B4-BE49-F238E27FC236}">
                  <a16:creationId xmlns:a16="http://schemas.microsoft.com/office/drawing/2014/main" id="{6461E505-62BB-4EE0-BCAA-0E37B0C92F7D}"/>
                </a:ext>
              </a:extLst>
            </p:cNvPr>
            <p:cNvSpPr/>
            <p:nvPr/>
          </p:nvSpPr>
          <p:spPr>
            <a:xfrm>
              <a:off x="7986128" y="6227100"/>
              <a:ext cx="22225" cy="13970"/>
            </a:xfrm>
            <a:custGeom>
              <a:avLst/>
              <a:gdLst/>
              <a:ahLst/>
              <a:cxnLst/>
              <a:rect l="l" t="t" r="r" b="b"/>
              <a:pathLst>
                <a:path w="22225" h="13970">
                  <a:moveTo>
                    <a:pt x="21907" y="11277"/>
                  </a:moveTo>
                  <a:lnTo>
                    <a:pt x="20980" y="12407"/>
                  </a:lnTo>
                  <a:lnTo>
                    <a:pt x="20231" y="13436"/>
                  </a:lnTo>
                  <a:lnTo>
                    <a:pt x="16751" y="13398"/>
                  </a:lnTo>
                  <a:lnTo>
                    <a:pt x="14058" y="13360"/>
                  </a:lnTo>
                  <a:lnTo>
                    <a:pt x="12839" y="12585"/>
                  </a:lnTo>
                  <a:lnTo>
                    <a:pt x="11607" y="11722"/>
                  </a:lnTo>
                  <a:lnTo>
                    <a:pt x="10337" y="13004"/>
                  </a:lnTo>
                  <a:lnTo>
                    <a:pt x="8763" y="13322"/>
                  </a:lnTo>
                  <a:lnTo>
                    <a:pt x="7061" y="13322"/>
                  </a:lnTo>
                  <a:lnTo>
                    <a:pt x="3784" y="13322"/>
                  </a:lnTo>
                  <a:lnTo>
                    <a:pt x="0" y="10972"/>
                  </a:lnTo>
                  <a:lnTo>
                    <a:pt x="0" y="5613"/>
                  </a:lnTo>
                  <a:lnTo>
                    <a:pt x="0" y="2438"/>
                  </a:lnTo>
                  <a:lnTo>
                    <a:pt x="1651" y="0"/>
                  </a:lnTo>
                  <a:lnTo>
                    <a:pt x="4559" y="101"/>
                  </a:lnTo>
                  <a:lnTo>
                    <a:pt x="6159" y="152"/>
                  </a:lnTo>
                  <a:lnTo>
                    <a:pt x="7429" y="469"/>
                  </a:lnTo>
                  <a:lnTo>
                    <a:pt x="8509" y="1231"/>
                  </a:lnTo>
                  <a:lnTo>
                    <a:pt x="9067" y="774"/>
                  </a:lnTo>
                  <a:lnTo>
                    <a:pt x="10299" y="25"/>
                  </a:lnTo>
                  <a:lnTo>
                    <a:pt x="11582" y="25"/>
                  </a:lnTo>
                  <a:lnTo>
                    <a:pt x="16141" y="25"/>
                  </a:lnTo>
                  <a:lnTo>
                    <a:pt x="17780" y="4102"/>
                  </a:lnTo>
                  <a:lnTo>
                    <a:pt x="18707" y="5918"/>
                  </a:lnTo>
                  <a:lnTo>
                    <a:pt x="19265" y="7010"/>
                  </a:lnTo>
                  <a:lnTo>
                    <a:pt x="20167" y="9486"/>
                  </a:lnTo>
                  <a:lnTo>
                    <a:pt x="21907" y="11277"/>
                  </a:lnTo>
                  <a:close/>
                </a:path>
              </a:pathLst>
            </a:custGeom>
            <a:ln w="3175">
              <a:solidFill>
                <a:srgbClr val="80818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6" name="object 858">
              <a:extLst>
                <a:ext uri="{FF2B5EF4-FFF2-40B4-BE49-F238E27FC236}">
                  <a16:creationId xmlns:a16="http://schemas.microsoft.com/office/drawing/2014/main" id="{0045E35A-8BF8-4E16-A8BB-DD47B10AA48F}"/>
                </a:ext>
              </a:extLst>
            </p:cNvPr>
            <p:cNvSpPr/>
            <p:nvPr/>
          </p:nvSpPr>
          <p:spPr>
            <a:xfrm>
              <a:off x="8001937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18402" y="0"/>
                  </a:moveTo>
                  <a:lnTo>
                    <a:pt x="12598" y="0"/>
                  </a:lnTo>
                  <a:lnTo>
                    <a:pt x="11112" y="990"/>
                  </a:lnTo>
                  <a:lnTo>
                    <a:pt x="10553" y="1447"/>
                  </a:lnTo>
                  <a:lnTo>
                    <a:pt x="9613" y="723"/>
                  </a:lnTo>
                  <a:lnTo>
                    <a:pt x="8115" y="0"/>
                  </a:lnTo>
                  <a:lnTo>
                    <a:pt x="3060" y="0"/>
                  </a:lnTo>
                  <a:lnTo>
                    <a:pt x="647" y="1066"/>
                  </a:lnTo>
                  <a:lnTo>
                    <a:pt x="0" y="1739"/>
                  </a:lnTo>
                  <a:lnTo>
                    <a:pt x="1409" y="3073"/>
                  </a:lnTo>
                  <a:lnTo>
                    <a:pt x="2146" y="4851"/>
                  </a:lnTo>
                  <a:lnTo>
                    <a:pt x="3683" y="7873"/>
                  </a:lnTo>
                  <a:lnTo>
                    <a:pt x="5664" y="12865"/>
                  </a:lnTo>
                  <a:lnTo>
                    <a:pt x="11366" y="13347"/>
                  </a:lnTo>
                  <a:lnTo>
                    <a:pt x="14211" y="12941"/>
                  </a:lnTo>
                  <a:lnTo>
                    <a:pt x="14935" y="12230"/>
                  </a:lnTo>
                  <a:lnTo>
                    <a:pt x="16065" y="13144"/>
                  </a:lnTo>
                  <a:lnTo>
                    <a:pt x="17513" y="13360"/>
                  </a:lnTo>
                  <a:lnTo>
                    <a:pt x="23329" y="13385"/>
                  </a:lnTo>
                  <a:lnTo>
                    <a:pt x="23482" y="12611"/>
                  </a:lnTo>
                  <a:lnTo>
                    <a:pt x="24409" y="11480"/>
                  </a:lnTo>
                  <a:lnTo>
                    <a:pt x="22542" y="9677"/>
                  </a:lnTo>
                  <a:lnTo>
                    <a:pt x="21526" y="7035"/>
                  </a:lnTo>
                  <a:lnTo>
                    <a:pt x="20027" y="4076"/>
                  </a:lnTo>
                  <a:lnTo>
                    <a:pt x="1840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7" name="object 859">
              <a:extLst>
                <a:ext uri="{FF2B5EF4-FFF2-40B4-BE49-F238E27FC236}">
                  <a16:creationId xmlns:a16="http://schemas.microsoft.com/office/drawing/2014/main" id="{A30AFE52-4E6D-4CC7-AACD-C7773C87768D}"/>
                </a:ext>
              </a:extLst>
            </p:cNvPr>
            <p:cNvSpPr/>
            <p:nvPr/>
          </p:nvSpPr>
          <p:spPr>
            <a:xfrm>
              <a:off x="8001937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24409" y="11480"/>
                  </a:moveTo>
                  <a:lnTo>
                    <a:pt x="23482" y="12611"/>
                  </a:lnTo>
                  <a:lnTo>
                    <a:pt x="23329" y="13385"/>
                  </a:lnTo>
                  <a:lnTo>
                    <a:pt x="19850" y="13373"/>
                  </a:lnTo>
                  <a:lnTo>
                    <a:pt x="17513" y="13360"/>
                  </a:lnTo>
                  <a:lnTo>
                    <a:pt x="16065" y="13144"/>
                  </a:lnTo>
                  <a:lnTo>
                    <a:pt x="14935" y="12230"/>
                  </a:lnTo>
                  <a:lnTo>
                    <a:pt x="14211" y="12941"/>
                  </a:lnTo>
                  <a:lnTo>
                    <a:pt x="11366" y="13347"/>
                  </a:lnTo>
                  <a:lnTo>
                    <a:pt x="9639" y="13207"/>
                  </a:lnTo>
                  <a:lnTo>
                    <a:pt x="5664" y="12865"/>
                  </a:lnTo>
                  <a:lnTo>
                    <a:pt x="3683" y="7873"/>
                  </a:lnTo>
                  <a:lnTo>
                    <a:pt x="2679" y="5892"/>
                  </a:lnTo>
                  <a:lnTo>
                    <a:pt x="2146" y="4851"/>
                  </a:lnTo>
                  <a:lnTo>
                    <a:pt x="1409" y="3073"/>
                  </a:lnTo>
                  <a:lnTo>
                    <a:pt x="0" y="1739"/>
                  </a:lnTo>
                  <a:lnTo>
                    <a:pt x="647" y="1066"/>
                  </a:lnTo>
                  <a:lnTo>
                    <a:pt x="3060" y="0"/>
                  </a:lnTo>
                  <a:lnTo>
                    <a:pt x="5334" y="0"/>
                  </a:lnTo>
                  <a:lnTo>
                    <a:pt x="8115" y="0"/>
                  </a:lnTo>
                  <a:lnTo>
                    <a:pt x="9613" y="723"/>
                  </a:lnTo>
                  <a:lnTo>
                    <a:pt x="10553" y="1447"/>
                  </a:lnTo>
                  <a:lnTo>
                    <a:pt x="11112" y="990"/>
                  </a:lnTo>
                  <a:lnTo>
                    <a:pt x="12598" y="0"/>
                  </a:lnTo>
                  <a:lnTo>
                    <a:pt x="13868" y="0"/>
                  </a:lnTo>
                  <a:lnTo>
                    <a:pt x="18402" y="0"/>
                  </a:lnTo>
                  <a:lnTo>
                    <a:pt x="20027" y="4076"/>
                  </a:lnTo>
                  <a:lnTo>
                    <a:pt x="20955" y="5892"/>
                  </a:lnTo>
                  <a:lnTo>
                    <a:pt x="21526" y="7035"/>
                  </a:lnTo>
                  <a:lnTo>
                    <a:pt x="22542" y="9677"/>
                  </a:lnTo>
                  <a:lnTo>
                    <a:pt x="24409" y="11480"/>
                  </a:lnTo>
                  <a:close/>
                </a:path>
              </a:pathLst>
            </a:custGeom>
            <a:ln w="3175">
              <a:solidFill>
                <a:srgbClr val="80818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8" name="object 860">
              <a:extLst>
                <a:ext uri="{FF2B5EF4-FFF2-40B4-BE49-F238E27FC236}">
                  <a16:creationId xmlns:a16="http://schemas.microsoft.com/office/drawing/2014/main" id="{B4DFAC1B-9FF5-44E4-9BDE-13799F1A5C50}"/>
                </a:ext>
              </a:extLst>
            </p:cNvPr>
            <p:cNvSpPr/>
            <p:nvPr/>
          </p:nvSpPr>
          <p:spPr>
            <a:xfrm>
              <a:off x="8020115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18389" y="0"/>
                  </a:moveTo>
                  <a:lnTo>
                    <a:pt x="12585" y="0"/>
                  </a:lnTo>
                  <a:lnTo>
                    <a:pt x="11099" y="990"/>
                  </a:lnTo>
                  <a:lnTo>
                    <a:pt x="10541" y="1447"/>
                  </a:lnTo>
                  <a:lnTo>
                    <a:pt x="9613" y="723"/>
                  </a:lnTo>
                  <a:lnTo>
                    <a:pt x="8115" y="0"/>
                  </a:lnTo>
                  <a:lnTo>
                    <a:pt x="3060" y="0"/>
                  </a:lnTo>
                  <a:lnTo>
                    <a:pt x="635" y="1066"/>
                  </a:lnTo>
                  <a:lnTo>
                    <a:pt x="0" y="1739"/>
                  </a:lnTo>
                  <a:lnTo>
                    <a:pt x="1397" y="3073"/>
                  </a:lnTo>
                  <a:lnTo>
                    <a:pt x="2146" y="4851"/>
                  </a:lnTo>
                  <a:lnTo>
                    <a:pt x="3683" y="7873"/>
                  </a:lnTo>
                  <a:lnTo>
                    <a:pt x="5664" y="12865"/>
                  </a:lnTo>
                  <a:lnTo>
                    <a:pt x="11353" y="13347"/>
                  </a:lnTo>
                  <a:lnTo>
                    <a:pt x="14198" y="12941"/>
                  </a:lnTo>
                  <a:lnTo>
                    <a:pt x="14922" y="12230"/>
                  </a:lnTo>
                  <a:lnTo>
                    <a:pt x="16052" y="13144"/>
                  </a:lnTo>
                  <a:lnTo>
                    <a:pt x="17513" y="13360"/>
                  </a:lnTo>
                  <a:lnTo>
                    <a:pt x="23317" y="13385"/>
                  </a:lnTo>
                  <a:lnTo>
                    <a:pt x="23469" y="12611"/>
                  </a:lnTo>
                  <a:lnTo>
                    <a:pt x="24396" y="11480"/>
                  </a:lnTo>
                  <a:lnTo>
                    <a:pt x="22529" y="9677"/>
                  </a:lnTo>
                  <a:lnTo>
                    <a:pt x="21526" y="7035"/>
                  </a:lnTo>
                  <a:lnTo>
                    <a:pt x="20015" y="4076"/>
                  </a:lnTo>
                  <a:lnTo>
                    <a:pt x="183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69" name="object 861">
              <a:extLst>
                <a:ext uri="{FF2B5EF4-FFF2-40B4-BE49-F238E27FC236}">
                  <a16:creationId xmlns:a16="http://schemas.microsoft.com/office/drawing/2014/main" id="{EF0BF992-0C79-40DE-8614-6D9DE556CD7E}"/>
                </a:ext>
              </a:extLst>
            </p:cNvPr>
            <p:cNvSpPr/>
            <p:nvPr/>
          </p:nvSpPr>
          <p:spPr>
            <a:xfrm>
              <a:off x="8020115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24396" y="11480"/>
                  </a:moveTo>
                  <a:lnTo>
                    <a:pt x="23469" y="12611"/>
                  </a:lnTo>
                  <a:lnTo>
                    <a:pt x="23317" y="13385"/>
                  </a:lnTo>
                  <a:lnTo>
                    <a:pt x="19850" y="13373"/>
                  </a:lnTo>
                  <a:lnTo>
                    <a:pt x="17513" y="13360"/>
                  </a:lnTo>
                  <a:lnTo>
                    <a:pt x="16052" y="13144"/>
                  </a:lnTo>
                  <a:lnTo>
                    <a:pt x="14922" y="12230"/>
                  </a:lnTo>
                  <a:lnTo>
                    <a:pt x="14198" y="12941"/>
                  </a:lnTo>
                  <a:lnTo>
                    <a:pt x="11353" y="13347"/>
                  </a:lnTo>
                  <a:lnTo>
                    <a:pt x="9626" y="13207"/>
                  </a:lnTo>
                  <a:lnTo>
                    <a:pt x="5664" y="12865"/>
                  </a:lnTo>
                  <a:lnTo>
                    <a:pt x="3683" y="7873"/>
                  </a:lnTo>
                  <a:lnTo>
                    <a:pt x="2667" y="5892"/>
                  </a:lnTo>
                  <a:lnTo>
                    <a:pt x="2146" y="4851"/>
                  </a:lnTo>
                  <a:lnTo>
                    <a:pt x="1397" y="3073"/>
                  </a:lnTo>
                  <a:lnTo>
                    <a:pt x="0" y="1739"/>
                  </a:lnTo>
                  <a:lnTo>
                    <a:pt x="635" y="1066"/>
                  </a:lnTo>
                  <a:lnTo>
                    <a:pt x="3060" y="0"/>
                  </a:lnTo>
                  <a:lnTo>
                    <a:pt x="5334" y="0"/>
                  </a:lnTo>
                  <a:lnTo>
                    <a:pt x="8115" y="0"/>
                  </a:lnTo>
                  <a:lnTo>
                    <a:pt x="9613" y="723"/>
                  </a:lnTo>
                  <a:lnTo>
                    <a:pt x="10541" y="1447"/>
                  </a:lnTo>
                  <a:lnTo>
                    <a:pt x="11099" y="990"/>
                  </a:lnTo>
                  <a:lnTo>
                    <a:pt x="12585" y="0"/>
                  </a:lnTo>
                  <a:lnTo>
                    <a:pt x="13855" y="0"/>
                  </a:lnTo>
                  <a:lnTo>
                    <a:pt x="18389" y="0"/>
                  </a:lnTo>
                  <a:lnTo>
                    <a:pt x="20015" y="4076"/>
                  </a:lnTo>
                  <a:lnTo>
                    <a:pt x="20942" y="5892"/>
                  </a:lnTo>
                  <a:lnTo>
                    <a:pt x="21526" y="7035"/>
                  </a:lnTo>
                  <a:lnTo>
                    <a:pt x="22529" y="9677"/>
                  </a:lnTo>
                  <a:lnTo>
                    <a:pt x="24396" y="11480"/>
                  </a:lnTo>
                  <a:close/>
                </a:path>
              </a:pathLst>
            </a:custGeom>
            <a:ln w="3175">
              <a:solidFill>
                <a:srgbClr val="80818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0" name="object 862">
              <a:extLst>
                <a:ext uri="{FF2B5EF4-FFF2-40B4-BE49-F238E27FC236}">
                  <a16:creationId xmlns:a16="http://schemas.microsoft.com/office/drawing/2014/main" id="{E1365E3F-A633-4CA0-BF7D-4ADBC3E68DF4}"/>
                </a:ext>
              </a:extLst>
            </p:cNvPr>
            <p:cNvSpPr/>
            <p:nvPr/>
          </p:nvSpPr>
          <p:spPr>
            <a:xfrm>
              <a:off x="8038284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18389" y="0"/>
                  </a:moveTo>
                  <a:lnTo>
                    <a:pt x="12585" y="0"/>
                  </a:lnTo>
                  <a:lnTo>
                    <a:pt x="11099" y="990"/>
                  </a:lnTo>
                  <a:lnTo>
                    <a:pt x="10541" y="1447"/>
                  </a:lnTo>
                  <a:lnTo>
                    <a:pt x="9601" y="723"/>
                  </a:lnTo>
                  <a:lnTo>
                    <a:pt x="8115" y="0"/>
                  </a:lnTo>
                  <a:lnTo>
                    <a:pt x="3060" y="0"/>
                  </a:lnTo>
                  <a:lnTo>
                    <a:pt x="635" y="1066"/>
                  </a:lnTo>
                  <a:lnTo>
                    <a:pt x="0" y="1739"/>
                  </a:lnTo>
                  <a:lnTo>
                    <a:pt x="1397" y="3073"/>
                  </a:lnTo>
                  <a:lnTo>
                    <a:pt x="2146" y="4851"/>
                  </a:lnTo>
                  <a:lnTo>
                    <a:pt x="3683" y="7873"/>
                  </a:lnTo>
                  <a:lnTo>
                    <a:pt x="5651" y="12865"/>
                  </a:lnTo>
                  <a:lnTo>
                    <a:pt x="11353" y="13347"/>
                  </a:lnTo>
                  <a:lnTo>
                    <a:pt x="14198" y="12941"/>
                  </a:lnTo>
                  <a:lnTo>
                    <a:pt x="14922" y="12230"/>
                  </a:lnTo>
                  <a:lnTo>
                    <a:pt x="16052" y="13144"/>
                  </a:lnTo>
                  <a:lnTo>
                    <a:pt x="17513" y="13360"/>
                  </a:lnTo>
                  <a:lnTo>
                    <a:pt x="23317" y="13385"/>
                  </a:lnTo>
                  <a:lnTo>
                    <a:pt x="23469" y="12611"/>
                  </a:lnTo>
                  <a:lnTo>
                    <a:pt x="24396" y="11480"/>
                  </a:lnTo>
                  <a:lnTo>
                    <a:pt x="22529" y="9677"/>
                  </a:lnTo>
                  <a:lnTo>
                    <a:pt x="21513" y="7035"/>
                  </a:lnTo>
                  <a:lnTo>
                    <a:pt x="20027" y="4076"/>
                  </a:lnTo>
                  <a:lnTo>
                    <a:pt x="183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1" name="object 863">
              <a:extLst>
                <a:ext uri="{FF2B5EF4-FFF2-40B4-BE49-F238E27FC236}">
                  <a16:creationId xmlns:a16="http://schemas.microsoft.com/office/drawing/2014/main" id="{25BB3147-0188-4C3C-B7E8-B43358B1F319}"/>
                </a:ext>
              </a:extLst>
            </p:cNvPr>
            <p:cNvSpPr/>
            <p:nvPr/>
          </p:nvSpPr>
          <p:spPr>
            <a:xfrm>
              <a:off x="8038284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24396" y="11480"/>
                  </a:moveTo>
                  <a:lnTo>
                    <a:pt x="23469" y="12611"/>
                  </a:lnTo>
                  <a:lnTo>
                    <a:pt x="23317" y="13385"/>
                  </a:lnTo>
                  <a:lnTo>
                    <a:pt x="19850" y="13373"/>
                  </a:lnTo>
                  <a:lnTo>
                    <a:pt x="17513" y="13360"/>
                  </a:lnTo>
                  <a:lnTo>
                    <a:pt x="16052" y="13144"/>
                  </a:lnTo>
                  <a:lnTo>
                    <a:pt x="14922" y="12230"/>
                  </a:lnTo>
                  <a:lnTo>
                    <a:pt x="14198" y="12941"/>
                  </a:lnTo>
                  <a:lnTo>
                    <a:pt x="11353" y="13347"/>
                  </a:lnTo>
                  <a:lnTo>
                    <a:pt x="9626" y="13207"/>
                  </a:lnTo>
                  <a:lnTo>
                    <a:pt x="5651" y="12865"/>
                  </a:lnTo>
                  <a:lnTo>
                    <a:pt x="3683" y="7873"/>
                  </a:lnTo>
                  <a:lnTo>
                    <a:pt x="2667" y="5892"/>
                  </a:lnTo>
                  <a:lnTo>
                    <a:pt x="2146" y="4851"/>
                  </a:lnTo>
                  <a:lnTo>
                    <a:pt x="1397" y="3073"/>
                  </a:lnTo>
                  <a:lnTo>
                    <a:pt x="0" y="1739"/>
                  </a:lnTo>
                  <a:lnTo>
                    <a:pt x="635" y="1066"/>
                  </a:lnTo>
                  <a:lnTo>
                    <a:pt x="3060" y="0"/>
                  </a:lnTo>
                  <a:lnTo>
                    <a:pt x="5334" y="0"/>
                  </a:lnTo>
                  <a:lnTo>
                    <a:pt x="8115" y="0"/>
                  </a:lnTo>
                  <a:lnTo>
                    <a:pt x="9601" y="723"/>
                  </a:lnTo>
                  <a:lnTo>
                    <a:pt x="10541" y="1447"/>
                  </a:lnTo>
                  <a:lnTo>
                    <a:pt x="11099" y="990"/>
                  </a:lnTo>
                  <a:lnTo>
                    <a:pt x="12585" y="0"/>
                  </a:lnTo>
                  <a:lnTo>
                    <a:pt x="13855" y="0"/>
                  </a:lnTo>
                  <a:lnTo>
                    <a:pt x="18389" y="0"/>
                  </a:lnTo>
                  <a:lnTo>
                    <a:pt x="20027" y="4076"/>
                  </a:lnTo>
                  <a:lnTo>
                    <a:pt x="20942" y="5892"/>
                  </a:lnTo>
                  <a:lnTo>
                    <a:pt x="21513" y="7035"/>
                  </a:lnTo>
                  <a:lnTo>
                    <a:pt x="22529" y="9677"/>
                  </a:lnTo>
                  <a:lnTo>
                    <a:pt x="24396" y="11480"/>
                  </a:lnTo>
                  <a:close/>
                </a:path>
              </a:pathLst>
            </a:custGeom>
            <a:ln w="3175">
              <a:solidFill>
                <a:srgbClr val="80818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2" name="object 864">
              <a:extLst>
                <a:ext uri="{FF2B5EF4-FFF2-40B4-BE49-F238E27FC236}">
                  <a16:creationId xmlns:a16="http://schemas.microsoft.com/office/drawing/2014/main" id="{F4159B0A-DCB3-423A-AAF4-835261AA6777}"/>
                </a:ext>
              </a:extLst>
            </p:cNvPr>
            <p:cNvSpPr/>
            <p:nvPr/>
          </p:nvSpPr>
          <p:spPr>
            <a:xfrm>
              <a:off x="8056457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18389" y="0"/>
                  </a:moveTo>
                  <a:lnTo>
                    <a:pt x="12585" y="0"/>
                  </a:lnTo>
                  <a:lnTo>
                    <a:pt x="11099" y="990"/>
                  </a:lnTo>
                  <a:lnTo>
                    <a:pt x="10541" y="1447"/>
                  </a:lnTo>
                  <a:lnTo>
                    <a:pt x="9601" y="723"/>
                  </a:lnTo>
                  <a:lnTo>
                    <a:pt x="8115" y="0"/>
                  </a:lnTo>
                  <a:lnTo>
                    <a:pt x="3060" y="0"/>
                  </a:lnTo>
                  <a:lnTo>
                    <a:pt x="635" y="1066"/>
                  </a:lnTo>
                  <a:lnTo>
                    <a:pt x="0" y="1739"/>
                  </a:lnTo>
                  <a:lnTo>
                    <a:pt x="1397" y="3073"/>
                  </a:lnTo>
                  <a:lnTo>
                    <a:pt x="2133" y="4851"/>
                  </a:lnTo>
                  <a:lnTo>
                    <a:pt x="3670" y="7873"/>
                  </a:lnTo>
                  <a:lnTo>
                    <a:pt x="5651" y="12865"/>
                  </a:lnTo>
                  <a:lnTo>
                    <a:pt x="11353" y="13347"/>
                  </a:lnTo>
                  <a:lnTo>
                    <a:pt x="14198" y="12941"/>
                  </a:lnTo>
                  <a:lnTo>
                    <a:pt x="14922" y="12230"/>
                  </a:lnTo>
                  <a:lnTo>
                    <a:pt x="16052" y="13144"/>
                  </a:lnTo>
                  <a:lnTo>
                    <a:pt x="17500" y="13360"/>
                  </a:lnTo>
                  <a:lnTo>
                    <a:pt x="23317" y="13385"/>
                  </a:lnTo>
                  <a:lnTo>
                    <a:pt x="23469" y="12611"/>
                  </a:lnTo>
                  <a:lnTo>
                    <a:pt x="24396" y="11480"/>
                  </a:lnTo>
                  <a:lnTo>
                    <a:pt x="22529" y="9677"/>
                  </a:lnTo>
                  <a:lnTo>
                    <a:pt x="21513" y="7035"/>
                  </a:lnTo>
                  <a:lnTo>
                    <a:pt x="20015" y="4076"/>
                  </a:lnTo>
                  <a:lnTo>
                    <a:pt x="183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3" name="object 865">
              <a:extLst>
                <a:ext uri="{FF2B5EF4-FFF2-40B4-BE49-F238E27FC236}">
                  <a16:creationId xmlns:a16="http://schemas.microsoft.com/office/drawing/2014/main" id="{CE10B1A1-E20B-4A76-9288-60C5D0BCE6BA}"/>
                </a:ext>
              </a:extLst>
            </p:cNvPr>
            <p:cNvSpPr/>
            <p:nvPr/>
          </p:nvSpPr>
          <p:spPr>
            <a:xfrm>
              <a:off x="8056457" y="6227122"/>
              <a:ext cx="24765" cy="13970"/>
            </a:xfrm>
            <a:custGeom>
              <a:avLst/>
              <a:gdLst/>
              <a:ahLst/>
              <a:cxnLst/>
              <a:rect l="l" t="t" r="r" b="b"/>
              <a:pathLst>
                <a:path w="24765" h="13970">
                  <a:moveTo>
                    <a:pt x="24396" y="11480"/>
                  </a:moveTo>
                  <a:lnTo>
                    <a:pt x="23469" y="12611"/>
                  </a:lnTo>
                  <a:lnTo>
                    <a:pt x="23317" y="13385"/>
                  </a:lnTo>
                  <a:lnTo>
                    <a:pt x="19850" y="13373"/>
                  </a:lnTo>
                  <a:lnTo>
                    <a:pt x="17500" y="13360"/>
                  </a:lnTo>
                  <a:lnTo>
                    <a:pt x="16052" y="13144"/>
                  </a:lnTo>
                  <a:lnTo>
                    <a:pt x="14922" y="12230"/>
                  </a:lnTo>
                  <a:lnTo>
                    <a:pt x="14198" y="12941"/>
                  </a:lnTo>
                  <a:lnTo>
                    <a:pt x="11353" y="13347"/>
                  </a:lnTo>
                  <a:lnTo>
                    <a:pt x="9626" y="13207"/>
                  </a:lnTo>
                  <a:lnTo>
                    <a:pt x="5651" y="12865"/>
                  </a:lnTo>
                  <a:lnTo>
                    <a:pt x="3670" y="7873"/>
                  </a:lnTo>
                  <a:lnTo>
                    <a:pt x="2667" y="5892"/>
                  </a:lnTo>
                  <a:lnTo>
                    <a:pt x="2133" y="4851"/>
                  </a:lnTo>
                  <a:lnTo>
                    <a:pt x="1397" y="3073"/>
                  </a:lnTo>
                  <a:lnTo>
                    <a:pt x="0" y="1739"/>
                  </a:lnTo>
                  <a:lnTo>
                    <a:pt x="635" y="1066"/>
                  </a:lnTo>
                  <a:lnTo>
                    <a:pt x="3060" y="0"/>
                  </a:lnTo>
                  <a:lnTo>
                    <a:pt x="5321" y="0"/>
                  </a:lnTo>
                  <a:lnTo>
                    <a:pt x="8115" y="0"/>
                  </a:lnTo>
                  <a:lnTo>
                    <a:pt x="9601" y="723"/>
                  </a:lnTo>
                  <a:lnTo>
                    <a:pt x="10541" y="1447"/>
                  </a:lnTo>
                  <a:lnTo>
                    <a:pt x="11099" y="990"/>
                  </a:lnTo>
                  <a:lnTo>
                    <a:pt x="12585" y="0"/>
                  </a:lnTo>
                  <a:lnTo>
                    <a:pt x="13855" y="0"/>
                  </a:lnTo>
                  <a:lnTo>
                    <a:pt x="18389" y="0"/>
                  </a:lnTo>
                  <a:lnTo>
                    <a:pt x="20015" y="4076"/>
                  </a:lnTo>
                  <a:lnTo>
                    <a:pt x="20942" y="5892"/>
                  </a:lnTo>
                  <a:lnTo>
                    <a:pt x="21513" y="7035"/>
                  </a:lnTo>
                  <a:lnTo>
                    <a:pt x="22529" y="9677"/>
                  </a:lnTo>
                  <a:lnTo>
                    <a:pt x="24396" y="11480"/>
                  </a:lnTo>
                  <a:close/>
                </a:path>
              </a:pathLst>
            </a:custGeom>
            <a:ln w="3175">
              <a:solidFill>
                <a:srgbClr val="80818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4" name="object 866">
              <a:extLst>
                <a:ext uri="{FF2B5EF4-FFF2-40B4-BE49-F238E27FC236}">
                  <a16:creationId xmlns:a16="http://schemas.microsoft.com/office/drawing/2014/main" id="{DF737D3C-CC42-4540-8520-D1DCAA7CE515}"/>
                </a:ext>
              </a:extLst>
            </p:cNvPr>
            <p:cNvSpPr/>
            <p:nvPr/>
          </p:nvSpPr>
          <p:spPr>
            <a:xfrm>
              <a:off x="8066379" y="6226737"/>
              <a:ext cx="5715" cy="13970"/>
            </a:xfrm>
            <a:custGeom>
              <a:avLst/>
              <a:gdLst/>
              <a:ahLst/>
              <a:cxnLst/>
              <a:rect l="l" t="t" r="r" b="b"/>
              <a:pathLst>
                <a:path w="5715" h="13970">
                  <a:moveTo>
                    <a:pt x="4876" y="12560"/>
                  </a:moveTo>
                  <a:lnTo>
                    <a:pt x="3505" y="11226"/>
                  </a:lnTo>
                  <a:lnTo>
                    <a:pt x="2667" y="8636"/>
                  </a:lnTo>
                  <a:lnTo>
                    <a:pt x="0" y="7975"/>
                  </a:lnTo>
                  <a:lnTo>
                    <a:pt x="2108" y="9918"/>
                  </a:lnTo>
                  <a:lnTo>
                    <a:pt x="3721" y="12217"/>
                  </a:lnTo>
                  <a:lnTo>
                    <a:pt x="1574" y="13563"/>
                  </a:lnTo>
                  <a:lnTo>
                    <a:pt x="2946" y="13487"/>
                  </a:lnTo>
                  <a:lnTo>
                    <a:pt x="3975" y="13144"/>
                  </a:lnTo>
                  <a:lnTo>
                    <a:pt x="4876" y="12560"/>
                  </a:lnTo>
                  <a:close/>
                </a:path>
                <a:path w="5715" h="13970">
                  <a:moveTo>
                    <a:pt x="5651" y="6172"/>
                  </a:moveTo>
                  <a:lnTo>
                    <a:pt x="4000" y="3822"/>
                  </a:lnTo>
                  <a:lnTo>
                    <a:pt x="1435" y="1409"/>
                  </a:lnTo>
                  <a:lnTo>
                    <a:pt x="3810" y="546"/>
                  </a:lnTo>
                  <a:lnTo>
                    <a:pt x="2717" y="0"/>
                  </a:lnTo>
                  <a:lnTo>
                    <a:pt x="1079" y="1485"/>
                  </a:lnTo>
                  <a:lnTo>
                    <a:pt x="673" y="1739"/>
                  </a:lnTo>
                  <a:lnTo>
                    <a:pt x="2565" y="2946"/>
                  </a:lnTo>
                  <a:lnTo>
                    <a:pt x="3200" y="4965"/>
                  </a:lnTo>
                  <a:lnTo>
                    <a:pt x="5651" y="6172"/>
                  </a:lnTo>
                  <a:close/>
                </a:path>
              </a:pathLst>
            </a:custGeom>
            <a:solidFill>
              <a:srgbClr val="0D11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5" name="object 867">
              <a:extLst>
                <a:ext uri="{FF2B5EF4-FFF2-40B4-BE49-F238E27FC236}">
                  <a16:creationId xmlns:a16="http://schemas.microsoft.com/office/drawing/2014/main" id="{8A18A12F-F9AD-435E-98B8-2759E60CFAF5}"/>
                </a:ext>
              </a:extLst>
            </p:cNvPr>
            <p:cNvSpPr/>
            <p:nvPr/>
          </p:nvSpPr>
          <p:spPr>
            <a:xfrm>
              <a:off x="8074619" y="6227128"/>
              <a:ext cx="23495" cy="13970"/>
            </a:xfrm>
            <a:custGeom>
              <a:avLst/>
              <a:gdLst/>
              <a:ahLst/>
              <a:cxnLst/>
              <a:rect l="l" t="t" r="r" b="b"/>
              <a:pathLst>
                <a:path w="23495" h="13970">
                  <a:moveTo>
                    <a:pt x="18389" y="0"/>
                  </a:moveTo>
                  <a:lnTo>
                    <a:pt x="12585" y="0"/>
                  </a:lnTo>
                  <a:lnTo>
                    <a:pt x="11112" y="990"/>
                  </a:lnTo>
                  <a:lnTo>
                    <a:pt x="10541" y="1447"/>
                  </a:lnTo>
                  <a:lnTo>
                    <a:pt x="9613" y="723"/>
                  </a:lnTo>
                  <a:lnTo>
                    <a:pt x="8115" y="0"/>
                  </a:lnTo>
                  <a:lnTo>
                    <a:pt x="3060" y="0"/>
                  </a:lnTo>
                  <a:lnTo>
                    <a:pt x="635" y="1054"/>
                  </a:lnTo>
                  <a:lnTo>
                    <a:pt x="0" y="1739"/>
                  </a:lnTo>
                  <a:lnTo>
                    <a:pt x="1409" y="3060"/>
                  </a:lnTo>
                  <a:lnTo>
                    <a:pt x="2146" y="4851"/>
                  </a:lnTo>
                  <a:lnTo>
                    <a:pt x="3683" y="7861"/>
                  </a:lnTo>
                  <a:lnTo>
                    <a:pt x="5664" y="12865"/>
                  </a:lnTo>
                  <a:lnTo>
                    <a:pt x="11353" y="13347"/>
                  </a:lnTo>
                  <a:lnTo>
                    <a:pt x="14198" y="12928"/>
                  </a:lnTo>
                  <a:lnTo>
                    <a:pt x="14922" y="12230"/>
                  </a:lnTo>
                  <a:lnTo>
                    <a:pt x="16052" y="13131"/>
                  </a:lnTo>
                  <a:lnTo>
                    <a:pt x="17513" y="13347"/>
                  </a:lnTo>
                  <a:lnTo>
                    <a:pt x="22034" y="13385"/>
                  </a:lnTo>
                  <a:lnTo>
                    <a:pt x="22745" y="12026"/>
                  </a:lnTo>
                  <a:lnTo>
                    <a:pt x="23114" y="10553"/>
                  </a:lnTo>
                  <a:lnTo>
                    <a:pt x="23482" y="9080"/>
                  </a:lnTo>
                  <a:lnTo>
                    <a:pt x="22428" y="6553"/>
                  </a:lnTo>
                  <a:lnTo>
                    <a:pt x="19837" y="2971"/>
                  </a:lnTo>
                  <a:lnTo>
                    <a:pt x="1838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6" name="object 868">
              <a:extLst>
                <a:ext uri="{FF2B5EF4-FFF2-40B4-BE49-F238E27FC236}">
                  <a16:creationId xmlns:a16="http://schemas.microsoft.com/office/drawing/2014/main" id="{DFAB468C-6485-4AD2-8F38-37E5BBEBAD35}"/>
                </a:ext>
              </a:extLst>
            </p:cNvPr>
            <p:cNvSpPr/>
            <p:nvPr/>
          </p:nvSpPr>
          <p:spPr>
            <a:xfrm>
              <a:off x="8074619" y="6227128"/>
              <a:ext cx="23495" cy="13970"/>
            </a:xfrm>
            <a:custGeom>
              <a:avLst/>
              <a:gdLst/>
              <a:ahLst/>
              <a:cxnLst/>
              <a:rect l="l" t="t" r="r" b="b"/>
              <a:pathLst>
                <a:path w="23495" h="13970">
                  <a:moveTo>
                    <a:pt x="23114" y="10553"/>
                  </a:moveTo>
                  <a:lnTo>
                    <a:pt x="22745" y="12026"/>
                  </a:lnTo>
                  <a:lnTo>
                    <a:pt x="22034" y="13385"/>
                  </a:lnTo>
                  <a:lnTo>
                    <a:pt x="19850" y="13360"/>
                  </a:lnTo>
                  <a:lnTo>
                    <a:pt x="17513" y="13347"/>
                  </a:lnTo>
                  <a:lnTo>
                    <a:pt x="16052" y="13131"/>
                  </a:lnTo>
                  <a:lnTo>
                    <a:pt x="14922" y="12230"/>
                  </a:lnTo>
                  <a:lnTo>
                    <a:pt x="14198" y="12928"/>
                  </a:lnTo>
                  <a:lnTo>
                    <a:pt x="11353" y="13347"/>
                  </a:lnTo>
                  <a:lnTo>
                    <a:pt x="9639" y="13195"/>
                  </a:lnTo>
                  <a:lnTo>
                    <a:pt x="5664" y="12865"/>
                  </a:lnTo>
                  <a:lnTo>
                    <a:pt x="3683" y="7861"/>
                  </a:lnTo>
                  <a:lnTo>
                    <a:pt x="2679" y="5892"/>
                  </a:lnTo>
                  <a:lnTo>
                    <a:pt x="2146" y="4851"/>
                  </a:lnTo>
                  <a:lnTo>
                    <a:pt x="1409" y="3060"/>
                  </a:lnTo>
                  <a:lnTo>
                    <a:pt x="0" y="1739"/>
                  </a:lnTo>
                  <a:lnTo>
                    <a:pt x="635" y="1054"/>
                  </a:lnTo>
                  <a:lnTo>
                    <a:pt x="3060" y="0"/>
                  </a:lnTo>
                  <a:lnTo>
                    <a:pt x="5334" y="0"/>
                  </a:lnTo>
                  <a:lnTo>
                    <a:pt x="8115" y="0"/>
                  </a:lnTo>
                  <a:lnTo>
                    <a:pt x="9613" y="723"/>
                  </a:lnTo>
                  <a:lnTo>
                    <a:pt x="10541" y="1447"/>
                  </a:lnTo>
                  <a:lnTo>
                    <a:pt x="11112" y="990"/>
                  </a:lnTo>
                  <a:lnTo>
                    <a:pt x="12585" y="0"/>
                  </a:lnTo>
                  <a:lnTo>
                    <a:pt x="13868" y="0"/>
                  </a:lnTo>
                  <a:lnTo>
                    <a:pt x="18389" y="0"/>
                  </a:lnTo>
                  <a:lnTo>
                    <a:pt x="19837" y="2971"/>
                  </a:lnTo>
                  <a:lnTo>
                    <a:pt x="21678" y="5524"/>
                  </a:lnTo>
                  <a:lnTo>
                    <a:pt x="22428" y="6553"/>
                  </a:lnTo>
                  <a:lnTo>
                    <a:pt x="23482" y="9080"/>
                  </a:lnTo>
                  <a:lnTo>
                    <a:pt x="23114" y="10553"/>
                  </a:lnTo>
                  <a:close/>
                </a:path>
              </a:pathLst>
            </a:custGeom>
            <a:ln w="3175">
              <a:solidFill>
                <a:srgbClr val="808184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7" name="object 869">
              <a:extLst>
                <a:ext uri="{FF2B5EF4-FFF2-40B4-BE49-F238E27FC236}">
                  <a16:creationId xmlns:a16="http://schemas.microsoft.com/office/drawing/2014/main" id="{CC2EE647-C052-4FBF-A089-91223CF48FFC}"/>
                </a:ext>
              </a:extLst>
            </p:cNvPr>
            <p:cNvSpPr/>
            <p:nvPr/>
          </p:nvSpPr>
          <p:spPr>
            <a:xfrm>
              <a:off x="7992681" y="6226737"/>
              <a:ext cx="97790" cy="13970"/>
            </a:xfrm>
            <a:custGeom>
              <a:avLst/>
              <a:gdLst/>
              <a:ahLst/>
              <a:cxnLst/>
              <a:rect l="l" t="t" r="r" b="b"/>
              <a:pathLst>
                <a:path w="97790" h="13970">
                  <a:moveTo>
                    <a:pt x="5054" y="12103"/>
                  </a:moveTo>
                  <a:lnTo>
                    <a:pt x="3683" y="10769"/>
                  </a:lnTo>
                  <a:lnTo>
                    <a:pt x="2654" y="7810"/>
                  </a:lnTo>
                  <a:lnTo>
                    <a:pt x="0" y="7150"/>
                  </a:lnTo>
                  <a:lnTo>
                    <a:pt x="2108" y="9093"/>
                  </a:lnTo>
                  <a:lnTo>
                    <a:pt x="3949" y="12166"/>
                  </a:lnTo>
                  <a:lnTo>
                    <a:pt x="1816" y="13512"/>
                  </a:lnTo>
                  <a:lnTo>
                    <a:pt x="3454" y="13449"/>
                  </a:lnTo>
                  <a:lnTo>
                    <a:pt x="4343" y="12788"/>
                  </a:lnTo>
                  <a:lnTo>
                    <a:pt x="5054" y="12103"/>
                  </a:lnTo>
                  <a:close/>
                </a:path>
                <a:path w="97790" h="13970">
                  <a:moveTo>
                    <a:pt x="6769" y="5981"/>
                  </a:moveTo>
                  <a:lnTo>
                    <a:pt x="5105" y="3644"/>
                  </a:lnTo>
                  <a:lnTo>
                    <a:pt x="2730" y="1320"/>
                  </a:lnTo>
                  <a:lnTo>
                    <a:pt x="5105" y="444"/>
                  </a:lnTo>
                  <a:lnTo>
                    <a:pt x="3784" y="228"/>
                  </a:lnTo>
                  <a:lnTo>
                    <a:pt x="2552" y="1206"/>
                  </a:lnTo>
                  <a:lnTo>
                    <a:pt x="1930" y="1600"/>
                  </a:lnTo>
                  <a:lnTo>
                    <a:pt x="3822" y="2806"/>
                  </a:lnTo>
                  <a:lnTo>
                    <a:pt x="4305" y="4775"/>
                  </a:lnTo>
                  <a:lnTo>
                    <a:pt x="6769" y="5981"/>
                  </a:lnTo>
                  <a:close/>
                </a:path>
                <a:path w="97790" h="13970">
                  <a:moveTo>
                    <a:pt x="23190" y="546"/>
                  </a:moveTo>
                  <a:lnTo>
                    <a:pt x="22085" y="0"/>
                  </a:lnTo>
                  <a:lnTo>
                    <a:pt x="20878" y="1384"/>
                  </a:lnTo>
                  <a:lnTo>
                    <a:pt x="23190" y="546"/>
                  </a:lnTo>
                  <a:close/>
                </a:path>
                <a:path w="97790" h="13970">
                  <a:moveTo>
                    <a:pt x="24066" y="12560"/>
                  </a:moveTo>
                  <a:lnTo>
                    <a:pt x="22694" y="11226"/>
                  </a:lnTo>
                  <a:lnTo>
                    <a:pt x="21844" y="8636"/>
                  </a:lnTo>
                  <a:lnTo>
                    <a:pt x="19202" y="7975"/>
                  </a:lnTo>
                  <a:lnTo>
                    <a:pt x="21297" y="9918"/>
                  </a:lnTo>
                  <a:lnTo>
                    <a:pt x="22910" y="12166"/>
                  </a:lnTo>
                  <a:lnTo>
                    <a:pt x="20777" y="13512"/>
                  </a:lnTo>
                  <a:lnTo>
                    <a:pt x="22136" y="13449"/>
                  </a:lnTo>
                  <a:lnTo>
                    <a:pt x="23164" y="13144"/>
                  </a:lnTo>
                  <a:lnTo>
                    <a:pt x="24066" y="12560"/>
                  </a:lnTo>
                  <a:close/>
                </a:path>
                <a:path w="97790" h="13970">
                  <a:moveTo>
                    <a:pt x="24841" y="6172"/>
                  </a:moveTo>
                  <a:lnTo>
                    <a:pt x="23190" y="3822"/>
                  </a:lnTo>
                  <a:lnTo>
                    <a:pt x="20802" y="1409"/>
                  </a:lnTo>
                  <a:lnTo>
                    <a:pt x="19862" y="1790"/>
                  </a:lnTo>
                  <a:lnTo>
                    <a:pt x="21767" y="2997"/>
                  </a:lnTo>
                  <a:lnTo>
                    <a:pt x="22390" y="4965"/>
                  </a:lnTo>
                  <a:lnTo>
                    <a:pt x="24841" y="6172"/>
                  </a:lnTo>
                  <a:close/>
                </a:path>
                <a:path w="97790" h="13970">
                  <a:moveTo>
                    <a:pt x="39065" y="1308"/>
                  </a:moveTo>
                  <a:lnTo>
                    <a:pt x="38798" y="1409"/>
                  </a:lnTo>
                  <a:lnTo>
                    <a:pt x="39039" y="1346"/>
                  </a:lnTo>
                  <a:close/>
                </a:path>
                <a:path w="97790" h="13970">
                  <a:moveTo>
                    <a:pt x="41173" y="546"/>
                  </a:moveTo>
                  <a:lnTo>
                    <a:pt x="40081" y="228"/>
                  </a:lnTo>
                  <a:lnTo>
                    <a:pt x="39065" y="1308"/>
                  </a:lnTo>
                  <a:lnTo>
                    <a:pt x="41173" y="546"/>
                  </a:lnTo>
                  <a:close/>
                </a:path>
                <a:path w="97790" h="13970">
                  <a:moveTo>
                    <a:pt x="42227" y="12560"/>
                  </a:moveTo>
                  <a:lnTo>
                    <a:pt x="40855" y="11226"/>
                  </a:lnTo>
                  <a:lnTo>
                    <a:pt x="40005" y="8636"/>
                  </a:lnTo>
                  <a:lnTo>
                    <a:pt x="37363" y="7975"/>
                  </a:lnTo>
                  <a:lnTo>
                    <a:pt x="39471" y="9918"/>
                  </a:lnTo>
                  <a:lnTo>
                    <a:pt x="41173" y="12166"/>
                  </a:lnTo>
                  <a:lnTo>
                    <a:pt x="39027" y="13512"/>
                  </a:lnTo>
                  <a:lnTo>
                    <a:pt x="40398" y="13449"/>
                  </a:lnTo>
                  <a:lnTo>
                    <a:pt x="41325" y="13144"/>
                  </a:lnTo>
                  <a:lnTo>
                    <a:pt x="42227" y="12560"/>
                  </a:lnTo>
                  <a:close/>
                </a:path>
                <a:path w="97790" h="13970">
                  <a:moveTo>
                    <a:pt x="43014" y="6172"/>
                  </a:moveTo>
                  <a:lnTo>
                    <a:pt x="41363" y="3822"/>
                  </a:lnTo>
                  <a:lnTo>
                    <a:pt x="38811" y="1435"/>
                  </a:lnTo>
                  <a:lnTo>
                    <a:pt x="38036" y="1739"/>
                  </a:lnTo>
                  <a:lnTo>
                    <a:pt x="39941" y="2946"/>
                  </a:lnTo>
                  <a:lnTo>
                    <a:pt x="40563" y="4965"/>
                  </a:lnTo>
                  <a:lnTo>
                    <a:pt x="43014" y="6172"/>
                  </a:lnTo>
                  <a:close/>
                </a:path>
                <a:path w="97790" h="13970">
                  <a:moveTo>
                    <a:pt x="57226" y="1308"/>
                  </a:moveTo>
                  <a:lnTo>
                    <a:pt x="56959" y="1409"/>
                  </a:lnTo>
                  <a:lnTo>
                    <a:pt x="57200" y="1346"/>
                  </a:lnTo>
                  <a:close/>
                </a:path>
                <a:path w="97790" h="13970">
                  <a:moveTo>
                    <a:pt x="59334" y="546"/>
                  </a:moveTo>
                  <a:lnTo>
                    <a:pt x="58229" y="0"/>
                  </a:lnTo>
                  <a:lnTo>
                    <a:pt x="57226" y="1308"/>
                  </a:lnTo>
                  <a:lnTo>
                    <a:pt x="59334" y="546"/>
                  </a:lnTo>
                  <a:close/>
                </a:path>
                <a:path w="97790" h="13970">
                  <a:moveTo>
                    <a:pt x="60401" y="12560"/>
                  </a:moveTo>
                  <a:lnTo>
                    <a:pt x="59029" y="11226"/>
                  </a:lnTo>
                  <a:lnTo>
                    <a:pt x="58178" y="8636"/>
                  </a:lnTo>
                  <a:lnTo>
                    <a:pt x="55537" y="7975"/>
                  </a:lnTo>
                  <a:lnTo>
                    <a:pt x="57645" y="9918"/>
                  </a:lnTo>
                  <a:lnTo>
                    <a:pt x="59258" y="12166"/>
                  </a:lnTo>
                  <a:lnTo>
                    <a:pt x="57111" y="13512"/>
                  </a:lnTo>
                  <a:lnTo>
                    <a:pt x="58483" y="13449"/>
                  </a:lnTo>
                  <a:lnTo>
                    <a:pt x="59499" y="13144"/>
                  </a:lnTo>
                  <a:lnTo>
                    <a:pt x="60401" y="12560"/>
                  </a:lnTo>
                  <a:close/>
                </a:path>
                <a:path w="97790" h="13970">
                  <a:moveTo>
                    <a:pt x="61175" y="6172"/>
                  </a:moveTo>
                  <a:lnTo>
                    <a:pt x="59524" y="3822"/>
                  </a:lnTo>
                  <a:lnTo>
                    <a:pt x="56984" y="1435"/>
                  </a:lnTo>
                  <a:lnTo>
                    <a:pt x="56197" y="1739"/>
                  </a:lnTo>
                  <a:lnTo>
                    <a:pt x="58102" y="2946"/>
                  </a:lnTo>
                  <a:lnTo>
                    <a:pt x="58712" y="4965"/>
                  </a:lnTo>
                  <a:lnTo>
                    <a:pt x="61175" y="6172"/>
                  </a:lnTo>
                  <a:close/>
                </a:path>
                <a:path w="97790" h="13970">
                  <a:moveTo>
                    <a:pt x="93560" y="1308"/>
                  </a:moveTo>
                  <a:lnTo>
                    <a:pt x="93294" y="1409"/>
                  </a:lnTo>
                  <a:lnTo>
                    <a:pt x="93535" y="1346"/>
                  </a:lnTo>
                  <a:close/>
                </a:path>
                <a:path w="97790" h="13970">
                  <a:moveTo>
                    <a:pt x="95669" y="546"/>
                  </a:moveTo>
                  <a:lnTo>
                    <a:pt x="94576" y="0"/>
                  </a:lnTo>
                  <a:lnTo>
                    <a:pt x="93560" y="1308"/>
                  </a:lnTo>
                  <a:lnTo>
                    <a:pt x="95669" y="546"/>
                  </a:lnTo>
                  <a:close/>
                </a:path>
                <a:path w="97790" h="13970">
                  <a:moveTo>
                    <a:pt x="96735" y="12560"/>
                  </a:moveTo>
                  <a:lnTo>
                    <a:pt x="95364" y="11226"/>
                  </a:lnTo>
                  <a:lnTo>
                    <a:pt x="94526" y="8636"/>
                  </a:lnTo>
                  <a:lnTo>
                    <a:pt x="91871" y="7975"/>
                  </a:lnTo>
                  <a:lnTo>
                    <a:pt x="93967" y="9918"/>
                  </a:lnTo>
                  <a:lnTo>
                    <a:pt x="95631" y="12306"/>
                  </a:lnTo>
                  <a:lnTo>
                    <a:pt x="93484" y="13652"/>
                  </a:lnTo>
                  <a:lnTo>
                    <a:pt x="94869" y="13576"/>
                  </a:lnTo>
                  <a:lnTo>
                    <a:pt x="95846" y="13144"/>
                  </a:lnTo>
                  <a:lnTo>
                    <a:pt x="96735" y="12560"/>
                  </a:lnTo>
                  <a:close/>
                </a:path>
                <a:path w="97790" h="13970">
                  <a:moveTo>
                    <a:pt x="97510" y="6172"/>
                  </a:moveTo>
                  <a:lnTo>
                    <a:pt x="95859" y="3822"/>
                  </a:lnTo>
                  <a:lnTo>
                    <a:pt x="93319" y="1435"/>
                  </a:lnTo>
                  <a:lnTo>
                    <a:pt x="92532" y="1739"/>
                  </a:lnTo>
                  <a:lnTo>
                    <a:pt x="94437" y="2946"/>
                  </a:lnTo>
                  <a:lnTo>
                    <a:pt x="95059" y="4965"/>
                  </a:lnTo>
                  <a:lnTo>
                    <a:pt x="97510" y="6172"/>
                  </a:lnTo>
                  <a:close/>
                </a:path>
              </a:pathLst>
            </a:custGeom>
            <a:solidFill>
              <a:srgbClr val="0D11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8" name="object 870">
              <a:extLst>
                <a:ext uri="{FF2B5EF4-FFF2-40B4-BE49-F238E27FC236}">
                  <a16:creationId xmlns:a16="http://schemas.microsoft.com/office/drawing/2014/main" id="{4E0B96C9-0410-4C68-9B62-943C5D412B43}"/>
                </a:ext>
              </a:extLst>
            </p:cNvPr>
            <p:cNvSpPr/>
            <p:nvPr/>
          </p:nvSpPr>
          <p:spPr>
            <a:xfrm>
              <a:off x="7990853" y="6227753"/>
              <a:ext cx="105410" cy="12700"/>
            </a:xfrm>
            <a:custGeom>
              <a:avLst/>
              <a:gdLst/>
              <a:ahLst/>
              <a:cxnLst/>
              <a:rect l="l" t="t" r="r" b="b"/>
              <a:pathLst>
                <a:path w="105409" h="12700">
                  <a:moveTo>
                    <a:pt x="6464" y="0"/>
                  </a:moveTo>
                  <a:lnTo>
                    <a:pt x="0" y="0"/>
                  </a:lnTo>
                  <a:lnTo>
                    <a:pt x="5283" y="2146"/>
                  </a:lnTo>
                  <a:lnTo>
                    <a:pt x="5054" y="7493"/>
                  </a:lnTo>
                  <a:lnTo>
                    <a:pt x="6159" y="8750"/>
                  </a:lnTo>
                  <a:lnTo>
                    <a:pt x="6464" y="0"/>
                  </a:lnTo>
                  <a:close/>
                </a:path>
                <a:path w="105409" h="12700">
                  <a:moveTo>
                    <a:pt x="7277" y="10375"/>
                  </a:moveTo>
                  <a:lnTo>
                    <a:pt x="6375" y="8991"/>
                  </a:lnTo>
                  <a:lnTo>
                    <a:pt x="6159" y="8750"/>
                  </a:lnTo>
                  <a:lnTo>
                    <a:pt x="6108" y="10261"/>
                  </a:lnTo>
                  <a:lnTo>
                    <a:pt x="7277" y="10375"/>
                  </a:lnTo>
                  <a:close/>
                </a:path>
                <a:path w="105409" h="12700">
                  <a:moveTo>
                    <a:pt x="15430" y="10325"/>
                  </a:moveTo>
                  <a:lnTo>
                    <a:pt x="15214" y="10579"/>
                  </a:lnTo>
                  <a:lnTo>
                    <a:pt x="13220" y="10934"/>
                  </a:lnTo>
                  <a:lnTo>
                    <a:pt x="7277" y="10375"/>
                  </a:lnTo>
                  <a:lnTo>
                    <a:pt x="8077" y="11607"/>
                  </a:lnTo>
                  <a:lnTo>
                    <a:pt x="13474" y="11988"/>
                  </a:lnTo>
                  <a:lnTo>
                    <a:pt x="15151" y="11493"/>
                  </a:lnTo>
                  <a:lnTo>
                    <a:pt x="15278" y="10934"/>
                  </a:lnTo>
                  <a:lnTo>
                    <a:pt x="15430" y="10325"/>
                  </a:lnTo>
                  <a:close/>
                </a:path>
                <a:path w="105409" h="12700">
                  <a:moveTo>
                    <a:pt x="25692" y="9906"/>
                  </a:moveTo>
                  <a:lnTo>
                    <a:pt x="23139" y="0"/>
                  </a:lnTo>
                  <a:lnTo>
                    <a:pt x="15328" y="0"/>
                  </a:lnTo>
                  <a:lnTo>
                    <a:pt x="13779" y="939"/>
                  </a:lnTo>
                  <a:lnTo>
                    <a:pt x="14922" y="939"/>
                  </a:lnTo>
                  <a:lnTo>
                    <a:pt x="14859" y="5245"/>
                  </a:lnTo>
                  <a:lnTo>
                    <a:pt x="22479" y="5245"/>
                  </a:lnTo>
                  <a:lnTo>
                    <a:pt x="23253" y="7442"/>
                  </a:lnTo>
                  <a:lnTo>
                    <a:pt x="24142" y="8445"/>
                  </a:lnTo>
                  <a:lnTo>
                    <a:pt x="25692" y="9906"/>
                  </a:lnTo>
                  <a:close/>
                </a:path>
                <a:path w="105409" h="12700">
                  <a:moveTo>
                    <a:pt x="26860" y="11023"/>
                  </a:moveTo>
                  <a:lnTo>
                    <a:pt x="25692" y="9906"/>
                  </a:lnTo>
                  <a:lnTo>
                    <a:pt x="25971" y="11023"/>
                  </a:lnTo>
                  <a:lnTo>
                    <a:pt x="26860" y="11023"/>
                  </a:lnTo>
                  <a:close/>
                </a:path>
                <a:path w="105409" h="12700">
                  <a:moveTo>
                    <a:pt x="34213" y="10236"/>
                  </a:moveTo>
                  <a:lnTo>
                    <a:pt x="33997" y="10502"/>
                  </a:lnTo>
                  <a:lnTo>
                    <a:pt x="32372" y="11023"/>
                  </a:lnTo>
                  <a:lnTo>
                    <a:pt x="26860" y="11023"/>
                  </a:lnTo>
                  <a:lnTo>
                    <a:pt x="27965" y="12077"/>
                  </a:lnTo>
                  <a:lnTo>
                    <a:pt x="32626" y="12077"/>
                  </a:lnTo>
                  <a:lnTo>
                    <a:pt x="33934" y="11404"/>
                  </a:lnTo>
                  <a:lnTo>
                    <a:pt x="34213" y="10236"/>
                  </a:lnTo>
                  <a:close/>
                </a:path>
                <a:path w="105409" h="12700">
                  <a:moveTo>
                    <a:pt x="43853" y="9906"/>
                  </a:moveTo>
                  <a:lnTo>
                    <a:pt x="41300" y="0"/>
                  </a:lnTo>
                  <a:lnTo>
                    <a:pt x="33502" y="0"/>
                  </a:lnTo>
                  <a:lnTo>
                    <a:pt x="31940" y="939"/>
                  </a:lnTo>
                  <a:lnTo>
                    <a:pt x="33096" y="939"/>
                  </a:lnTo>
                  <a:lnTo>
                    <a:pt x="33032" y="5245"/>
                  </a:lnTo>
                  <a:lnTo>
                    <a:pt x="40652" y="5245"/>
                  </a:lnTo>
                  <a:lnTo>
                    <a:pt x="41427" y="7442"/>
                  </a:lnTo>
                  <a:lnTo>
                    <a:pt x="42316" y="8445"/>
                  </a:lnTo>
                  <a:lnTo>
                    <a:pt x="43853" y="9906"/>
                  </a:lnTo>
                  <a:close/>
                </a:path>
                <a:path w="105409" h="12700">
                  <a:moveTo>
                    <a:pt x="45021" y="11023"/>
                  </a:moveTo>
                  <a:lnTo>
                    <a:pt x="43853" y="9906"/>
                  </a:lnTo>
                  <a:lnTo>
                    <a:pt x="44145" y="11023"/>
                  </a:lnTo>
                  <a:lnTo>
                    <a:pt x="45021" y="11023"/>
                  </a:lnTo>
                  <a:close/>
                </a:path>
                <a:path w="105409" h="12700">
                  <a:moveTo>
                    <a:pt x="52387" y="10236"/>
                  </a:moveTo>
                  <a:lnTo>
                    <a:pt x="52171" y="10502"/>
                  </a:lnTo>
                  <a:lnTo>
                    <a:pt x="50546" y="11023"/>
                  </a:lnTo>
                  <a:lnTo>
                    <a:pt x="45021" y="11023"/>
                  </a:lnTo>
                  <a:lnTo>
                    <a:pt x="46139" y="12077"/>
                  </a:lnTo>
                  <a:lnTo>
                    <a:pt x="50800" y="12077"/>
                  </a:lnTo>
                  <a:lnTo>
                    <a:pt x="52108" y="11404"/>
                  </a:lnTo>
                  <a:lnTo>
                    <a:pt x="52387" y="10236"/>
                  </a:lnTo>
                  <a:close/>
                </a:path>
                <a:path w="105409" h="12700">
                  <a:moveTo>
                    <a:pt x="62026" y="9906"/>
                  </a:moveTo>
                  <a:lnTo>
                    <a:pt x="59474" y="0"/>
                  </a:lnTo>
                  <a:lnTo>
                    <a:pt x="51663" y="0"/>
                  </a:lnTo>
                  <a:lnTo>
                    <a:pt x="50114" y="939"/>
                  </a:lnTo>
                  <a:lnTo>
                    <a:pt x="51257" y="939"/>
                  </a:lnTo>
                  <a:lnTo>
                    <a:pt x="51193" y="5245"/>
                  </a:lnTo>
                  <a:lnTo>
                    <a:pt x="58813" y="5245"/>
                  </a:lnTo>
                  <a:lnTo>
                    <a:pt x="59588" y="7442"/>
                  </a:lnTo>
                  <a:lnTo>
                    <a:pt x="60477" y="8445"/>
                  </a:lnTo>
                  <a:lnTo>
                    <a:pt x="62026" y="9906"/>
                  </a:lnTo>
                  <a:close/>
                </a:path>
                <a:path w="105409" h="12700">
                  <a:moveTo>
                    <a:pt x="63195" y="11023"/>
                  </a:moveTo>
                  <a:lnTo>
                    <a:pt x="62026" y="9906"/>
                  </a:lnTo>
                  <a:lnTo>
                    <a:pt x="62306" y="11023"/>
                  </a:lnTo>
                  <a:lnTo>
                    <a:pt x="63195" y="11023"/>
                  </a:lnTo>
                  <a:close/>
                </a:path>
                <a:path w="105409" h="12700">
                  <a:moveTo>
                    <a:pt x="70548" y="10236"/>
                  </a:moveTo>
                  <a:lnTo>
                    <a:pt x="70332" y="10502"/>
                  </a:lnTo>
                  <a:lnTo>
                    <a:pt x="68719" y="11023"/>
                  </a:lnTo>
                  <a:lnTo>
                    <a:pt x="63195" y="11023"/>
                  </a:lnTo>
                  <a:lnTo>
                    <a:pt x="64300" y="12077"/>
                  </a:lnTo>
                  <a:lnTo>
                    <a:pt x="68961" y="12077"/>
                  </a:lnTo>
                  <a:lnTo>
                    <a:pt x="70269" y="11404"/>
                  </a:lnTo>
                  <a:lnTo>
                    <a:pt x="70548" y="10236"/>
                  </a:lnTo>
                  <a:close/>
                </a:path>
                <a:path w="105409" h="12700">
                  <a:moveTo>
                    <a:pt x="80187" y="9906"/>
                  </a:moveTo>
                  <a:lnTo>
                    <a:pt x="77647" y="0"/>
                  </a:lnTo>
                  <a:lnTo>
                    <a:pt x="69837" y="0"/>
                  </a:lnTo>
                  <a:lnTo>
                    <a:pt x="68275" y="939"/>
                  </a:lnTo>
                  <a:lnTo>
                    <a:pt x="69430" y="939"/>
                  </a:lnTo>
                  <a:lnTo>
                    <a:pt x="69367" y="5245"/>
                  </a:lnTo>
                  <a:lnTo>
                    <a:pt x="76987" y="5245"/>
                  </a:lnTo>
                  <a:lnTo>
                    <a:pt x="77774" y="7442"/>
                  </a:lnTo>
                  <a:lnTo>
                    <a:pt x="78651" y="8445"/>
                  </a:lnTo>
                  <a:lnTo>
                    <a:pt x="80187" y="9906"/>
                  </a:lnTo>
                  <a:close/>
                </a:path>
                <a:path w="105409" h="12700">
                  <a:moveTo>
                    <a:pt x="81368" y="11023"/>
                  </a:moveTo>
                  <a:lnTo>
                    <a:pt x="80187" y="9906"/>
                  </a:lnTo>
                  <a:lnTo>
                    <a:pt x="80479" y="11023"/>
                  </a:lnTo>
                  <a:lnTo>
                    <a:pt x="81368" y="11023"/>
                  </a:lnTo>
                  <a:close/>
                </a:path>
                <a:path w="105409" h="12700">
                  <a:moveTo>
                    <a:pt x="88722" y="10236"/>
                  </a:moveTo>
                  <a:lnTo>
                    <a:pt x="88506" y="10502"/>
                  </a:lnTo>
                  <a:lnTo>
                    <a:pt x="86893" y="11023"/>
                  </a:lnTo>
                  <a:lnTo>
                    <a:pt x="81368" y="11023"/>
                  </a:lnTo>
                  <a:lnTo>
                    <a:pt x="82473" y="12077"/>
                  </a:lnTo>
                  <a:lnTo>
                    <a:pt x="87134" y="12077"/>
                  </a:lnTo>
                  <a:lnTo>
                    <a:pt x="88442" y="11404"/>
                  </a:lnTo>
                  <a:lnTo>
                    <a:pt x="88722" y="10236"/>
                  </a:lnTo>
                  <a:close/>
                </a:path>
                <a:path w="105409" h="12700">
                  <a:moveTo>
                    <a:pt x="98361" y="9906"/>
                  </a:moveTo>
                  <a:lnTo>
                    <a:pt x="95821" y="0"/>
                  </a:lnTo>
                  <a:lnTo>
                    <a:pt x="88011" y="0"/>
                  </a:lnTo>
                  <a:lnTo>
                    <a:pt x="86448" y="939"/>
                  </a:lnTo>
                  <a:lnTo>
                    <a:pt x="87604" y="939"/>
                  </a:lnTo>
                  <a:lnTo>
                    <a:pt x="87541" y="5245"/>
                  </a:lnTo>
                  <a:lnTo>
                    <a:pt x="95161" y="5245"/>
                  </a:lnTo>
                  <a:lnTo>
                    <a:pt x="95935" y="7442"/>
                  </a:lnTo>
                  <a:lnTo>
                    <a:pt x="96824" y="8445"/>
                  </a:lnTo>
                  <a:lnTo>
                    <a:pt x="98361" y="9906"/>
                  </a:lnTo>
                  <a:close/>
                </a:path>
                <a:path w="105409" h="12700">
                  <a:moveTo>
                    <a:pt x="99529" y="11023"/>
                  </a:moveTo>
                  <a:lnTo>
                    <a:pt x="98361" y="9906"/>
                  </a:lnTo>
                  <a:lnTo>
                    <a:pt x="98653" y="11023"/>
                  </a:lnTo>
                  <a:lnTo>
                    <a:pt x="99529" y="11023"/>
                  </a:lnTo>
                  <a:close/>
                </a:path>
                <a:path w="105409" h="12700">
                  <a:moveTo>
                    <a:pt x="105308" y="12077"/>
                  </a:moveTo>
                  <a:lnTo>
                    <a:pt x="105067" y="11023"/>
                  </a:lnTo>
                  <a:lnTo>
                    <a:pt x="99529" y="11023"/>
                  </a:lnTo>
                  <a:lnTo>
                    <a:pt x="100647" y="12077"/>
                  </a:lnTo>
                  <a:lnTo>
                    <a:pt x="105308" y="12077"/>
                  </a:lnTo>
                  <a:close/>
                </a:path>
              </a:pathLst>
            </a:custGeom>
            <a:solidFill>
              <a:srgbClr val="DBDDD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79" name="object 871">
              <a:extLst>
                <a:ext uri="{FF2B5EF4-FFF2-40B4-BE49-F238E27FC236}">
                  <a16:creationId xmlns:a16="http://schemas.microsoft.com/office/drawing/2014/main" id="{B5E49D28-B27B-4347-BD49-74D555AB592E}"/>
                </a:ext>
              </a:extLst>
            </p:cNvPr>
            <p:cNvSpPr/>
            <p:nvPr/>
          </p:nvSpPr>
          <p:spPr>
            <a:xfrm>
              <a:off x="8013423" y="6166418"/>
              <a:ext cx="58419" cy="60325"/>
            </a:xfrm>
            <a:custGeom>
              <a:avLst/>
              <a:gdLst/>
              <a:ahLst/>
              <a:cxnLst/>
              <a:rect l="l" t="t" r="r" b="b"/>
              <a:pathLst>
                <a:path w="58420" h="60325">
                  <a:moveTo>
                    <a:pt x="16396" y="55956"/>
                  </a:moveTo>
                  <a:lnTo>
                    <a:pt x="10337" y="55956"/>
                  </a:lnTo>
                  <a:lnTo>
                    <a:pt x="10985" y="60236"/>
                  </a:lnTo>
                  <a:lnTo>
                    <a:pt x="13347" y="58851"/>
                  </a:lnTo>
                  <a:lnTo>
                    <a:pt x="13893" y="57378"/>
                  </a:lnTo>
                  <a:lnTo>
                    <a:pt x="15759" y="56653"/>
                  </a:lnTo>
                  <a:lnTo>
                    <a:pt x="16396" y="55956"/>
                  </a:lnTo>
                  <a:close/>
                </a:path>
                <a:path w="58420" h="60325">
                  <a:moveTo>
                    <a:pt x="22384" y="55067"/>
                  </a:moveTo>
                  <a:lnTo>
                    <a:pt x="17208" y="55067"/>
                  </a:lnTo>
                  <a:lnTo>
                    <a:pt x="16865" y="56222"/>
                  </a:lnTo>
                  <a:lnTo>
                    <a:pt x="15759" y="56653"/>
                  </a:lnTo>
                  <a:lnTo>
                    <a:pt x="15189" y="57277"/>
                  </a:lnTo>
                  <a:lnTo>
                    <a:pt x="14846" y="59054"/>
                  </a:lnTo>
                  <a:lnTo>
                    <a:pt x="15963" y="60172"/>
                  </a:lnTo>
                  <a:lnTo>
                    <a:pt x="16840" y="59258"/>
                  </a:lnTo>
                  <a:lnTo>
                    <a:pt x="21132" y="57746"/>
                  </a:lnTo>
                  <a:lnTo>
                    <a:pt x="22384" y="55067"/>
                  </a:lnTo>
                  <a:close/>
                </a:path>
                <a:path w="58420" h="60325">
                  <a:moveTo>
                    <a:pt x="35685" y="54076"/>
                  </a:moveTo>
                  <a:lnTo>
                    <a:pt x="22847" y="54076"/>
                  </a:lnTo>
                  <a:lnTo>
                    <a:pt x="22929" y="55587"/>
                  </a:lnTo>
                  <a:lnTo>
                    <a:pt x="23043" y="56807"/>
                  </a:lnTo>
                  <a:lnTo>
                    <a:pt x="23279" y="58610"/>
                  </a:lnTo>
                  <a:lnTo>
                    <a:pt x="25653" y="59677"/>
                  </a:lnTo>
                  <a:lnTo>
                    <a:pt x="30124" y="58178"/>
                  </a:lnTo>
                  <a:lnTo>
                    <a:pt x="35013" y="55892"/>
                  </a:lnTo>
                  <a:lnTo>
                    <a:pt x="35685" y="54076"/>
                  </a:lnTo>
                  <a:close/>
                </a:path>
                <a:path w="58420" h="60325">
                  <a:moveTo>
                    <a:pt x="7893" y="57759"/>
                  </a:moveTo>
                  <a:lnTo>
                    <a:pt x="4076" y="57759"/>
                  </a:lnTo>
                  <a:lnTo>
                    <a:pt x="6654" y="58673"/>
                  </a:lnTo>
                  <a:lnTo>
                    <a:pt x="7893" y="57759"/>
                  </a:lnTo>
                  <a:close/>
                </a:path>
                <a:path w="58420" h="60325">
                  <a:moveTo>
                    <a:pt x="4995" y="56847"/>
                  </a:moveTo>
                  <a:lnTo>
                    <a:pt x="0" y="58546"/>
                  </a:lnTo>
                  <a:lnTo>
                    <a:pt x="4076" y="57759"/>
                  </a:lnTo>
                  <a:lnTo>
                    <a:pt x="7911" y="57746"/>
                  </a:lnTo>
                  <a:lnTo>
                    <a:pt x="9012" y="56934"/>
                  </a:lnTo>
                  <a:lnTo>
                    <a:pt x="4940" y="56934"/>
                  </a:lnTo>
                  <a:close/>
                </a:path>
                <a:path w="58420" h="60325">
                  <a:moveTo>
                    <a:pt x="56453" y="51803"/>
                  </a:moveTo>
                  <a:lnTo>
                    <a:pt x="42265" y="51803"/>
                  </a:lnTo>
                  <a:lnTo>
                    <a:pt x="43586" y="54281"/>
                  </a:lnTo>
                  <a:lnTo>
                    <a:pt x="45491" y="55587"/>
                  </a:lnTo>
                  <a:lnTo>
                    <a:pt x="44784" y="56530"/>
                  </a:lnTo>
                  <a:lnTo>
                    <a:pt x="45453" y="57785"/>
                  </a:lnTo>
                  <a:lnTo>
                    <a:pt x="53568" y="56807"/>
                  </a:lnTo>
                  <a:lnTo>
                    <a:pt x="57938" y="56807"/>
                  </a:lnTo>
                  <a:lnTo>
                    <a:pt x="57946" y="55067"/>
                  </a:lnTo>
                  <a:lnTo>
                    <a:pt x="57429" y="53733"/>
                  </a:lnTo>
                  <a:lnTo>
                    <a:pt x="56453" y="51803"/>
                  </a:lnTo>
                  <a:close/>
                </a:path>
                <a:path w="58420" h="60325">
                  <a:moveTo>
                    <a:pt x="42515" y="53212"/>
                  </a:moveTo>
                  <a:lnTo>
                    <a:pt x="36004" y="53212"/>
                  </a:lnTo>
                  <a:lnTo>
                    <a:pt x="37401" y="56070"/>
                  </a:lnTo>
                  <a:lnTo>
                    <a:pt x="42202" y="57467"/>
                  </a:lnTo>
                  <a:lnTo>
                    <a:pt x="44195" y="57315"/>
                  </a:lnTo>
                  <a:lnTo>
                    <a:pt x="44784" y="56530"/>
                  </a:lnTo>
                  <a:lnTo>
                    <a:pt x="43586" y="54281"/>
                  </a:lnTo>
                  <a:lnTo>
                    <a:pt x="42583" y="53594"/>
                  </a:lnTo>
                  <a:lnTo>
                    <a:pt x="42515" y="53212"/>
                  </a:lnTo>
                  <a:close/>
                </a:path>
                <a:path w="58420" h="60325">
                  <a:moveTo>
                    <a:pt x="57938" y="56807"/>
                  </a:moveTo>
                  <a:lnTo>
                    <a:pt x="53568" y="56807"/>
                  </a:lnTo>
                  <a:lnTo>
                    <a:pt x="57924" y="57175"/>
                  </a:lnTo>
                  <a:lnTo>
                    <a:pt x="57938" y="56807"/>
                  </a:lnTo>
                  <a:close/>
                </a:path>
                <a:path w="58420" h="60325">
                  <a:moveTo>
                    <a:pt x="5600" y="56641"/>
                  </a:moveTo>
                  <a:lnTo>
                    <a:pt x="4995" y="56847"/>
                  </a:lnTo>
                  <a:lnTo>
                    <a:pt x="5600" y="56641"/>
                  </a:lnTo>
                  <a:close/>
                </a:path>
                <a:path w="58420" h="60325">
                  <a:moveTo>
                    <a:pt x="9408" y="56641"/>
                  </a:moveTo>
                  <a:lnTo>
                    <a:pt x="5575" y="56653"/>
                  </a:lnTo>
                  <a:lnTo>
                    <a:pt x="4940" y="56934"/>
                  </a:lnTo>
                  <a:lnTo>
                    <a:pt x="9012" y="56934"/>
                  </a:lnTo>
                  <a:lnTo>
                    <a:pt x="9408" y="56641"/>
                  </a:lnTo>
                  <a:close/>
                </a:path>
                <a:path w="58420" h="60325">
                  <a:moveTo>
                    <a:pt x="18211" y="0"/>
                  </a:moveTo>
                  <a:lnTo>
                    <a:pt x="17386" y="4470"/>
                  </a:lnTo>
                  <a:lnTo>
                    <a:pt x="16890" y="5880"/>
                  </a:lnTo>
                  <a:lnTo>
                    <a:pt x="15468" y="16751"/>
                  </a:lnTo>
                  <a:lnTo>
                    <a:pt x="17576" y="17945"/>
                  </a:lnTo>
                  <a:lnTo>
                    <a:pt x="19075" y="19507"/>
                  </a:lnTo>
                  <a:lnTo>
                    <a:pt x="23660" y="27419"/>
                  </a:lnTo>
                  <a:lnTo>
                    <a:pt x="21259" y="37680"/>
                  </a:lnTo>
                  <a:lnTo>
                    <a:pt x="14350" y="43980"/>
                  </a:lnTo>
                  <a:lnTo>
                    <a:pt x="12382" y="45364"/>
                  </a:lnTo>
                  <a:lnTo>
                    <a:pt x="4995" y="56847"/>
                  </a:lnTo>
                  <a:lnTo>
                    <a:pt x="5600" y="56641"/>
                  </a:lnTo>
                  <a:lnTo>
                    <a:pt x="9408" y="56641"/>
                  </a:lnTo>
                  <a:lnTo>
                    <a:pt x="10337" y="55956"/>
                  </a:lnTo>
                  <a:lnTo>
                    <a:pt x="16396" y="55956"/>
                  </a:lnTo>
                  <a:lnTo>
                    <a:pt x="17208" y="55067"/>
                  </a:lnTo>
                  <a:lnTo>
                    <a:pt x="22384" y="55067"/>
                  </a:lnTo>
                  <a:lnTo>
                    <a:pt x="22847" y="54076"/>
                  </a:lnTo>
                  <a:lnTo>
                    <a:pt x="35685" y="54076"/>
                  </a:lnTo>
                  <a:lnTo>
                    <a:pt x="36004" y="53212"/>
                  </a:lnTo>
                  <a:lnTo>
                    <a:pt x="42515" y="53212"/>
                  </a:lnTo>
                  <a:lnTo>
                    <a:pt x="42265" y="51803"/>
                  </a:lnTo>
                  <a:lnTo>
                    <a:pt x="56453" y="51803"/>
                  </a:lnTo>
                  <a:lnTo>
                    <a:pt x="54656" y="48247"/>
                  </a:lnTo>
                  <a:lnTo>
                    <a:pt x="49568" y="48247"/>
                  </a:lnTo>
                  <a:lnTo>
                    <a:pt x="47447" y="34594"/>
                  </a:lnTo>
                  <a:lnTo>
                    <a:pt x="47790" y="26530"/>
                  </a:lnTo>
                  <a:lnTo>
                    <a:pt x="44576" y="14020"/>
                  </a:lnTo>
                  <a:lnTo>
                    <a:pt x="45224" y="9029"/>
                  </a:lnTo>
                  <a:lnTo>
                    <a:pt x="37223" y="3225"/>
                  </a:lnTo>
                  <a:lnTo>
                    <a:pt x="18211" y="0"/>
                  </a:lnTo>
                  <a:close/>
                </a:path>
                <a:path w="58420" h="60325">
                  <a:moveTo>
                    <a:pt x="17208" y="55067"/>
                  </a:moveTo>
                  <a:lnTo>
                    <a:pt x="15759" y="56653"/>
                  </a:lnTo>
                  <a:lnTo>
                    <a:pt x="16865" y="56222"/>
                  </a:lnTo>
                  <a:lnTo>
                    <a:pt x="17208" y="55067"/>
                  </a:lnTo>
                  <a:close/>
                </a:path>
                <a:path w="58420" h="60325">
                  <a:moveTo>
                    <a:pt x="43586" y="54281"/>
                  </a:moveTo>
                  <a:lnTo>
                    <a:pt x="44784" y="56530"/>
                  </a:lnTo>
                  <a:lnTo>
                    <a:pt x="45491" y="55587"/>
                  </a:lnTo>
                  <a:lnTo>
                    <a:pt x="43586" y="54281"/>
                  </a:lnTo>
                  <a:close/>
                </a:path>
                <a:path w="58420" h="60325">
                  <a:moveTo>
                    <a:pt x="54495" y="47929"/>
                  </a:moveTo>
                  <a:lnTo>
                    <a:pt x="49568" y="48247"/>
                  </a:lnTo>
                  <a:lnTo>
                    <a:pt x="54656" y="48247"/>
                  </a:lnTo>
                  <a:lnTo>
                    <a:pt x="54495" y="47929"/>
                  </a:lnTo>
                  <a:close/>
                </a:path>
              </a:pathLst>
            </a:custGeom>
            <a:solidFill>
              <a:srgbClr val="02030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0" name="object 872">
              <a:extLst>
                <a:ext uri="{FF2B5EF4-FFF2-40B4-BE49-F238E27FC236}">
                  <a16:creationId xmlns:a16="http://schemas.microsoft.com/office/drawing/2014/main" id="{13424D38-94D1-4E11-BD2D-BC9257C7A68E}"/>
                </a:ext>
              </a:extLst>
            </p:cNvPr>
            <p:cNvSpPr/>
            <p:nvPr/>
          </p:nvSpPr>
          <p:spPr>
            <a:xfrm>
              <a:off x="8013628" y="6166505"/>
              <a:ext cx="57785" cy="60325"/>
            </a:xfrm>
            <a:custGeom>
              <a:avLst/>
              <a:gdLst/>
              <a:ahLst/>
              <a:cxnLst/>
              <a:rect l="l" t="t" r="r" b="b"/>
              <a:pathLst>
                <a:path w="57784" h="60325">
                  <a:moveTo>
                    <a:pt x="16060" y="55816"/>
                  </a:moveTo>
                  <a:lnTo>
                    <a:pt x="10134" y="55816"/>
                  </a:lnTo>
                  <a:lnTo>
                    <a:pt x="10756" y="59918"/>
                  </a:lnTo>
                  <a:lnTo>
                    <a:pt x="12953" y="58648"/>
                  </a:lnTo>
                  <a:lnTo>
                    <a:pt x="13195" y="58318"/>
                  </a:lnTo>
                  <a:lnTo>
                    <a:pt x="13512" y="57861"/>
                  </a:lnTo>
                  <a:lnTo>
                    <a:pt x="13830" y="57569"/>
                  </a:lnTo>
                  <a:lnTo>
                    <a:pt x="14935" y="56311"/>
                  </a:lnTo>
                  <a:lnTo>
                    <a:pt x="16060" y="55816"/>
                  </a:lnTo>
                  <a:close/>
                </a:path>
                <a:path w="57784" h="60325">
                  <a:moveTo>
                    <a:pt x="22107" y="54952"/>
                  </a:moveTo>
                  <a:lnTo>
                    <a:pt x="17043" y="54952"/>
                  </a:lnTo>
                  <a:lnTo>
                    <a:pt x="16840" y="55473"/>
                  </a:lnTo>
                  <a:lnTo>
                    <a:pt x="16405" y="55664"/>
                  </a:lnTo>
                  <a:lnTo>
                    <a:pt x="15097" y="57124"/>
                  </a:lnTo>
                  <a:lnTo>
                    <a:pt x="14719" y="58851"/>
                  </a:lnTo>
                  <a:lnTo>
                    <a:pt x="15760" y="59893"/>
                  </a:lnTo>
                  <a:lnTo>
                    <a:pt x="16611" y="59054"/>
                  </a:lnTo>
                  <a:lnTo>
                    <a:pt x="20916" y="57378"/>
                  </a:lnTo>
                  <a:lnTo>
                    <a:pt x="22107" y="54952"/>
                  </a:lnTo>
                  <a:close/>
                </a:path>
                <a:path w="57784" h="60325">
                  <a:moveTo>
                    <a:pt x="35302" y="53860"/>
                  </a:moveTo>
                  <a:lnTo>
                    <a:pt x="22644" y="53860"/>
                  </a:lnTo>
                  <a:lnTo>
                    <a:pt x="22908" y="54952"/>
                  </a:lnTo>
                  <a:lnTo>
                    <a:pt x="22954" y="56311"/>
                  </a:lnTo>
                  <a:lnTo>
                    <a:pt x="22832" y="58140"/>
                  </a:lnTo>
                  <a:lnTo>
                    <a:pt x="25425" y="59524"/>
                  </a:lnTo>
                  <a:lnTo>
                    <a:pt x="29754" y="58127"/>
                  </a:lnTo>
                  <a:lnTo>
                    <a:pt x="34848" y="55410"/>
                  </a:lnTo>
                  <a:lnTo>
                    <a:pt x="35302" y="53860"/>
                  </a:lnTo>
                  <a:close/>
                </a:path>
                <a:path w="57784" h="60325">
                  <a:moveTo>
                    <a:pt x="13024" y="58648"/>
                  </a:moveTo>
                  <a:close/>
                </a:path>
                <a:path w="57784" h="60325">
                  <a:moveTo>
                    <a:pt x="7573" y="57696"/>
                  </a:moveTo>
                  <a:lnTo>
                    <a:pt x="3822" y="57696"/>
                  </a:lnTo>
                  <a:lnTo>
                    <a:pt x="6603" y="58407"/>
                  </a:lnTo>
                  <a:lnTo>
                    <a:pt x="7573" y="57696"/>
                  </a:lnTo>
                  <a:close/>
                </a:path>
                <a:path w="57784" h="60325">
                  <a:moveTo>
                    <a:pt x="9182" y="56514"/>
                  </a:moveTo>
                  <a:lnTo>
                    <a:pt x="5549" y="56514"/>
                  </a:lnTo>
                  <a:lnTo>
                    <a:pt x="0" y="58394"/>
                  </a:lnTo>
                  <a:lnTo>
                    <a:pt x="3822" y="57696"/>
                  </a:lnTo>
                  <a:lnTo>
                    <a:pt x="7573" y="57696"/>
                  </a:lnTo>
                  <a:lnTo>
                    <a:pt x="9182" y="56514"/>
                  </a:lnTo>
                  <a:close/>
                </a:path>
                <a:path w="57784" h="60325">
                  <a:moveTo>
                    <a:pt x="42088" y="52285"/>
                  </a:moveTo>
                  <a:lnTo>
                    <a:pt x="35763" y="52285"/>
                  </a:lnTo>
                  <a:lnTo>
                    <a:pt x="37045" y="56070"/>
                  </a:lnTo>
                  <a:lnTo>
                    <a:pt x="42036" y="57124"/>
                  </a:lnTo>
                  <a:lnTo>
                    <a:pt x="43967" y="57048"/>
                  </a:lnTo>
                  <a:lnTo>
                    <a:pt x="44397" y="56311"/>
                  </a:lnTo>
                  <a:lnTo>
                    <a:pt x="44497" y="56070"/>
                  </a:lnTo>
                  <a:lnTo>
                    <a:pt x="43451" y="54168"/>
                  </a:lnTo>
                  <a:lnTo>
                    <a:pt x="42252" y="53276"/>
                  </a:lnTo>
                  <a:lnTo>
                    <a:pt x="42088" y="52285"/>
                  </a:lnTo>
                  <a:close/>
                </a:path>
                <a:path w="57784" h="60325">
                  <a:moveTo>
                    <a:pt x="55816" y="51434"/>
                  </a:moveTo>
                  <a:lnTo>
                    <a:pt x="41948" y="51434"/>
                  </a:lnTo>
                  <a:lnTo>
                    <a:pt x="43451" y="54168"/>
                  </a:lnTo>
                  <a:lnTo>
                    <a:pt x="44983" y="55308"/>
                  </a:lnTo>
                  <a:lnTo>
                    <a:pt x="44686" y="55816"/>
                  </a:lnTo>
                  <a:lnTo>
                    <a:pt x="44630" y="56311"/>
                  </a:lnTo>
                  <a:lnTo>
                    <a:pt x="45021" y="57022"/>
                  </a:lnTo>
                  <a:lnTo>
                    <a:pt x="52819" y="56705"/>
                  </a:lnTo>
                  <a:lnTo>
                    <a:pt x="57544" y="56705"/>
                  </a:lnTo>
                  <a:lnTo>
                    <a:pt x="57545" y="54952"/>
                  </a:lnTo>
                  <a:lnTo>
                    <a:pt x="56959" y="53555"/>
                  </a:lnTo>
                  <a:lnTo>
                    <a:pt x="55816" y="51434"/>
                  </a:lnTo>
                  <a:close/>
                </a:path>
                <a:path w="57784" h="60325">
                  <a:moveTo>
                    <a:pt x="57544" y="56705"/>
                  </a:moveTo>
                  <a:lnTo>
                    <a:pt x="52819" y="56705"/>
                  </a:lnTo>
                  <a:lnTo>
                    <a:pt x="57543" y="56794"/>
                  </a:lnTo>
                  <a:close/>
                </a:path>
                <a:path w="57784" h="60325">
                  <a:moveTo>
                    <a:pt x="18135" y="0"/>
                  </a:moveTo>
                  <a:lnTo>
                    <a:pt x="17297" y="4495"/>
                  </a:lnTo>
                  <a:lnTo>
                    <a:pt x="16789" y="5880"/>
                  </a:lnTo>
                  <a:lnTo>
                    <a:pt x="15455" y="16624"/>
                  </a:lnTo>
                  <a:lnTo>
                    <a:pt x="23647" y="27520"/>
                  </a:lnTo>
                  <a:lnTo>
                    <a:pt x="21132" y="37566"/>
                  </a:lnTo>
                  <a:lnTo>
                    <a:pt x="14338" y="43751"/>
                  </a:lnTo>
                  <a:lnTo>
                    <a:pt x="12395" y="45135"/>
                  </a:lnTo>
                  <a:lnTo>
                    <a:pt x="5016" y="56591"/>
                  </a:lnTo>
                  <a:lnTo>
                    <a:pt x="5549" y="56514"/>
                  </a:lnTo>
                  <a:lnTo>
                    <a:pt x="9182" y="56514"/>
                  </a:lnTo>
                  <a:lnTo>
                    <a:pt x="10134" y="55816"/>
                  </a:lnTo>
                  <a:lnTo>
                    <a:pt x="16060" y="55816"/>
                  </a:lnTo>
                  <a:lnTo>
                    <a:pt x="16405" y="55664"/>
                  </a:lnTo>
                  <a:lnTo>
                    <a:pt x="17043" y="54952"/>
                  </a:lnTo>
                  <a:lnTo>
                    <a:pt x="22107" y="54952"/>
                  </a:lnTo>
                  <a:lnTo>
                    <a:pt x="22644" y="53860"/>
                  </a:lnTo>
                  <a:lnTo>
                    <a:pt x="35302" y="53860"/>
                  </a:lnTo>
                  <a:lnTo>
                    <a:pt x="35763" y="52285"/>
                  </a:lnTo>
                  <a:lnTo>
                    <a:pt x="42088" y="52285"/>
                  </a:lnTo>
                  <a:lnTo>
                    <a:pt x="41948" y="51434"/>
                  </a:lnTo>
                  <a:lnTo>
                    <a:pt x="55816" y="51434"/>
                  </a:lnTo>
                  <a:lnTo>
                    <a:pt x="54749" y="49453"/>
                  </a:lnTo>
                  <a:lnTo>
                    <a:pt x="51320" y="48056"/>
                  </a:lnTo>
                  <a:lnTo>
                    <a:pt x="48323" y="40551"/>
                  </a:lnTo>
                  <a:lnTo>
                    <a:pt x="47574" y="37782"/>
                  </a:lnTo>
                  <a:lnTo>
                    <a:pt x="47040" y="34391"/>
                  </a:lnTo>
                  <a:lnTo>
                    <a:pt x="47332" y="26962"/>
                  </a:lnTo>
                  <a:lnTo>
                    <a:pt x="44322" y="14135"/>
                  </a:lnTo>
                  <a:lnTo>
                    <a:pt x="44742" y="10439"/>
                  </a:lnTo>
                  <a:lnTo>
                    <a:pt x="44653" y="9156"/>
                  </a:lnTo>
                  <a:lnTo>
                    <a:pt x="36880" y="3213"/>
                  </a:lnTo>
                  <a:lnTo>
                    <a:pt x="18135" y="0"/>
                  </a:lnTo>
                  <a:close/>
                </a:path>
                <a:path w="57784" h="60325">
                  <a:moveTo>
                    <a:pt x="43451" y="54168"/>
                  </a:moveTo>
                  <a:lnTo>
                    <a:pt x="44517" y="56106"/>
                  </a:lnTo>
                  <a:lnTo>
                    <a:pt x="44983" y="55308"/>
                  </a:lnTo>
                  <a:lnTo>
                    <a:pt x="43451" y="54168"/>
                  </a:lnTo>
                  <a:close/>
                </a:path>
                <a:path w="57784" h="60325">
                  <a:moveTo>
                    <a:pt x="17043" y="54952"/>
                  </a:moveTo>
                  <a:lnTo>
                    <a:pt x="16405" y="55664"/>
                  </a:lnTo>
                  <a:lnTo>
                    <a:pt x="16840" y="55473"/>
                  </a:lnTo>
                  <a:lnTo>
                    <a:pt x="17043" y="54952"/>
                  </a:lnTo>
                  <a:close/>
                </a:path>
              </a:pathLst>
            </a:custGeom>
            <a:solidFill>
              <a:srgbClr val="221E1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1" name="object 873">
              <a:extLst>
                <a:ext uri="{FF2B5EF4-FFF2-40B4-BE49-F238E27FC236}">
                  <a16:creationId xmlns:a16="http://schemas.microsoft.com/office/drawing/2014/main" id="{A09AB90F-5A6E-4664-B3B3-5D0131E177C1}"/>
                </a:ext>
              </a:extLst>
            </p:cNvPr>
            <p:cNvSpPr/>
            <p:nvPr/>
          </p:nvSpPr>
          <p:spPr>
            <a:xfrm>
              <a:off x="8013821" y="6166586"/>
              <a:ext cx="57785" cy="59690"/>
            </a:xfrm>
            <a:custGeom>
              <a:avLst/>
              <a:gdLst/>
              <a:ahLst/>
              <a:cxnLst/>
              <a:rect l="l" t="t" r="r" b="b"/>
              <a:pathLst>
                <a:path w="57784" h="59690">
                  <a:moveTo>
                    <a:pt x="21817" y="54864"/>
                  </a:moveTo>
                  <a:lnTo>
                    <a:pt x="16891" y="54864"/>
                  </a:lnTo>
                  <a:lnTo>
                    <a:pt x="14973" y="57035"/>
                  </a:lnTo>
                  <a:lnTo>
                    <a:pt x="14617" y="58661"/>
                  </a:lnTo>
                  <a:lnTo>
                    <a:pt x="15557" y="59626"/>
                  </a:lnTo>
                  <a:lnTo>
                    <a:pt x="16395" y="58864"/>
                  </a:lnTo>
                  <a:lnTo>
                    <a:pt x="20701" y="57023"/>
                  </a:lnTo>
                  <a:lnTo>
                    <a:pt x="21817" y="54864"/>
                  </a:lnTo>
                  <a:close/>
                </a:path>
                <a:path w="57784" h="59690">
                  <a:moveTo>
                    <a:pt x="15106" y="55664"/>
                  </a:moveTo>
                  <a:lnTo>
                    <a:pt x="9944" y="55664"/>
                  </a:lnTo>
                  <a:lnTo>
                    <a:pt x="10553" y="59613"/>
                  </a:lnTo>
                  <a:lnTo>
                    <a:pt x="12573" y="58458"/>
                  </a:lnTo>
                  <a:lnTo>
                    <a:pt x="12730" y="58458"/>
                  </a:lnTo>
                  <a:lnTo>
                    <a:pt x="13284" y="57581"/>
                  </a:lnTo>
                  <a:lnTo>
                    <a:pt x="13563" y="57315"/>
                  </a:lnTo>
                  <a:lnTo>
                    <a:pt x="14693" y="55829"/>
                  </a:lnTo>
                  <a:lnTo>
                    <a:pt x="15106" y="55664"/>
                  </a:lnTo>
                  <a:close/>
                </a:path>
                <a:path w="57784" h="59690">
                  <a:moveTo>
                    <a:pt x="34990" y="53657"/>
                  </a:moveTo>
                  <a:lnTo>
                    <a:pt x="22440" y="53657"/>
                  </a:lnTo>
                  <a:lnTo>
                    <a:pt x="23088" y="54686"/>
                  </a:lnTo>
                  <a:lnTo>
                    <a:pt x="22339" y="57658"/>
                  </a:lnTo>
                  <a:lnTo>
                    <a:pt x="25196" y="59359"/>
                  </a:lnTo>
                  <a:lnTo>
                    <a:pt x="29362" y="58115"/>
                  </a:lnTo>
                  <a:lnTo>
                    <a:pt x="34696" y="54927"/>
                  </a:lnTo>
                  <a:lnTo>
                    <a:pt x="34990" y="53657"/>
                  </a:lnTo>
                  <a:close/>
                </a:path>
                <a:path w="57784" h="59690">
                  <a:moveTo>
                    <a:pt x="12730" y="58458"/>
                  </a:moveTo>
                  <a:lnTo>
                    <a:pt x="12573" y="58458"/>
                  </a:lnTo>
                  <a:lnTo>
                    <a:pt x="12730" y="58458"/>
                  </a:lnTo>
                  <a:close/>
                </a:path>
                <a:path w="57784" h="59690">
                  <a:moveTo>
                    <a:pt x="18097" y="0"/>
                  </a:moveTo>
                  <a:lnTo>
                    <a:pt x="17208" y="4508"/>
                  </a:lnTo>
                  <a:lnTo>
                    <a:pt x="16675" y="5880"/>
                  </a:lnTo>
                  <a:lnTo>
                    <a:pt x="15455" y="16484"/>
                  </a:lnTo>
                  <a:lnTo>
                    <a:pt x="16497" y="16891"/>
                  </a:lnTo>
                  <a:lnTo>
                    <a:pt x="17221" y="17475"/>
                  </a:lnTo>
                  <a:lnTo>
                    <a:pt x="18122" y="18110"/>
                  </a:lnTo>
                  <a:lnTo>
                    <a:pt x="19024" y="18961"/>
                  </a:lnTo>
                  <a:lnTo>
                    <a:pt x="19875" y="20358"/>
                  </a:lnTo>
                  <a:lnTo>
                    <a:pt x="23647" y="27635"/>
                  </a:lnTo>
                  <a:lnTo>
                    <a:pt x="21018" y="37477"/>
                  </a:lnTo>
                  <a:lnTo>
                    <a:pt x="14338" y="43548"/>
                  </a:lnTo>
                  <a:lnTo>
                    <a:pt x="12420" y="44919"/>
                  </a:lnTo>
                  <a:lnTo>
                    <a:pt x="5118" y="56261"/>
                  </a:lnTo>
                  <a:lnTo>
                    <a:pt x="5499" y="56388"/>
                  </a:lnTo>
                  <a:lnTo>
                    <a:pt x="0" y="58254"/>
                  </a:lnTo>
                  <a:lnTo>
                    <a:pt x="3581" y="57632"/>
                  </a:lnTo>
                  <a:lnTo>
                    <a:pt x="7258" y="57632"/>
                  </a:lnTo>
                  <a:lnTo>
                    <a:pt x="9944" y="55664"/>
                  </a:lnTo>
                  <a:lnTo>
                    <a:pt x="15106" y="55664"/>
                  </a:lnTo>
                  <a:lnTo>
                    <a:pt x="16725" y="55016"/>
                  </a:lnTo>
                  <a:lnTo>
                    <a:pt x="16891" y="54864"/>
                  </a:lnTo>
                  <a:lnTo>
                    <a:pt x="21817" y="54864"/>
                  </a:lnTo>
                  <a:lnTo>
                    <a:pt x="22440" y="53657"/>
                  </a:lnTo>
                  <a:lnTo>
                    <a:pt x="34990" y="53657"/>
                  </a:lnTo>
                  <a:lnTo>
                    <a:pt x="35521" y="51358"/>
                  </a:lnTo>
                  <a:lnTo>
                    <a:pt x="41686" y="51358"/>
                  </a:lnTo>
                  <a:lnTo>
                    <a:pt x="41643" y="51079"/>
                  </a:lnTo>
                  <a:lnTo>
                    <a:pt x="55166" y="51079"/>
                  </a:lnTo>
                  <a:lnTo>
                    <a:pt x="54241" y="49453"/>
                  </a:lnTo>
                  <a:lnTo>
                    <a:pt x="50622" y="47625"/>
                  </a:lnTo>
                  <a:lnTo>
                    <a:pt x="48717" y="42443"/>
                  </a:lnTo>
                  <a:lnTo>
                    <a:pt x="47904" y="40322"/>
                  </a:lnTo>
                  <a:lnTo>
                    <a:pt x="47142" y="37401"/>
                  </a:lnTo>
                  <a:lnTo>
                    <a:pt x="46647" y="34188"/>
                  </a:lnTo>
                  <a:lnTo>
                    <a:pt x="46875" y="27393"/>
                  </a:lnTo>
                  <a:lnTo>
                    <a:pt x="44094" y="14236"/>
                  </a:lnTo>
                  <a:lnTo>
                    <a:pt x="44437" y="10591"/>
                  </a:lnTo>
                  <a:lnTo>
                    <a:pt x="44081" y="9271"/>
                  </a:lnTo>
                  <a:lnTo>
                    <a:pt x="36563" y="3213"/>
                  </a:lnTo>
                  <a:lnTo>
                    <a:pt x="18097" y="0"/>
                  </a:lnTo>
                  <a:close/>
                </a:path>
                <a:path w="57784" h="59690">
                  <a:moveTo>
                    <a:pt x="7258" y="57632"/>
                  </a:moveTo>
                  <a:lnTo>
                    <a:pt x="3581" y="57632"/>
                  </a:lnTo>
                  <a:lnTo>
                    <a:pt x="6565" y="58140"/>
                  </a:lnTo>
                  <a:lnTo>
                    <a:pt x="7258" y="57632"/>
                  </a:lnTo>
                  <a:close/>
                </a:path>
                <a:path w="57784" h="59690">
                  <a:moveTo>
                    <a:pt x="41686" y="51358"/>
                  </a:moveTo>
                  <a:lnTo>
                    <a:pt x="35521" y="51358"/>
                  </a:lnTo>
                  <a:lnTo>
                    <a:pt x="36690" y="56070"/>
                  </a:lnTo>
                  <a:lnTo>
                    <a:pt x="41884" y="56781"/>
                  </a:lnTo>
                  <a:lnTo>
                    <a:pt x="43764" y="56819"/>
                  </a:lnTo>
                  <a:lnTo>
                    <a:pt x="44241" y="55648"/>
                  </a:lnTo>
                  <a:lnTo>
                    <a:pt x="43384" y="54141"/>
                  </a:lnTo>
                  <a:lnTo>
                    <a:pt x="41935" y="52959"/>
                  </a:lnTo>
                  <a:lnTo>
                    <a:pt x="41686" y="51358"/>
                  </a:lnTo>
                  <a:close/>
                </a:path>
                <a:path w="57784" h="59690">
                  <a:moveTo>
                    <a:pt x="55166" y="51079"/>
                  </a:moveTo>
                  <a:lnTo>
                    <a:pt x="41643" y="51079"/>
                  </a:lnTo>
                  <a:lnTo>
                    <a:pt x="43384" y="54141"/>
                  </a:lnTo>
                  <a:lnTo>
                    <a:pt x="44488" y="55041"/>
                  </a:lnTo>
                  <a:lnTo>
                    <a:pt x="44241" y="55648"/>
                  </a:lnTo>
                  <a:lnTo>
                    <a:pt x="44589" y="56261"/>
                  </a:lnTo>
                  <a:lnTo>
                    <a:pt x="52082" y="56591"/>
                  </a:lnTo>
                  <a:lnTo>
                    <a:pt x="57175" y="56426"/>
                  </a:lnTo>
                  <a:lnTo>
                    <a:pt x="57094" y="54686"/>
                  </a:lnTo>
                  <a:lnTo>
                    <a:pt x="56489" y="53403"/>
                  </a:lnTo>
                  <a:lnTo>
                    <a:pt x="55166" y="51079"/>
                  </a:lnTo>
                  <a:close/>
                </a:path>
                <a:path w="57784" h="59690">
                  <a:moveTo>
                    <a:pt x="43384" y="54141"/>
                  </a:moveTo>
                  <a:lnTo>
                    <a:pt x="44241" y="55648"/>
                  </a:lnTo>
                  <a:lnTo>
                    <a:pt x="44488" y="55041"/>
                  </a:lnTo>
                  <a:lnTo>
                    <a:pt x="43384" y="54141"/>
                  </a:lnTo>
                  <a:close/>
                </a:path>
              </a:pathLst>
            </a:custGeom>
            <a:solidFill>
              <a:srgbClr val="02030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2" name="object 874">
              <a:extLst>
                <a:ext uri="{FF2B5EF4-FFF2-40B4-BE49-F238E27FC236}">
                  <a16:creationId xmlns:a16="http://schemas.microsoft.com/office/drawing/2014/main" id="{2CE32EDA-524F-44E2-AB8A-C0DE1426CF4F}"/>
                </a:ext>
              </a:extLst>
            </p:cNvPr>
            <p:cNvSpPr/>
            <p:nvPr/>
          </p:nvSpPr>
          <p:spPr>
            <a:xfrm>
              <a:off x="8014028" y="6166660"/>
              <a:ext cx="57150" cy="59690"/>
            </a:xfrm>
            <a:custGeom>
              <a:avLst/>
              <a:gdLst/>
              <a:ahLst/>
              <a:cxnLst/>
              <a:rect l="l" t="t" r="r" b="b"/>
              <a:pathLst>
                <a:path w="57150" h="59690">
                  <a:moveTo>
                    <a:pt x="21624" y="54571"/>
                  </a:moveTo>
                  <a:lnTo>
                    <a:pt x="16611" y="54571"/>
                  </a:lnTo>
                  <a:lnTo>
                    <a:pt x="16703" y="54787"/>
                  </a:lnTo>
                  <a:lnTo>
                    <a:pt x="14858" y="56921"/>
                  </a:lnTo>
                  <a:lnTo>
                    <a:pt x="14490" y="58470"/>
                  </a:lnTo>
                  <a:lnTo>
                    <a:pt x="15354" y="59359"/>
                  </a:lnTo>
                  <a:lnTo>
                    <a:pt x="16167" y="58673"/>
                  </a:lnTo>
                  <a:lnTo>
                    <a:pt x="20485" y="56667"/>
                  </a:lnTo>
                  <a:lnTo>
                    <a:pt x="21624" y="54571"/>
                  </a:lnTo>
                  <a:close/>
                </a:path>
                <a:path w="57150" h="59690">
                  <a:moveTo>
                    <a:pt x="14301" y="55537"/>
                  </a:moveTo>
                  <a:lnTo>
                    <a:pt x="9753" y="55537"/>
                  </a:lnTo>
                  <a:lnTo>
                    <a:pt x="10337" y="59308"/>
                  </a:lnTo>
                  <a:lnTo>
                    <a:pt x="12191" y="58267"/>
                  </a:lnTo>
                  <a:lnTo>
                    <a:pt x="12440" y="58267"/>
                  </a:lnTo>
                  <a:lnTo>
                    <a:pt x="12649" y="58013"/>
                  </a:lnTo>
                  <a:lnTo>
                    <a:pt x="13042" y="57315"/>
                  </a:lnTo>
                  <a:lnTo>
                    <a:pt x="13284" y="57073"/>
                  </a:lnTo>
                  <a:lnTo>
                    <a:pt x="14301" y="55537"/>
                  </a:lnTo>
                  <a:close/>
                </a:path>
                <a:path w="57150" h="59690">
                  <a:moveTo>
                    <a:pt x="34713" y="53466"/>
                  </a:moveTo>
                  <a:lnTo>
                    <a:pt x="22224" y="53466"/>
                  </a:lnTo>
                  <a:lnTo>
                    <a:pt x="23152" y="53962"/>
                  </a:lnTo>
                  <a:lnTo>
                    <a:pt x="21856" y="57188"/>
                  </a:lnTo>
                  <a:lnTo>
                    <a:pt x="24968" y="59220"/>
                  </a:lnTo>
                  <a:lnTo>
                    <a:pt x="28981" y="58089"/>
                  </a:lnTo>
                  <a:lnTo>
                    <a:pt x="34531" y="54444"/>
                  </a:lnTo>
                  <a:lnTo>
                    <a:pt x="34713" y="53466"/>
                  </a:lnTo>
                  <a:close/>
                </a:path>
                <a:path w="57150" h="59690">
                  <a:moveTo>
                    <a:pt x="12440" y="58267"/>
                  </a:moveTo>
                  <a:lnTo>
                    <a:pt x="12191" y="58267"/>
                  </a:lnTo>
                  <a:lnTo>
                    <a:pt x="12357" y="58369"/>
                  </a:lnTo>
                  <a:close/>
                </a:path>
                <a:path w="57150" h="59690">
                  <a:moveTo>
                    <a:pt x="18033" y="0"/>
                  </a:moveTo>
                  <a:lnTo>
                    <a:pt x="17119" y="4546"/>
                  </a:lnTo>
                  <a:lnTo>
                    <a:pt x="16573" y="5892"/>
                  </a:lnTo>
                  <a:lnTo>
                    <a:pt x="15443" y="16370"/>
                  </a:lnTo>
                  <a:lnTo>
                    <a:pt x="16560" y="16725"/>
                  </a:lnTo>
                  <a:lnTo>
                    <a:pt x="17246" y="17310"/>
                  </a:lnTo>
                  <a:lnTo>
                    <a:pt x="18262" y="17957"/>
                  </a:lnTo>
                  <a:lnTo>
                    <a:pt x="19138" y="18808"/>
                  </a:lnTo>
                  <a:lnTo>
                    <a:pt x="20053" y="20421"/>
                  </a:lnTo>
                  <a:lnTo>
                    <a:pt x="23634" y="27762"/>
                  </a:lnTo>
                  <a:lnTo>
                    <a:pt x="20891" y="37376"/>
                  </a:lnTo>
                  <a:lnTo>
                    <a:pt x="14338" y="43345"/>
                  </a:lnTo>
                  <a:lnTo>
                    <a:pt x="12420" y="44703"/>
                  </a:lnTo>
                  <a:lnTo>
                    <a:pt x="5194" y="55930"/>
                  </a:lnTo>
                  <a:lnTo>
                    <a:pt x="5435" y="56273"/>
                  </a:lnTo>
                  <a:lnTo>
                    <a:pt x="0" y="58115"/>
                  </a:lnTo>
                  <a:lnTo>
                    <a:pt x="3327" y="57581"/>
                  </a:lnTo>
                  <a:lnTo>
                    <a:pt x="6935" y="57581"/>
                  </a:lnTo>
                  <a:lnTo>
                    <a:pt x="9753" y="55537"/>
                  </a:lnTo>
                  <a:lnTo>
                    <a:pt x="14301" y="55537"/>
                  </a:lnTo>
                  <a:lnTo>
                    <a:pt x="14427" y="55346"/>
                  </a:lnTo>
                  <a:lnTo>
                    <a:pt x="16611" y="54571"/>
                  </a:lnTo>
                  <a:lnTo>
                    <a:pt x="21624" y="54571"/>
                  </a:lnTo>
                  <a:lnTo>
                    <a:pt x="22224" y="53466"/>
                  </a:lnTo>
                  <a:lnTo>
                    <a:pt x="34713" y="53466"/>
                  </a:lnTo>
                  <a:lnTo>
                    <a:pt x="35280" y="50431"/>
                  </a:lnTo>
                  <a:lnTo>
                    <a:pt x="54309" y="50431"/>
                  </a:lnTo>
                  <a:lnTo>
                    <a:pt x="53720" y="49466"/>
                  </a:lnTo>
                  <a:lnTo>
                    <a:pt x="49923" y="47193"/>
                  </a:lnTo>
                  <a:lnTo>
                    <a:pt x="48259" y="42265"/>
                  </a:lnTo>
                  <a:lnTo>
                    <a:pt x="47472" y="40081"/>
                  </a:lnTo>
                  <a:lnTo>
                    <a:pt x="46710" y="37020"/>
                  </a:lnTo>
                  <a:lnTo>
                    <a:pt x="46240" y="33997"/>
                  </a:lnTo>
                  <a:lnTo>
                    <a:pt x="46405" y="27838"/>
                  </a:lnTo>
                  <a:lnTo>
                    <a:pt x="43853" y="14363"/>
                  </a:lnTo>
                  <a:lnTo>
                    <a:pt x="44119" y="10744"/>
                  </a:lnTo>
                  <a:lnTo>
                    <a:pt x="43510" y="9410"/>
                  </a:lnTo>
                  <a:lnTo>
                    <a:pt x="36233" y="3225"/>
                  </a:lnTo>
                  <a:lnTo>
                    <a:pt x="18033" y="0"/>
                  </a:lnTo>
                  <a:close/>
                </a:path>
                <a:path w="57150" h="59690">
                  <a:moveTo>
                    <a:pt x="6935" y="57581"/>
                  </a:moveTo>
                  <a:lnTo>
                    <a:pt x="3327" y="57581"/>
                  </a:lnTo>
                  <a:lnTo>
                    <a:pt x="6515" y="57886"/>
                  </a:lnTo>
                  <a:lnTo>
                    <a:pt x="6935" y="57581"/>
                  </a:lnTo>
                  <a:close/>
                </a:path>
                <a:path w="57150" h="59690">
                  <a:moveTo>
                    <a:pt x="54309" y="50431"/>
                  </a:moveTo>
                  <a:lnTo>
                    <a:pt x="35280" y="50431"/>
                  </a:lnTo>
                  <a:lnTo>
                    <a:pt x="36321" y="56083"/>
                  </a:lnTo>
                  <a:lnTo>
                    <a:pt x="43535" y="56578"/>
                  </a:lnTo>
                  <a:lnTo>
                    <a:pt x="43905" y="55087"/>
                  </a:lnTo>
                  <a:lnTo>
                    <a:pt x="43439" y="54302"/>
                  </a:lnTo>
                  <a:lnTo>
                    <a:pt x="41617" y="52666"/>
                  </a:lnTo>
                  <a:lnTo>
                    <a:pt x="41313" y="50723"/>
                  </a:lnTo>
                  <a:lnTo>
                    <a:pt x="54487" y="50723"/>
                  </a:lnTo>
                  <a:lnTo>
                    <a:pt x="54309" y="50431"/>
                  </a:lnTo>
                  <a:close/>
                </a:path>
                <a:path w="57150" h="59690">
                  <a:moveTo>
                    <a:pt x="54487" y="50723"/>
                  </a:moveTo>
                  <a:lnTo>
                    <a:pt x="41313" y="50723"/>
                  </a:lnTo>
                  <a:lnTo>
                    <a:pt x="43439" y="54302"/>
                  </a:lnTo>
                  <a:lnTo>
                    <a:pt x="43951" y="54762"/>
                  </a:lnTo>
                  <a:lnTo>
                    <a:pt x="43905" y="55087"/>
                  </a:lnTo>
                  <a:lnTo>
                    <a:pt x="44157" y="55511"/>
                  </a:lnTo>
                  <a:lnTo>
                    <a:pt x="51333" y="56489"/>
                  </a:lnTo>
                  <a:lnTo>
                    <a:pt x="56807" y="56070"/>
                  </a:lnTo>
                  <a:lnTo>
                    <a:pt x="56684" y="54571"/>
                  </a:lnTo>
                  <a:lnTo>
                    <a:pt x="56567" y="54302"/>
                  </a:lnTo>
                  <a:lnTo>
                    <a:pt x="56019" y="53238"/>
                  </a:lnTo>
                  <a:lnTo>
                    <a:pt x="54487" y="50723"/>
                  </a:lnTo>
                  <a:close/>
                </a:path>
                <a:path w="57150" h="59690">
                  <a:moveTo>
                    <a:pt x="43439" y="54302"/>
                  </a:moveTo>
                  <a:lnTo>
                    <a:pt x="43905" y="55087"/>
                  </a:lnTo>
                  <a:lnTo>
                    <a:pt x="43951" y="54762"/>
                  </a:lnTo>
                  <a:lnTo>
                    <a:pt x="43439" y="5430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3" name="object 875">
              <a:extLst>
                <a:ext uri="{FF2B5EF4-FFF2-40B4-BE49-F238E27FC236}">
                  <a16:creationId xmlns:a16="http://schemas.microsoft.com/office/drawing/2014/main" id="{8A855096-A1F2-488D-A8B3-8A5C555B6E3A}"/>
                </a:ext>
              </a:extLst>
            </p:cNvPr>
            <p:cNvSpPr/>
            <p:nvPr/>
          </p:nvSpPr>
          <p:spPr>
            <a:xfrm>
              <a:off x="8014231" y="6166746"/>
              <a:ext cx="56515" cy="59690"/>
            </a:xfrm>
            <a:custGeom>
              <a:avLst/>
              <a:gdLst/>
              <a:ahLst/>
              <a:cxnLst/>
              <a:rect l="l" t="t" r="r" b="b"/>
              <a:pathLst>
                <a:path w="56515" h="59690">
                  <a:moveTo>
                    <a:pt x="21530" y="54114"/>
                  </a:moveTo>
                  <a:lnTo>
                    <a:pt x="16497" y="54114"/>
                  </a:lnTo>
                  <a:lnTo>
                    <a:pt x="16485" y="54749"/>
                  </a:lnTo>
                  <a:lnTo>
                    <a:pt x="14744" y="56807"/>
                  </a:lnTo>
                  <a:lnTo>
                    <a:pt x="14363" y="58267"/>
                  </a:lnTo>
                  <a:lnTo>
                    <a:pt x="15151" y="59093"/>
                  </a:lnTo>
                  <a:lnTo>
                    <a:pt x="15938" y="58470"/>
                  </a:lnTo>
                  <a:lnTo>
                    <a:pt x="20269" y="56299"/>
                  </a:lnTo>
                  <a:lnTo>
                    <a:pt x="21530" y="54114"/>
                  </a:lnTo>
                  <a:close/>
                </a:path>
                <a:path w="56515" h="59690">
                  <a:moveTo>
                    <a:pt x="34489" y="53212"/>
                  </a:moveTo>
                  <a:lnTo>
                    <a:pt x="23215" y="53212"/>
                  </a:lnTo>
                  <a:lnTo>
                    <a:pt x="21386" y="56718"/>
                  </a:lnTo>
                  <a:lnTo>
                    <a:pt x="24739" y="59054"/>
                  </a:lnTo>
                  <a:lnTo>
                    <a:pt x="28587" y="58064"/>
                  </a:lnTo>
                  <a:lnTo>
                    <a:pt x="34378" y="53962"/>
                  </a:lnTo>
                  <a:lnTo>
                    <a:pt x="34489" y="53212"/>
                  </a:lnTo>
                  <a:close/>
                </a:path>
                <a:path w="56515" h="59690">
                  <a:moveTo>
                    <a:pt x="13852" y="55397"/>
                  </a:moveTo>
                  <a:lnTo>
                    <a:pt x="9550" y="55397"/>
                  </a:lnTo>
                  <a:lnTo>
                    <a:pt x="10121" y="58991"/>
                  </a:lnTo>
                  <a:lnTo>
                    <a:pt x="11798" y="58064"/>
                  </a:lnTo>
                  <a:lnTo>
                    <a:pt x="12153" y="58064"/>
                  </a:lnTo>
                  <a:lnTo>
                    <a:pt x="12369" y="57848"/>
                  </a:lnTo>
                  <a:lnTo>
                    <a:pt x="12801" y="57035"/>
                  </a:lnTo>
                  <a:lnTo>
                    <a:pt x="13017" y="56819"/>
                  </a:lnTo>
                  <a:lnTo>
                    <a:pt x="13852" y="55397"/>
                  </a:lnTo>
                  <a:close/>
                </a:path>
                <a:path w="56515" h="59690">
                  <a:moveTo>
                    <a:pt x="12153" y="58064"/>
                  </a:moveTo>
                  <a:lnTo>
                    <a:pt x="11798" y="58064"/>
                  </a:lnTo>
                  <a:lnTo>
                    <a:pt x="12026" y="58191"/>
                  </a:lnTo>
                  <a:lnTo>
                    <a:pt x="12153" y="58064"/>
                  </a:lnTo>
                  <a:close/>
                </a:path>
                <a:path w="56515" h="59690">
                  <a:moveTo>
                    <a:pt x="17970" y="0"/>
                  </a:moveTo>
                  <a:lnTo>
                    <a:pt x="17030" y="4559"/>
                  </a:lnTo>
                  <a:lnTo>
                    <a:pt x="16459" y="5892"/>
                  </a:lnTo>
                  <a:lnTo>
                    <a:pt x="15443" y="16230"/>
                  </a:lnTo>
                  <a:lnTo>
                    <a:pt x="16624" y="16535"/>
                  </a:lnTo>
                  <a:lnTo>
                    <a:pt x="17284" y="17132"/>
                  </a:lnTo>
                  <a:lnTo>
                    <a:pt x="18402" y="17779"/>
                  </a:lnTo>
                  <a:lnTo>
                    <a:pt x="19265" y="18630"/>
                  </a:lnTo>
                  <a:lnTo>
                    <a:pt x="20231" y="20485"/>
                  </a:lnTo>
                  <a:lnTo>
                    <a:pt x="23622" y="27863"/>
                  </a:lnTo>
                  <a:lnTo>
                    <a:pt x="20764" y="37274"/>
                  </a:lnTo>
                  <a:lnTo>
                    <a:pt x="14325" y="43141"/>
                  </a:lnTo>
                  <a:lnTo>
                    <a:pt x="12433" y="44475"/>
                  </a:lnTo>
                  <a:lnTo>
                    <a:pt x="5405" y="55397"/>
                  </a:lnTo>
                  <a:lnTo>
                    <a:pt x="5384" y="56133"/>
                  </a:lnTo>
                  <a:lnTo>
                    <a:pt x="0" y="57962"/>
                  </a:lnTo>
                  <a:lnTo>
                    <a:pt x="3086" y="57518"/>
                  </a:lnTo>
                  <a:lnTo>
                    <a:pt x="6605" y="57518"/>
                  </a:lnTo>
                  <a:lnTo>
                    <a:pt x="9550" y="55397"/>
                  </a:lnTo>
                  <a:lnTo>
                    <a:pt x="13852" y="55397"/>
                  </a:lnTo>
                  <a:lnTo>
                    <a:pt x="14173" y="54851"/>
                  </a:lnTo>
                  <a:lnTo>
                    <a:pt x="16497" y="54114"/>
                  </a:lnTo>
                  <a:lnTo>
                    <a:pt x="21530" y="54114"/>
                  </a:lnTo>
                  <a:lnTo>
                    <a:pt x="22021" y="53263"/>
                  </a:lnTo>
                  <a:lnTo>
                    <a:pt x="23215" y="53212"/>
                  </a:lnTo>
                  <a:lnTo>
                    <a:pt x="34489" y="53212"/>
                  </a:lnTo>
                  <a:lnTo>
                    <a:pt x="35039" y="49504"/>
                  </a:lnTo>
                  <a:lnTo>
                    <a:pt x="53237" y="49504"/>
                  </a:lnTo>
                  <a:lnTo>
                    <a:pt x="49225" y="46761"/>
                  </a:lnTo>
                  <a:lnTo>
                    <a:pt x="47815" y="42075"/>
                  </a:lnTo>
                  <a:lnTo>
                    <a:pt x="47053" y="39839"/>
                  </a:lnTo>
                  <a:lnTo>
                    <a:pt x="46278" y="36639"/>
                  </a:lnTo>
                  <a:lnTo>
                    <a:pt x="45834" y="33794"/>
                  </a:lnTo>
                  <a:lnTo>
                    <a:pt x="45869" y="27863"/>
                  </a:lnTo>
                  <a:lnTo>
                    <a:pt x="43611" y="14465"/>
                  </a:lnTo>
                  <a:lnTo>
                    <a:pt x="43802" y="10871"/>
                  </a:lnTo>
                  <a:lnTo>
                    <a:pt x="42938" y="9524"/>
                  </a:lnTo>
                  <a:lnTo>
                    <a:pt x="35902" y="3213"/>
                  </a:lnTo>
                  <a:lnTo>
                    <a:pt x="17970" y="0"/>
                  </a:lnTo>
                  <a:close/>
                </a:path>
                <a:path w="56515" h="59690">
                  <a:moveTo>
                    <a:pt x="6605" y="57518"/>
                  </a:moveTo>
                  <a:lnTo>
                    <a:pt x="3086" y="57518"/>
                  </a:lnTo>
                  <a:lnTo>
                    <a:pt x="6464" y="57619"/>
                  </a:lnTo>
                  <a:lnTo>
                    <a:pt x="6605" y="57518"/>
                  </a:lnTo>
                  <a:close/>
                </a:path>
                <a:path w="56515" h="59690">
                  <a:moveTo>
                    <a:pt x="53791" y="50355"/>
                  </a:moveTo>
                  <a:lnTo>
                    <a:pt x="40995" y="50355"/>
                  </a:lnTo>
                  <a:lnTo>
                    <a:pt x="43713" y="54749"/>
                  </a:lnTo>
                  <a:lnTo>
                    <a:pt x="50596" y="56375"/>
                  </a:lnTo>
                  <a:lnTo>
                    <a:pt x="56426" y="55689"/>
                  </a:lnTo>
                  <a:lnTo>
                    <a:pt x="56235" y="54292"/>
                  </a:lnTo>
                  <a:lnTo>
                    <a:pt x="55549" y="53060"/>
                  </a:lnTo>
                  <a:lnTo>
                    <a:pt x="53791" y="50355"/>
                  </a:lnTo>
                  <a:close/>
                </a:path>
                <a:path w="56515" h="59690">
                  <a:moveTo>
                    <a:pt x="53237" y="49504"/>
                  </a:moveTo>
                  <a:lnTo>
                    <a:pt x="35039" y="49504"/>
                  </a:lnTo>
                  <a:lnTo>
                    <a:pt x="35966" y="56083"/>
                  </a:lnTo>
                  <a:lnTo>
                    <a:pt x="41554" y="56095"/>
                  </a:lnTo>
                  <a:lnTo>
                    <a:pt x="43319" y="56324"/>
                  </a:lnTo>
                  <a:lnTo>
                    <a:pt x="43484" y="54508"/>
                  </a:lnTo>
                  <a:lnTo>
                    <a:pt x="41300" y="52349"/>
                  </a:lnTo>
                  <a:lnTo>
                    <a:pt x="40995" y="50355"/>
                  </a:lnTo>
                  <a:lnTo>
                    <a:pt x="53791" y="50355"/>
                  </a:lnTo>
                  <a:lnTo>
                    <a:pt x="53237" y="49504"/>
                  </a:lnTo>
                  <a:close/>
                </a:path>
              </a:pathLst>
            </a:custGeom>
            <a:solidFill>
              <a:srgbClr val="02030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4" name="object 876">
              <a:extLst>
                <a:ext uri="{FF2B5EF4-FFF2-40B4-BE49-F238E27FC236}">
                  <a16:creationId xmlns:a16="http://schemas.microsoft.com/office/drawing/2014/main" id="{392F9171-4774-4126-9ABD-0793EE1ED0FD}"/>
                </a:ext>
              </a:extLst>
            </p:cNvPr>
            <p:cNvSpPr/>
            <p:nvPr/>
          </p:nvSpPr>
          <p:spPr>
            <a:xfrm>
              <a:off x="8014629" y="6166905"/>
              <a:ext cx="55880" cy="59055"/>
            </a:xfrm>
            <a:custGeom>
              <a:avLst/>
              <a:gdLst/>
              <a:ahLst/>
              <a:cxnLst/>
              <a:rect l="l" t="t" r="r" b="b"/>
              <a:pathLst>
                <a:path w="55879" h="59054">
                  <a:moveTo>
                    <a:pt x="34191" y="51727"/>
                  </a:moveTo>
                  <a:lnTo>
                    <a:pt x="23342" y="51727"/>
                  </a:lnTo>
                  <a:lnTo>
                    <a:pt x="20591" y="55587"/>
                  </a:lnTo>
                  <a:lnTo>
                    <a:pt x="20562" y="55879"/>
                  </a:lnTo>
                  <a:lnTo>
                    <a:pt x="24282" y="58750"/>
                  </a:lnTo>
                  <a:lnTo>
                    <a:pt x="27825" y="58000"/>
                  </a:lnTo>
                  <a:lnTo>
                    <a:pt x="34074" y="52997"/>
                  </a:lnTo>
                  <a:lnTo>
                    <a:pt x="34191" y="51727"/>
                  </a:lnTo>
                  <a:close/>
                </a:path>
                <a:path w="55879" h="59054">
                  <a:moveTo>
                    <a:pt x="21393" y="53200"/>
                  </a:moveTo>
                  <a:lnTo>
                    <a:pt x="16281" y="53200"/>
                  </a:lnTo>
                  <a:lnTo>
                    <a:pt x="16243" y="54470"/>
                  </a:lnTo>
                  <a:lnTo>
                    <a:pt x="14541" y="56565"/>
                  </a:lnTo>
                  <a:lnTo>
                    <a:pt x="14268" y="57416"/>
                  </a:lnTo>
                  <a:lnTo>
                    <a:pt x="14242" y="58000"/>
                  </a:lnTo>
                  <a:lnTo>
                    <a:pt x="14757" y="58546"/>
                  </a:lnTo>
                  <a:lnTo>
                    <a:pt x="15506" y="58077"/>
                  </a:lnTo>
                  <a:lnTo>
                    <a:pt x="19850" y="55587"/>
                  </a:lnTo>
                  <a:lnTo>
                    <a:pt x="21393" y="53200"/>
                  </a:lnTo>
                  <a:close/>
                </a:path>
                <a:path w="55879" h="59054">
                  <a:moveTo>
                    <a:pt x="13062" y="55117"/>
                  </a:moveTo>
                  <a:lnTo>
                    <a:pt x="9169" y="55117"/>
                  </a:lnTo>
                  <a:lnTo>
                    <a:pt x="9690" y="58369"/>
                  </a:lnTo>
                  <a:lnTo>
                    <a:pt x="11036" y="57670"/>
                  </a:lnTo>
                  <a:lnTo>
                    <a:pt x="11642" y="57670"/>
                  </a:lnTo>
                  <a:lnTo>
                    <a:pt x="11823" y="57530"/>
                  </a:lnTo>
                  <a:lnTo>
                    <a:pt x="12331" y="56476"/>
                  </a:lnTo>
                  <a:lnTo>
                    <a:pt x="12471" y="56337"/>
                  </a:lnTo>
                  <a:lnTo>
                    <a:pt x="13062" y="55117"/>
                  </a:lnTo>
                  <a:close/>
                </a:path>
                <a:path w="55879" h="59054">
                  <a:moveTo>
                    <a:pt x="11642" y="57670"/>
                  </a:moveTo>
                  <a:lnTo>
                    <a:pt x="11036" y="57670"/>
                  </a:lnTo>
                  <a:lnTo>
                    <a:pt x="11379" y="57873"/>
                  </a:lnTo>
                  <a:lnTo>
                    <a:pt x="11642" y="57670"/>
                  </a:lnTo>
                  <a:close/>
                </a:path>
                <a:path w="55879" h="59054">
                  <a:moveTo>
                    <a:pt x="17868" y="0"/>
                  </a:moveTo>
                  <a:lnTo>
                    <a:pt x="16865" y="4610"/>
                  </a:lnTo>
                  <a:lnTo>
                    <a:pt x="16230" y="5905"/>
                  </a:lnTo>
                  <a:lnTo>
                    <a:pt x="15430" y="15976"/>
                  </a:lnTo>
                  <a:lnTo>
                    <a:pt x="16764" y="16179"/>
                  </a:lnTo>
                  <a:lnTo>
                    <a:pt x="17360" y="16789"/>
                  </a:lnTo>
                  <a:lnTo>
                    <a:pt x="18694" y="17449"/>
                  </a:lnTo>
                  <a:lnTo>
                    <a:pt x="19519" y="18300"/>
                  </a:lnTo>
                  <a:lnTo>
                    <a:pt x="20599" y="20599"/>
                  </a:lnTo>
                  <a:lnTo>
                    <a:pt x="23596" y="28079"/>
                  </a:lnTo>
                  <a:lnTo>
                    <a:pt x="20523" y="37083"/>
                  </a:lnTo>
                  <a:lnTo>
                    <a:pt x="14325" y="42722"/>
                  </a:lnTo>
                  <a:lnTo>
                    <a:pt x="12471" y="44030"/>
                  </a:lnTo>
                  <a:lnTo>
                    <a:pt x="5461" y="54914"/>
                  </a:lnTo>
                  <a:lnTo>
                    <a:pt x="5270" y="55879"/>
                  </a:lnTo>
                  <a:lnTo>
                    <a:pt x="0" y="57683"/>
                  </a:lnTo>
                  <a:lnTo>
                    <a:pt x="2590" y="57416"/>
                  </a:lnTo>
                  <a:lnTo>
                    <a:pt x="6375" y="57099"/>
                  </a:lnTo>
                  <a:lnTo>
                    <a:pt x="9169" y="55117"/>
                  </a:lnTo>
                  <a:lnTo>
                    <a:pt x="13062" y="55117"/>
                  </a:lnTo>
                  <a:lnTo>
                    <a:pt x="13665" y="53873"/>
                  </a:lnTo>
                  <a:lnTo>
                    <a:pt x="16281" y="53200"/>
                  </a:lnTo>
                  <a:lnTo>
                    <a:pt x="21393" y="53200"/>
                  </a:lnTo>
                  <a:lnTo>
                    <a:pt x="21615" y="52857"/>
                  </a:lnTo>
                  <a:lnTo>
                    <a:pt x="23342" y="51727"/>
                  </a:lnTo>
                  <a:lnTo>
                    <a:pt x="34191" y="51727"/>
                  </a:lnTo>
                  <a:lnTo>
                    <a:pt x="34569" y="47650"/>
                  </a:lnTo>
                  <a:lnTo>
                    <a:pt x="49966" y="47650"/>
                  </a:lnTo>
                  <a:lnTo>
                    <a:pt x="47840" y="45897"/>
                  </a:lnTo>
                  <a:lnTo>
                    <a:pt x="46913" y="41694"/>
                  </a:lnTo>
                  <a:lnTo>
                    <a:pt x="46202" y="39357"/>
                  </a:lnTo>
                  <a:lnTo>
                    <a:pt x="45427" y="35864"/>
                  </a:lnTo>
                  <a:lnTo>
                    <a:pt x="45034" y="33400"/>
                  </a:lnTo>
                  <a:lnTo>
                    <a:pt x="45021" y="29133"/>
                  </a:lnTo>
                  <a:lnTo>
                    <a:pt x="43298" y="15976"/>
                  </a:lnTo>
                  <a:lnTo>
                    <a:pt x="43192" y="11175"/>
                  </a:lnTo>
                  <a:lnTo>
                    <a:pt x="35255" y="3213"/>
                  </a:lnTo>
                  <a:lnTo>
                    <a:pt x="17868" y="0"/>
                  </a:lnTo>
                  <a:close/>
                </a:path>
                <a:path w="55879" h="59054">
                  <a:moveTo>
                    <a:pt x="52307" y="49644"/>
                  </a:moveTo>
                  <a:lnTo>
                    <a:pt x="40373" y="49644"/>
                  </a:lnTo>
                  <a:lnTo>
                    <a:pt x="42862" y="53225"/>
                  </a:lnTo>
                  <a:lnTo>
                    <a:pt x="49110" y="56172"/>
                  </a:lnTo>
                  <a:lnTo>
                    <a:pt x="55689" y="54952"/>
                  </a:lnTo>
                  <a:lnTo>
                    <a:pt x="55359" y="53835"/>
                  </a:lnTo>
                  <a:lnTo>
                    <a:pt x="54610" y="52730"/>
                  </a:lnTo>
                  <a:lnTo>
                    <a:pt x="52307" y="49644"/>
                  </a:lnTo>
                  <a:close/>
                </a:path>
                <a:path w="55879" h="59054">
                  <a:moveTo>
                    <a:pt x="49966" y="47650"/>
                  </a:moveTo>
                  <a:lnTo>
                    <a:pt x="34569" y="47650"/>
                  </a:lnTo>
                  <a:lnTo>
                    <a:pt x="35255" y="56095"/>
                  </a:lnTo>
                  <a:lnTo>
                    <a:pt x="41249" y="55422"/>
                  </a:lnTo>
                  <a:lnTo>
                    <a:pt x="42799" y="55422"/>
                  </a:lnTo>
                  <a:lnTo>
                    <a:pt x="42494" y="53974"/>
                  </a:lnTo>
                  <a:lnTo>
                    <a:pt x="40665" y="51727"/>
                  </a:lnTo>
                  <a:lnTo>
                    <a:pt x="40373" y="49644"/>
                  </a:lnTo>
                  <a:lnTo>
                    <a:pt x="52307" y="49644"/>
                  </a:lnTo>
                  <a:lnTo>
                    <a:pt x="52184" y="49479"/>
                  </a:lnTo>
                  <a:lnTo>
                    <a:pt x="49966" y="47650"/>
                  </a:lnTo>
                  <a:close/>
                </a:path>
                <a:path w="55879" h="59054">
                  <a:moveTo>
                    <a:pt x="42799" y="55422"/>
                  </a:moveTo>
                  <a:lnTo>
                    <a:pt x="41249" y="55422"/>
                  </a:lnTo>
                  <a:lnTo>
                    <a:pt x="42887" y="55841"/>
                  </a:lnTo>
                  <a:lnTo>
                    <a:pt x="42799" y="55422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5" name="object 877">
              <a:extLst>
                <a:ext uri="{FF2B5EF4-FFF2-40B4-BE49-F238E27FC236}">
                  <a16:creationId xmlns:a16="http://schemas.microsoft.com/office/drawing/2014/main" id="{F4C13ADF-1D9B-4C14-9D20-867C6AF14CCC}"/>
                </a:ext>
              </a:extLst>
            </p:cNvPr>
            <p:cNvSpPr/>
            <p:nvPr/>
          </p:nvSpPr>
          <p:spPr>
            <a:xfrm>
              <a:off x="8014826" y="6166989"/>
              <a:ext cx="55880" cy="59055"/>
            </a:xfrm>
            <a:custGeom>
              <a:avLst/>
              <a:gdLst/>
              <a:ahLst/>
              <a:cxnLst/>
              <a:rect l="l" t="t" r="r" b="b"/>
              <a:pathLst>
                <a:path w="55879" h="59054">
                  <a:moveTo>
                    <a:pt x="34031" y="50990"/>
                  </a:moveTo>
                  <a:lnTo>
                    <a:pt x="23418" y="50990"/>
                  </a:lnTo>
                  <a:lnTo>
                    <a:pt x="19977" y="55308"/>
                  </a:lnTo>
                  <a:lnTo>
                    <a:pt x="24066" y="58597"/>
                  </a:lnTo>
                  <a:lnTo>
                    <a:pt x="27457" y="57975"/>
                  </a:lnTo>
                  <a:lnTo>
                    <a:pt x="33861" y="52552"/>
                  </a:lnTo>
                  <a:lnTo>
                    <a:pt x="34031" y="50990"/>
                  </a:lnTo>
                  <a:close/>
                </a:path>
                <a:path w="55879" h="59054">
                  <a:moveTo>
                    <a:pt x="21351" y="52743"/>
                  </a:moveTo>
                  <a:lnTo>
                    <a:pt x="16167" y="52743"/>
                  </a:lnTo>
                  <a:lnTo>
                    <a:pt x="16078" y="54356"/>
                  </a:lnTo>
                  <a:lnTo>
                    <a:pt x="14439" y="56451"/>
                  </a:lnTo>
                  <a:lnTo>
                    <a:pt x="14120" y="57353"/>
                  </a:lnTo>
                  <a:lnTo>
                    <a:pt x="14042" y="57708"/>
                  </a:lnTo>
                  <a:lnTo>
                    <a:pt x="14554" y="58280"/>
                  </a:lnTo>
                  <a:lnTo>
                    <a:pt x="16145" y="57353"/>
                  </a:lnTo>
                  <a:lnTo>
                    <a:pt x="19646" y="55219"/>
                  </a:lnTo>
                  <a:lnTo>
                    <a:pt x="21351" y="52743"/>
                  </a:lnTo>
                  <a:close/>
                </a:path>
                <a:path w="55879" h="59054">
                  <a:moveTo>
                    <a:pt x="12697" y="54978"/>
                  </a:moveTo>
                  <a:lnTo>
                    <a:pt x="8991" y="54978"/>
                  </a:lnTo>
                  <a:lnTo>
                    <a:pt x="9486" y="58064"/>
                  </a:lnTo>
                  <a:lnTo>
                    <a:pt x="10655" y="57480"/>
                  </a:lnTo>
                  <a:lnTo>
                    <a:pt x="11383" y="57480"/>
                  </a:lnTo>
                  <a:lnTo>
                    <a:pt x="11550" y="57353"/>
                  </a:lnTo>
                  <a:lnTo>
                    <a:pt x="12090" y="56210"/>
                  </a:lnTo>
                  <a:lnTo>
                    <a:pt x="12216" y="56057"/>
                  </a:lnTo>
                  <a:lnTo>
                    <a:pt x="12697" y="54978"/>
                  </a:lnTo>
                  <a:close/>
                </a:path>
                <a:path w="55879" h="59054">
                  <a:moveTo>
                    <a:pt x="11383" y="57480"/>
                  </a:moveTo>
                  <a:lnTo>
                    <a:pt x="10655" y="57480"/>
                  </a:lnTo>
                  <a:lnTo>
                    <a:pt x="11061" y="57708"/>
                  </a:lnTo>
                  <a:lnTo>
                    <a:pt x="11383" y="57480"/>
                  </a:lnTo>
                  <a:close/>
                </a:path>
                <a:path w="55879" h="59054">
                  <a:moveTo>
                    <a:pt x="17818" y="0"/>
                  </a:moveTo>
                  <a:lnTo>
                    <a:pt x="16789" y="4622"/>
                  </a:lnTo>
                  <a:lnTo>
                    <a:pt x="16128" y="5905"/>
                  </a:lnTo>
                  <a:lnTo>
                    <a:pt x="15430" y="15836"/>
                  </a:lnTo>
                  <a:lnTo>
                    <a:pt x="16827" y="15989"/>
                  </a:lnTo>
                  <a:lnTo>
                    <a:pt x="17386" y="16611"/>
                  </a:lnTo>
                  <a:lnTo>
                    <a:pt x="18846" y="17284"/>
                  </a:lnTo>
                  <a:lnTo>
                    <a:pt x="19659" y="18135"/>
                  </a:lnTo>
                  <a:lnTo>
                    <a:pt x="20789" y="20650"/>
                  </a:lnTo>
                  <a:lnTo>
                    <a:pt x="23596" y="28194"/>
                  </a:lnTo>
                  <a:lnTo>
                    <a:pt x="20396" y="36982"/>
                  </a:lnTo>
                  <a:lnTo>
                    <a:pt x="14325" y="42506"/>
                  </a:lnTo>
                  <a:lnTo>
                    <a:pt x="12484" y="43802"/>
                  </a:lnTo>
                  <a:lnTo>
                    <a:pt x="5562" y="54584"/>
                  </a:lnTo>
                  <a:lnTo>
                    <a:pt x="5219" y="55753"/>
                  </a:lnTo>
                  <a:lnTo>
                    <a:pt x="0" y="57531"/>
                  </a:lnTo>
                  <a:lnTo>
                    <a:pt x="2349" y="57353"/>
                  </a:lnTo>
                  <a:lnTo>
                    <a:pt x="6324" y="56845"/>
                  </a:lnTo>
                  <a:lnTo>
                    <a:pt x="8991" y="54978"/>
                  </a:lnTo>
                  <a:lnTo>
                    <a:pt x="12697" y="54978"/>
                  </a:lnTo>
                  <a:lnTo>
                    <a:pt x="13411" y="53378"/>
                  </a:lnTo>
                  <a:lnTo>
                    <a:pt x="16167" y="52743"/>
                  </a:lnTo>
                  <a:lnTo>
                    <a:pt x="21351" y="52743"/>
                  </a:lnTo>
                  <a:lnTo>
                    <a:pt x="23418" y="50990"/>
                  </a:lnTo>
                  <a:lnTo>
                    <a:pt x="34031" y="50990"/>
                  </a:lnTo>
                  <a:lnTo>
                    <a:pt x="34340" y="46723"/>
                  </a:lnTo>
                  <a:lnTo>
                    <a:pt x="48576" y="46723"/>
                  </a:lnTo>
                  <a:lnTo>
                    <a:pt x="47155" y="45453"/>
                  </a:lnTo>
                  <a:lnTo>
                    <a:pt x="46469" y="41503"/>
                  </a:lnTo>
                  <a:lnTo>
                    <a:pt x="45783" y="39116"/>
                  </a:lnTo>
                  <a:lnTo>
                    <a:pt x="44996" y="35483"/>
                  </a:lnTo>
                  <a:lnTo>
                    <a:pt x="44640" y="33197"/>
                  </a:lnTo>
                  <a:lnTo>
                    <a:pt x="44564" y="29552"/>
                  </a:lnTo>
                  <a:lnTo>
                    <a:pt x="42887" y="14795"/>
                  </a:lnTo>
                  <a:lnTo>
                    <a:pt x="42875" y="11315"/>
                  </a:lnTo>
                  <a:lnTo>
                    <a:pt x="41236" y="9893"/>
                  </a:lnTo>
                  <a:lnTo>
                    <a:pt x="34924" y="3200"/>
                  </a:lnTo>
                  <a:lnTo>
                    <a:pt x="17818" y="0"/>
                  </a:lnTo>
                  <a:close/>
                </a:path>
                <a:path w="55879" h="59054">
                  <a:moveTo>
                    <a:pt x="48576" y="46723"/>
                  </a:moveTo>
                  <a:lnTo>
                    <a:pt x="34340" y="46723"/>
                  </a:lnTo>
                  <a:lnTo>
                    <a:pt x="34899" y="56095"/>
                  </a:lnTo>
                  <a:lnTo>
                    <a:pt x="41097" y="55079"/>
                  </a:lnTo>
                  <a:lnTo>
                    <a:pt x="42490" y="55079"/>
                  </a:lnTo>
                  <a:lnTo>
                    <a:pt x="41998" y="53708"/>
                  </a:lnTo>
                  <a:lnTo>
                    <a:pt x="40347" y="51422"/>
                  </a:lnTo>
                  <a:lnTo>
                    <a:pt x="40068" y="49276"/>
                  </a:lnTo>
                  <a:lnTo>
                    <a:pt x="51434" y="49276"/>
                  </a:lnTo>
                  <a:lnTo>
                    <a:pt x="48576" y="46723"/>
                  </a:lnTo>
                  <a:close/>
                </a:path>
                <a:path w="55879" h="59054">
                  <a:moveTo>
                    <a:pt x="51434" y="49276"/>
                  </a:moveTo>
                  <a:lnTo>
                    <a:pt x="40068" y="49276"/>
                  </a:lnTo>
                  <a:lnTo>
                    <a:pt x="42430" y="52463"/>
                  </a:lnTo>
                  <a:lnTo>
                    <a:pt x="48374" y="56057"/>
                  </a:lnTo>
                  <a:lnTo>
                    <a:pt x="55321" y="54584"/>
                  </a:lnTo>
                  <a:lnTo>
                    <a:pt x="54927" y="53606"/>
                  </a:lnTo>
                  <a:lnTo>
                    <a:pt x="54068" y="52463"/>
                  </a:lnTo>
                  <a:lnTo>
                    <a:pt x="51676" y="49491"/>
                  </a:lnTo>
                  <a:lnTo>
                    <a:pt x="51434" y="49276"/>
                  </a:lnTo>
                  <a:close/>
                </a:path>
                <a:path w="55879" h="59054">
                  <a:moveTo>
                    <a:pt x="42490" y="55079"/>
                  </a:moveTo>
                  <a:lnTo>
                    <a:pt x="41097" y="55079"/>
                  </a:lnTo>
                  <a:lnTo>
                    <a:pt x="42671" y="55587"/>
                  </a:lnTo>
                  <a:lnTo>
                    <a:pt x="42490" y="55079"/>
                  </a:lnTo>
                  <a:close/>
                </a:path>
              </a:pathLst>
            </a:custGeom>
            <a:solidFill>
              <a:srgbClr val="FFF5D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6" name="object 878">
              <a:extLst>
                <a:ext uri="{FF2B5EF4-FFF2-40B4-BE49-F238E27FC236}">
                  <a16:creationId xmlns:a16="http://schemas.microsoft.com/office/drawing/2014/main" id="{05CC141B-4E43-4F91-BE08-778BA15EC49A}"/>
                </a:ext>
              </a:extLst>
            </p:cNvPr>
            <p:cNvSpPr/>
            <p:nvPr/>
          </p:nvSpPr>
          <p:spPr>
            <a:xfrm>
              <a:off x="8015020" y="6167072"/>
              <a:ext cx="55244" cy="59055"/>
            </a:xfrm>
            <a:custGeom>
              <a:avLst/>
              <a:gdLst/>
              <a:ahLst/>
              <a:cxnLst/>
              <a:rect l="l" t="t" r="r" b="b"/>
              <a:pathLst>
                <a:path w="55245" h="59054">
                  <a:moveTo>
                    <a:pt x="54940" y="54216"/>
                  </a:moveTo>
                  <a:lnTo>
                    <a:pt x="54775" y="53924"/>
                  </a:lnTo>
                  <a:lnTo>
                    <a:pt x="54483" y="53390"/>
                  </a:lnTo>
                  <a:lnTo>
                    <a:pt x="53581" y="52298"/>
                  </a:lnTo>
                  <a:lnTo>
                    <a:pt x="51168" y="49504"/>
                  </a:lnTo>
                  <a:lnTo>
                    <a:pt x="50571" y="48933"/>
                  </a:lnTo>
                  <a:lnTo>
                    <a:pt x="47256" y="45796"/>
                  </a:lnTo>
                  <a:lnTo>
                    <a:pt x="46456" y="45034"/>
                  </a:lnTo>
                  <a:lnTo>
                    <a:pt x="46024" y="41325"/>
                  </a:lnTo>
                  <a:lnTo>
                    <a:pt x="45364" y="38887"/>
                  </a:lnTo>
                  <a:lnTo>
                    <a:pt x="44564" y="35102"/>
                  </a:lnTo>
                  <a:lnTo>
                    <a:pt x="44234" y="33007"/>
                  </a:lnTo>
                  <a:lnTo>
                    <a:pt x="44094" y="29997"/>
                  </a:lnTo>
                  <a:lnTo>
                    <a:pt x="42659" y="14922"/>
                  </a:lnTo>
                  <a:lnTo>
                    <a:pt x="42570" y="11468"/>
                  </a:lnTo>
                  <a:lnTo>
                    <a:pt x="40665" y="10033"/>
                  </a:lnTo>
                  <a:lnTo>
                    <a:pt x="34594" y="3213"/>
                  </a:lnTo>
                  <a:lnTo>
                    <a:pt x="17754" y="0"/>
                  </a:lnTo>
                  <a:lnTo>
                    <a:pt x="16700" y="4660"/>
                  </a:lnTo>
                  <a:lnTo>
                    <a:pt x="16014" y="5905"/>
                  </a:lnTo>
                  <a:lnTo>
                    <a:pt x="15430" y="15709"/>
                  </a:lnTo>
                  <a:lnTo>
                    <a:pt x="16891" y="15824"/>
                  </a:lnTo>
                  <a:lnTo>
                    <a:pt x="17424" y="16446"/>
                  </a:lnTo>
                  <a:lnTo>
                    <a:pt x="18999" y="17119"/>
                  </a:lnTo>
                  <a:lnTo>
                    <a:pt x="19786" y="17970"/>
                  </a:lnTo>
                  <a:lnTo>
                    <a:pt x="20967" y="20726"/>
                  </a:lnTo>
                  <a:lnTo>
                    <a:pt x="23583" y="28308"/>
                  </a:lnTo>
                  <a:lnTo>
                    <a:pt x="20269" y="36880"/>
                  </a:lnTo>
                  <a:lnTo>
                    <a:pt x="14325" y="42303"/>
                  </a:lnTo>
                  <a:lnTo>
                    <a:pt x="13855" y="42646"/>
                  </a:lnTo>
                  <a:lnTo>
                    <a:pt x="12725" y="43446"/>
                  </a:lnTo>
                  <a:lnTo>
                    <a:pt x="12496" y="43599"/>
                  </a:lnTo>
                  <a:lnTo>
                    <a:pt x="5638" y="54267"/>
                  </a:lnTo>
                  <a:lnTo>
                    <a:pt x="5168" y="55638"/>
                  </a:lnTo>
                  <a:lnTo>
                    <a:pt x="203" y="57327"/>
                  </a:lnTo>
                  <a:lnTo>
                    <a:pt x="0" y="57391"/>
                  </a:lnTo>
                  <a:lnTo>
                    <a:pt x="1346" y="57327"/>
                  </a:lnTo>
                  <a:lnTo>
                    <a:pt x="2044" y="57327"/>
                  </a:lnTo>
                  <a:lnTo>
                    <a:pt x="2438" y="57251"/>
                  </a:lnTo>
                  <a:lnTo>
                    <a:pt x="6273" y="56591"/>
                  </a:lnTo>
                  <a:lnTo>
                    <a:pt x="8788" y="54838"/>
                  </a:lnTo>
                  <a:lnTo>
                    <a:pt x="9271" y="57759"/>
                  </a:lnTo>
                  <a:lnTo>
                    <a:pt x="10274" y="57289"/>
                  </a:lnTo>
                  <a:lnTo>
                    <a:pt x="10731" y="57556"/>
                  </a:lnTo>
                  <a:lnTo>
                    <a:pt x="11150" y="57289"/>
                  </a:lnTo>
                  <a:lnTo>
                    <a:pt x="11861" y="55930"/>
                  </a:lnTo>
                  <a:lnTo>
                    <a:pt x="12344" y="54838"/>
                  </a:lnTo>
                  <a:lnTo>
                    <a:pt x="13157" y="52908"/>
                  </a:lnTo>
                  <a:lnTo>
                    <a:pt x="16052" y="52298"/>
                  </a:lnTo>
                  <a:lnTo>
                    <a:pt x="15925" y="54267"/>
                  </a:lnTo>
                  <a:lnTo>
                    <a:pt x="14338" y="56349"/>
                  </a:lnTo>
                  <a:lnTo>
                    <a:pt x="13995" y="57213"/>
                  </a:lnTo>
                  <a:lnTo>
                    <a:pt x="13944" y="57556"/>
                  </a:lnTo>
                  <a:lnTo>
                    <a:pt x="14351" y="58013"/>
                  </a:lnTo>
                  <a:lnTo>
                    <a:pt x="15074" y="57696"/>
                  </a:lnTo>
                  <a:lnTo>
                    <a:pt x="19431" y="54876"/>
                  </a:lnTo>
                  <a:lnTo>
                    <a:pt x="19532" y="54737"/>
                  </a:lnTo>
                  <a:lnTo>
                    <a:pt x="19545" y="54876"/>
                  </a:lnTo>
                  <a:lnTo>
                    <a:pt x="23837" y="58445"/>
                  </a:lnTo>
                  <a:lnTo>
                    <a:pt x="26238" y="58089"/>
                  </a:lnTo>
                  <a:lnTo>
                    <a:pt x="26885" y="58000"/>
                  </a:lnTo>
                  <a:lnTo>
                    <a:pt x="27076" y="57950"/>
                  </a:lnTo>
                  <a:lnTo>
                    <a:pt x="33756" y="52031"/>
                  </a:lnTo>
                  <a:lnTo>
                    <a:pt x="33769" y="51663"/>
                  </a:lnTo>
                  <a:lnTo>
                    <a:pt x="33858" y="50253"/>
                  </a:lnTo>
                  <a:lnTo>
                    <a:pt x="33883" y="49593"/>
                  </a:lnTo>
                  <a:lnTo>
                    <a:pt x="34086" y="45974"/>
                  </a:lnTo>
                  <a:lnTo>
                    <a:pt x="34378" y="56197"/>
                  </a:lnTo>
                  <a:lnTo>
                    <a:pt x="35547" y="55892"/>
                  </a:lnTo>
                  <a:lnTo>
                    <a:pt x="40932" y="54737"/>
                  </a:lnTo>
                  <a:lnTo>
                    <a:pt x="42456" y="55346"/>
                  </a:lnTo>
                  <a:lnTo>
                    <a:pt x="42341" y="55143"/>
                  </a:lnTo>
                  <a:lnTo>
                    <a:pt x="42151" y="54737"/>
                  </a:lnTo>
                  <a:lnTo>
                    <a:pt x="41452" y="53390"/>
                  </a:lnTo>
                  <a:lnTo>
                    <a:pt x="40093" y="51231"/>
                  </a:lnTo>
                  <a:lnTo>
                    <a:pt x="40017" y="51104"/>
                  </a:lnTo>
                  <a:lnTo>
                    <a:pt x="39751" y="48933"/>
                  </a:lnTo>
                  <a:lnTo>
                    <a:pt x="41998" y="51714"/>
                  </a:lnTo>
                  <a:lnTo>
                    <a:pt x="44805" y="53835"/>
                  </a:lnTo>
                  <a:lnTo>
                    <a:pt x="47091" y="55930"/>
                  </a:lnTo>
                  <a:lnTo>
                    <a:pt x="47459" y="55841"/>
                  </a:lnTo>
                  <a:lnTo>
                    <a:pt x="47625" y="55956"/>
                  </a:lnTo>
                  <a:lnTo>
                    <a:pt x="54940" y="54216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7" name="object 879">
              <a:extLst>
                <a:ext uri="{FF2B5EF4-FFF2-40B4-BE49-F238E27FC236}">
                  <a16:creationId xmlns:a16="http://schemas.microsoft.com/office/drawing/2014/main" id="{45A33159-8C26-4B13-86E5-AA68780DB8A5}"/>
                </a:ext>
              </a:extLst>
            </p:cNvPr>
            <p:cNvSpPr/>
            <p:nvPr/>
          </p:nvSpPr>
          <p:spPr>
            <a:xfrm>
              <a:off x="8017653" y="6181531"/>
              <a:ext cx="22225" cy="3810"/>
            </a:xfrm>
            <a:custGeom>
              <a:avLst/>
              <a:gdLst/>
              <a:ahLst/>
              <a:cxnLst/>
              <a:rect l="l" t="t" r="r" b="b"/>
              <a:pathLst>
                <a:path w="22225" h="3809">
                  <a:moveTo>
                    <a:pt x="14732" y="1054"/>
                  </a:moveTo>
                  <a:lnTo>
                    <a:pt x="5816" y="1054"/>
                  </a:lnTo>
                  <a:lnTo>
                    <a:pt x="10909" y="1866"/>
                  </a:lnTo>
                  <a:lnTo>
                    <a:pt x="13639" y="3390"/>
                  </a:lnTo>
                  <a:lnTo>
                    <a:pt x="13741" y="2362"/>
                  </a:lnTo>
                  <a:lnTo>
                    <a:pt x="21602" y="2158"/>
                  </a:lnTo>
                  <a:lnTo>
                    <a:pt x="20440" y="1384"/>
                  </a:lnTo>
                  <a:lnTo>
                    <a:pt x="15659" y="1384"/>
                  </a:lnTo>
                  <a:lnTo>
                    <a:pt x="14732" y="1054"/>
                  </a:lnTo>
                  <a:close/>
                </a:path>
                <a:path w="22225" h="3809">
                  <a:moveTo>
                    <a:pt x="355" y="0"/>
                  </a:moveTo>
                  <a:lnTo>
                    <a:pt x="0" y="2616"/>
                  </a:lnTo>
                  <a:lnTo>
                    <a:pt x="774" y="1828"/>
                  </a:lnTo>
                  <a:lnTo>
                    <a:pt x="5816" y="1054"/>
                  </a:lnTo>
                  <a:lnTo>
                    <a:pt x="14732" y="1054"/>
                  </a:lnTo>
                  <a:lnTo>
                    <a:pt x="13627" y="660"/>
                  </a:lnTo>
                  <a:lnTo>
                    <a:pt x="13305" y="647"/>
                  </a:lnTo>
                  <a:lnTo>
                    <a:pt x="3797" y="647"/>
                  </a:lnTo>
                  <a:lnTo>
                    <a:pt x="355" y="0"/>
                  </a:lnTo>
                  <a:close/>
                </a:path>
                <a:path w="22225" h="3809">
                  <a:moveTo>
                    <a:pt x="20307" y="1295"/>
                  </a:moveTo>
                  <a:lnTo>
                    <a:pt x="15659" y="1384"/>
                  </a:lnTo>
                  <a:lnTo>
                    <a:pt x="20440" y="1384"/>
                  </a:lnTo>
                  <a:lnTo>
                    <a:pt x="20307" y="1295"/>
                  </a:lnTo>
                  <a:close/>
                </a:path>
                <a:path w="22225" h="3809">
                  <a:moveTo>
                    <a:pt x="12661" y="622"/>
                  </a:moveTo>
                  <a:lnTo>
                    <a:pt x="3797" y="647"/>
                  </a:lnTo>
                  <a:lnTo>
                    <a:pt x="13305" y="647"/>
                  </a:lnTo>
                  <a:lnTo>
                    <a:pt x="12661" y="622"/>
                  </a:lnTo>
                  <a:close/>
                </a:path>
              </a:pathLst>
            </a:custGeom>
            <a:solidFill>
              <a:srgbClr val="F3C7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8" name="object 880">
              <a:extLst>
                <a:ext uri="{FF2B5EF4-FFF2-40B4-BE49-F238E27FC236}">
                  <a16:creationId xmlns:a16="http://schemas.microsoft.com/office/drawing/2014/main" id="{AE03D0B0-261B-41B3-99E1-8FAFFC5EF801}"/>
                </a:ext>
              </a:extLst>
            </p:cNvPr>
            <p:cNvSpPr/>
            <p:nvPr/>
          </p:nvSpPr>
          <p:spPr>
            <a:xfrm>
              <a:off x="8017691" y="6181578"/>
              <a:ext cx="22225" cy="3175"/>
            </a:xfrm>
            <a:custGeom>
              <a:avLst/>
              <a:gdLst/>
              <a:ahLst/>
              <a:cxnLst/>
              <a:rect l="l" t="t" r="r" b="b"/>
              <a:pathLst>
                <a:path w="22225" h="3175">
                  <a:moveTo>
                    <a:pt x="18933" y="1142"/>
                  </a:moveTo>
                  <a:lnTo>
                    <a:pt x="4686" y="1142"/>
                  </a:lnTo>
                  <a:lnTo>
                    <a:pt x="8559" y="1219"/>
                  </a:lnTo>
                  <a:lnTo>
                    <a:pt x="13334" y="3136"/>
                  </a:lnTo>
                  <a:lnTo>
                    <a:pt x="13614" y="3136"/>
                  </a:lnTo>
                  <a:lnTo>
                    <a:pt x="15570" y="2146"/>
                  </a:lnTo>
                  <a:lnTo>
                    <a:pt x="18326" y="2082"/>
                  </a:lnTo>
                  <a:lnTo>
                    <a:pt x="20307" y="1866"/>
                  </a:lnTo>
                  <a:lnTo>
                    <a:pt x="22224" y="1866"/>
                  </a:lnTo>
                  <a:lnTo>
                    <a:pt x="18933" y="1142"/>
                  </a:lnTo>
                  <a:close/>
                </a:path>
                <a:path w="22225" h="3175">
                  <a:moveTo>
                    <a:pt x="2412" y="0"/>
                  </a:moveTo>
                  <a:lnTo>
                    <a:pt x="469" y="1358"/>
                  </a:lnTo>
                  <a:lnTo>
                    <a:pt x="95" y="1866"/>
                  </a:lnTo>
                  <a:lnTo>
                    <a:pt x="0" y="2412"/>
                  </a:lnTo>
                  <a:lnTo>
                    <a:pt x="977" y="1765"/>
                  </a:lnTo>
                  <a:lnTo>
                    <a:pt x="4686" y="1142"/>
                  </a:lnTo>
                  <a:lnTo>
                    <a:pt x="18933" y="1142"/>
                  </a:lnTo>
                  <a:lnTo>
                    <a:pt x="16738" y="660"/>
                  </a:lnTo>
                  <a:lnTo>
                    <a:pt x="13541" y="444"/>
                  </a:lnTo>
                  <a:lnTo>
                    <a:pt x="4495" y="444"/>
                  </a:lnTo>
                  <a:lnTo>
                    <a:pt x="2412" y="0"/>
                  </a:lnTo>
                  <a:close/>
                </a:path>
                <a:path w="22225" h="3175">
                  <a:moveTo>
                    <a:pt x="11849" y="330"/>
                  </a:moveTo>
                  <a:lnTo>
                    <a:pt x="4495" y="444"/>
                  </a:lnTo>
                  <a:lnTo>
                    <a:pt x="13541" y="444"/>
                  </a:lnTo>
                  <a:lnTo>
                    <a:pt x="11849" y="330"/>
                  </a:lnTo>
                  <a:close/>
                </a:path>
              </a:pathLst>
            </a:custGeom>
            <a:solidFill>
              <a:srgbClr val="FDE59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89" name="object 881">
              <a:extLst>
                <a:ext uri="{FF2B5EF4-FFF2-40B4-BE49-F238E27FC236}">
                  <a16:creationId xmlns:a16="http://schemas.microsoft.com/office/drawing/2014/main" id="{FD69536C-01E6-4026-82D5-F875BE76BD61}"/>
                </a:ext>
              </a:extLst>
            </p:cNvPr>
            <p:cNvSpPr/>
            <p:nvPr/>
          </p:nvSpPr>
          <p:spPr>
            <a:xfrm>
              <a:off x="8017802" y="6181728"/>
              <a:ext cx="21590" cy="3175"/>
            </a:xfrm>
            <a:custGeom>
              <a:avLst/>
              <a:gdLst/>
              <a:ahLst/>
              <a:cxnLst/>
              <a:rect l="l" t="t" r="r" b="b"/>
              <a:pathLst>
                <a:path w="21590" h="3175">
                  <a:moveTo>
                    <a:pt x="21094" y="1739"/>
                  </a:moveTo>
                  <a:lnTo>
                    <a:pt x="17221" y="965"/>
                  </a:lnTo>
                  <a:lnTo>
                    <a:pt x="16027" y="736"/>
                  </a:lnTo>
                  <a:lnTo>
                    <a:pt x="11988" y="342"/>
                  </a:lnTo>
                  <a:lnTo>
                    <a:pt x="11722" y="317"/>
                  </a:lnTo>
                  <a:lnTo>
                    <a:pt x="4292" y="342"/>
                  </a:lnTo>
                  <a:lnTo>
                    <a:pt x="2413" y="0"/>
                  </a:lnTo>
                  <a:lnTo>
                    <a:pt x="469" y="1231"/>
                  </a:lnTo>
                  <a:lnTo>
                    <a:pt x="76" y="1739"/>
                  </a:lnTo>
                  <a:lnTo>
                    <a:pt x="0" y="2171"/>
                  </a:lnTo>
                  <a:lnTo>
                    <a:pt x="965" y="1562"/>
                  </a:lnTo>
                  <a:lnTo>
                    <a:pt x="4521" y="965"/>
                  </a:lnTo>
                  <a:lnTo>
                    <a:pt x="8343" y="1028"/>
                  </a:lnTo>
                  <a:lnTo>
                    <a:pt x="13157" y="2882"/>
                  </a:lnTo>
                  <a:lnTo>
                    <a:pt x="13462" y="2921"/>
                  </a:lnTo>
                  <a:lnTo>
                    <a:pt x="15316" y="2044"/>
                  </a:lnTo>
                  <a:lnTo>
                    <a:pt x="15582" y="2019"/>
                  </a:lnTo>
                  <a:lnTo>
                    <a:pt x="17830" y="1930"/>
                  </a:lnTo>
                  <a:lnTo>
                    <a:pt x="19469" y="1752"/>
                  </a:lnTo>
                  <a:lnTo>
                    <a:pt x="20078" y="1752"/>
                  </a:lnTo>
                  <a:lnTo>
                    <a:pt x="21094" y="1739"/>
                  </a:lnTo>
                  <a:close/>
                </a:path>
              </a:pathLst>
            </a:custGeom>
            <a:solidFill>
              <a:srgbClr val="F3C7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0" name="object 882">
              <a:extLst>
                <a:ext uri="{FF2B5EF4-FFF2-40B4-BE49-F238E27FC236}">
                  <a16:creationId xmlns:a16="http://schemas.microsoft.com/office/drawing/2014/main" id="{B90C54C5-E305-4CAD-826B-AFA5382D8AD4}"/>
                </a:ext>
              </a:extLst>
            </p:cNvPr>
            <p:cNvSpPr/>
            <p:nvPr/>
          </p:nvSpPr>
          <p:spPr>
            <a:xfrm>
              <a:off x="8024329" y="6171471"/>
              <a:ext cx="14604" cy="12065"/>
            </a:xfrm>
            <a:custGeom>
              <a:avLst/>
              <a:gdLst/>
              <a:ahLst/>
              <a:cxnLst/>
              <a:rect l="l" t="t" r="r" b="b"/>
              <a:pathLst>
                <a:path w="14604" h="12065">
                  <a:moveTo>
                    <a:pt x="3225" y="0"/>
                  </a:moveTo>
                  <a:lnTo>
                    <a:pt x="0" y="609"/>
                  </a:lnTo>
                  <a:lnTo>
                    <a:pt x="25" y="1079"/>
                  </a:lnTo>
                  <a:lnTo>
                    <a:pt x="1841" y="1422"/>
                  </a:lnTo>
                  <a:lnTo>
                    <a:pt x="2793" y="8559"/>
                  </a:lnTo>
                  <a:lnTo>
                    <a:pt x="7302" y="10706"/>
                  </a:lnTo>
                  <a:lnTo>
                    <a:pt x="8508" y="11137"/>
                  </a:lnTo>
                  <a:lnTo>
                    <a:pt x="9359" y="11239"/>
                  </a:lnTo>
                  <a:lnTo>
                    <a:pt x="11595" y="11303"/>
                  </a:lnTo>
                  <a:lnTo>
                    <a:pt x="13296" y="11493"/>
                  </a:lnTo>
                  <a:lnTo>
                    <a:pt x="14350" y="11760"/>
                  </a:lnTo>
                  <a:lnTo>
                    <a:pt x="14528" y="10820"/>
                  </a:lnTo>
                  <a:lnTo>
                    <a:pt x="10706" y="9512"/>
                  </a:lnTo>
                  <a:lnTo>
                    <a:pt x="9651" y="8128"/>
                  </a:lnTo>
                  <a:lnTo>
                    <a:pt x="7899" y="5829"/>
                  </a:lnTo>
                  <a:lnTo>
                    <a:pt x="7099" y="3073"/>
                  </a:lnTo>
                  <a:lnTo>
                    <a:pt x="6464" y="50"/>
                  </a:lnTo>
                  <a:lnTo>
                    <a:pt x="3225" y="0"/>
                  </a:lnTo>
                  <a:close/>
                </a:path>
              </a:pathLst>
            </a:custGeom>
            <a:solidFill>
              <a:srgbClr val="FFEFB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1" name="object 883">
              <a:extLst>
                <a:ext uri="{FF2B5EF4-FFF2-40B4-BE49-F238E27FC236}">
                  <a16:creationId xmlns:a16="http://schemas.microsoft.com/office/drawing/2014/main" id="{0CD8D5D4-B9B7-4CCA-92D7-4B72466B05F2}"/>
                </a:ext>
              </a:extLst>
            </p:cNvPr>
            <p:cNvSpPr/>
            <p:nvPr/>
          </p:nvSpPr>
          <p:spPr>
            <a:xfrm>
              <a:off x="8025145" y="6171737"/>
              <a:ext cx="9525" cy="8255"/>
            </a:xfrm>
            <a:custGeom>
              <a:avLst/>
              <a:gdLst/>
              <a:ahLst/>
              <a:cxnLst/>
              <a:rect l="l" t="t" r="r" b="b"/>
              <a:pathLst>
                <a:path w="9525" h="8254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812" y="1028"/>
                  </a:lnTo>
                  <a:lnTo>
                    <a:pt x="1841" y="4013"/>
                  </a:lnTo>
                  <a:lnTo>
                    <a:pt x="2692" y="4851"/>
                  </a:lnTo>
                  <a:lnTo>
                    <a:pt x="3416" y="5968"/>
                  </a:lnTo>
                  <a:lnTo>
                    <a:pt x="8953" y="7962"/>
                  </a:lnTo>
                  <a:lnTo>
                    <a:pt x="7924" y="7111"/>
                  </a:lnTo>
                  <a:lnTo>
                    <a:pt x="6311" y="3987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59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2" name="object 884">
              <a:extLst>
                <a:ext uri="{FF2B5EF4-FFF2-40B4-BE49-F238E27FC236}">
                  <a16:creationId xmlns:a16="http://schemas.microsoft.com/office/drawing/2014/main" id="{8E3A1171-4B63-4130-A32A-A40454A0DDF3}"/>
                </a:ext>
              </a:extLst>
            </p:cNvPr>
            <p:cNvSpPr/>
            <p:nvPr/>
          </p:nvSpPr>
          <p:spPr>
            <a:xfrm>
              <a:off x="8025140" y="6171736"/>
              <a:ext cx="8890" cy="8255"/>
            </a:xfrm>
            <a:custGeom>
              <a:avLst/>
              <a:gdLst/>
              <a:ahLst/>
              <a:cxnLst/>
              <a:rect l="l" t="t" r="r" b="b"/>
              <a:pathLst>
                <a:path w="8890" h="8254">
                  <a:moveTo>
                    <a:pt x="5448" y="0"/>
                  </a:moveTo>
                  <a:lnTo>
                    <a:pt x="711" y="101"/>
                  </a:lnTo>
                  <a:lnTo>
                    <a:pt x="0" y="647"/>
                  </a:lnTo>
                  <a:lnTo>
                    <a:pt x="800" y="1003"/>
                  </a:lnTo>
                  <a:lnTo>
                    <a:pt x="1816" y="3860"/>
                  </a:lnTo>
                  <a:lnTo>
                    <a:pt x="2667" y="4673"/>
                  </a:lnTo>
                  <a:lnTo>
                    <a:pt x="3378" y="5753"/>
                  </a:lnTo>
                  <a:lnTo>
                    <a:pt x="8750" y="7645"/>
                  </a:lnTo>
                  <a:lnTo>
                    <a:pt x="7785" y="6845"/>
                  </a:lnTo>
                  <a:lnTo>
                    <a:pt x="6261" y="3848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69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3" name="object 885">
              <a:extLst>
                <a:ext uri="{FF2B5EF4-FFF2-40B4-BE49-F238E27FC236}">
                  <a16:creationId xmlns:a16="http://schemas.microsoft.com/office/drawing/2014/main" id="{BC021E1C-986B-416D-BF3D-ABA2D796A3BE}"/>
                </a:ext>
              </a:extLst>
            </p:cNvPr>
            <p:cNvSpPr/>
            <p:nvPr/>
          </p:nvSpPr>
          <p:spPr>
            <a:xfrm>
              <a:off x="8025148" y="6171733"/>
              <a:ext cx="8890" cy="7620"/>
            </a:xfrm>
            <a:custGeom>
              <a:avLst/>
              <a:gdLst/>
              <a:ahLst/>
              <a:cxnLst/>
              <a:rect l="l" t="t" r="r" b="b"/>
              <a:pathLst>
                <a:path w="8890" h="7620">
                  <a:moveTo>
                    <a:pt x="5448" y="0"/>
                  </a:moveTo>
                  <a:lnTo>
                    <a:pt x="698" y="114"/>
                  </a:lnTo>
                  <a:lnTo>
                    <a:pt x="0" y="647"/>
                  </a:lnTo>
                  <a:lnTo>
                    <a:pt x="761" y="990"/>
                  </a:lnTo>
                  <a:lnTo>
                    <a:pt x="1766" y="3708"/>
                  </a:lnTo>
                  <a:lnTo>
                    <a:pt x="2628" y="4508"/>
                  </a:lnTo>
                  <a:lnTo>
                    <a:pt x="3327" y="5524"/>
                  </a:lnTo>
                  <a:lnTo>
                    <a:pt x="8508" y="7340"/>
                  </a:lnTo>
                  <a:lnTo>
                    <a:pt x="7632" y="6565"/>
                  </a:lnTo>
                  <a:lnTo>
                    <a:pt x="6207" y="3695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79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4" name="object 886">
              <a:extLst>
                <a:ext uri="{FF2B5EF4-FFF2-40B4-BE49-F238E27FC236}">
                  <a16:creationId xmlns:a16="http://schemas.microsoft.com/office/drawing/2014/main" id="{A95E6C8C-5F24-4A45-8E5B-68219ADA4E8D}"/>
                </a:ext>
              </a:extLst>
            </p:cNvPr>
            <p:cNvSpPr/>
            <p:nvPr/>
          </p:nvSpPr>
          <p:spPr>
            <a:xfrm>
              <a:off x="8025148" y="6171741"/>
              <a:ext cx="8890" cy="7620"/>
            </a:xfrm>
            <a:custGeom>
              <a:avLst/>
              <a:gdLst/>
              <a:ahLst/>
              <a:cxnLst/>
              <a:rect l="l" t="t" r="r" b="b"/>
              <a:pathLst>
                <a:path w="8890" h="7620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749" y="965"/>
                  </a:lnTo>
                  <a:lnTo>
                    <a:pt x="1729" y="3556"/>
                  </a:lnTo>
                  <a:lnTo>
                    <a:pt x="2108" y="3873"/>
                  </a:lnTo>
                  <a:lnTo>
                    <a:pt x="2590" y="4318"/>
                  </a:lnTo>
                  <a:lnTo>
                    <a:pt x="3276" y="5295"/>
                  </a:lnTo>
                  <a:lnTo>
                    <a:pt x="8293" y="7010"/>
                  </a:lnTo>
                  <a:lnTo>
                    <a:pt x="7480" y="6286"/>
                  </a:lnTo>
                  <a:lnTo>
                    <a:pt x="6156" y="3543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79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5" name="object 887">
              <a:extLst>
                <a:ext uri="{FF2B5EF4-FFF2-40B4-BE49-F238E27FC236}">
                  <a16:creationId xmlns:a16="http://schemas.microsoft.com/office/drawing/2014/main" id="{4695F56F-DA77-40BD-909F-1EB449EC526D}"/>
                </a:ext>
              </a:extLst>
            </p:cNvPr>
            <p:cNvSpPr/>
            <p:nvPr/>
          </p:nvSpPr>
          <p:spPr>
            <a:xfrm>
              <a:off x="8025140" y="6171737"/>
              <a:ext cx="8255" cy="6985"/>
            </a:xfrm>
            <a:custGeom>
              <a:avLst/>
              <a:gdLst/>
              <a:ahLst/>
              <a:cxnLst/>
              <a:rect l="l" t="t" r="r" b="b"/>
              <a:pathLst>
                <a:path w="8254" h="6984">
                  <a:moveTo>
                    <a:pt x="5448" y="0"/>
                  </a:moveTo>
                  <a:lnTo>
                    <a:pt x="711" y="101"/>
                  </a:lnTo>
                  <a:lnTo>
                    <a:pt x="0" y="647"/>
                  </a:lnTo>
                  <a:lnTo>
                    <a:pt x="736" y="952"/>
                  </a:lnTo>
                  <a:lnTo>
                    <a:pt x="1676" y="3390"/>
                  </a:lnTo>
                  <a:lnTo>
                    <a:pt x="2565" y="4140"/>
                  </a:lnTo>
                  <a:lnTo>
                    <a:pt x="3251" y="5079"/>
                  </a:lnTo>
                  <a:lnTo>
                    <a:pt x="8089" y="6705"/>
                  </a:lnTo>
                  <a:lnTo>
                    <a:pt x="7353" y="6007"/>
                  </a:lnTo>
                  <a:lnTo>
                    <a:pt x="6116" y="3390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89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6" name="object 888">
              <a:extLst>
                <a:ext uri="{FF2B5EF4-FFF2-40B4-BE49-F238E27FC236}">
                  <a16:creationId xmlns:a16="http://schemas.microsoft.com/office/drawing/2014/main" id="{4EBAA1EA-7E16-493F-8AB2-E8441E651367}"/>
                </a:ext>
              </a:extLst>
            </p:cNvPr>
            <p:cNvSpPr/>
            <p:nvPr/>
          </p:nvSpPr>
          <p:spPr>
            <a:xfrm>
              <a:off x="8025150" y="6171736"/>
              <a:ext cx="8255" cy="6985"/>
            </a:xfrm>
            <a:custGeom>
              <a:avLst/>
              <a:gdLst/>
              <a:ahLst/>
              <a:cxnLst/>
              <a:rect l="l" t="t" r="r" b="b"/>
              <a:pathLst>
                <a:path w="8254" h="6984">
                  <a:moveTo>
                    <a:pt x="5435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698" y="939"/>
                  </a:lnTo>
                  <a:lnTo>
                    <a:pt x="1641" y="3263"/>
                  </a:lnTo>
                  <a:lnTo>
                    <a:pt x="2527" y="3962"/>
                  </a:lnTo>
                  <a:lnTo>
                    <a:pt x="3187" y="4864"/>
                  </a:lnTo>
                  <a:lnTo>
                    <a:pt x="7861" y="6400"/>
                  </a:lnTo>
                  <a:lnTo>
                    <a:pt x="7188" y="5727"/>
                  </a:lnTo>
                  <a:lnTo>
                    <a:pt x="6055" y="3251"/>
                  </a:lnTo>
                  <a:lnTo>
                    <a:pt x="5435" y="0"/>
                  </a:lnTo>
                  <a:close/>
                </a:path>
              </a:pathLst>
            </a:custGeom>
            <a:solidFill>
              <a:srgbClr val="FDE8A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7" name="object 889">
              <a:extLst>
                <a:ext uri="{FF2B5EF4-FFF2-40B4-BE49-F238E27FC236}">
                  <a16:creationId xmlns:a16="http://schemas.microsoft.com/office/drawing/2014/main" id="{D93294DD-C18B-401B-BF21-BEEC5D5AE203}"/>
                </a:ext>
              </a:extLst>
            </p:cNvPr>
            <p:cNvSpPr/>
            <p:nvPr/>
          </p:nvSpPr>
          <p:spPr>
            <a:xfrm>
              <a:off x="8025144" y="6171732"/>
              <a:ext cx="8255" cy="6350"/>
            </a:xfrm>
            <a:custGeom>
              <a:avLst/>
              <a:gdLst/>
              <a:ahLst/>
              <a:cxnLst/>
              <a:rect l="l" t="t" r="r" b="b"/>
              <a:pathLst>
                <a:path w="8254" h="6350">
                  <a:moveTo>
                    <a:pt x="5448" y="0"/>
                  </a:moveTo>
                  <a:lnTo>
                    <a:pt x="698" y="114"/>
                  </a:lnTo>
                  <a:lnTo>
                    <a:pt x="0" y="647"/>
                  </a:lnTo>
                  <a:lnTo>
                    <a:pt x="685" y="927"/>
                  </a:lnTo>
                  <a:lnTo>
                    <a:pt x="1587" y="3098"/>
                  </a:lnTo>
                  <a:lnTo>
                    <a:pt x="2501" y="3797"/>
                  </a:lnTo>
                  <a:lnTo>
                    <a:pt x="3149" y="4635"/>
                  </a:lnTo>
                  <a:lnTo>
                    <a:pt x="6045" y="5587"/>
                  </a:lnTo>
                  <a:lnTo>
                    <a:pt x="7645" y="6083"/>
                  </a:lnTo>
                  <a:lnTo>
                    <a:pt x="7048" y="5460"/>
                  </a:lnTo>
                  <a:lnTo>
                    <a:pt x="6012" y="3098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9A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8" name="object 890">
              <a:extLst>
                <a:ext uri="{FF2B5EF4-FFF2-40B4-BE49-F238E27FC236}">
                  <a16:creationId xmlns:a16="http://schemas.microsoft.com/office/drawing/2014/main" id="{9FC5060C-741B-405A-8625-7C32B78CC43C}"/>
                </a:ext>
              </a:extLst>
            </p:cNvPr>
            <p:cNvSpPr/>
            <p:nvPr/>
          </p:nvSpPr>
          <p:spPr>
            <a:xfrm>
              <a:off x="8025144" y="6171742"/>
              <a:ext cx="7620" cy="6350"/>
            </a:xfrm>
            <a:custGeom>
              <a:avLst/>
              <a:gdLst/>
              <a:ahLst/>
              <a:cxnLst/>
              <a:rect l="l" t="t" r="r" b="b"/>
              <a:pathLst>
                <a:path w="7620" h="6350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660" y="901"/>
                  </a:lnTo>
                  <a:lnTo>
                    <a:pt x="1536" y="2933"/>
                  </a:lnTo>
                  <a:lnTo>
                    <a:pt x="2463" y="3606"/>
                  </a:lnTo>
                  <a:lnTo>
                    <a:pt x="3111" y="4406"/>
                  </a:lnTo>
                  <a:lnTo>
                    <a:pt x="5880" y="5295"/>
                  </a:lnTo>
                  <a:lnTo>
                    <a:pt x="7429" y="5765"/>
                  </a:lnTo>
                  <a:lnTo>
                    <a:pt x="6908" y="5168"/>
                  </a:lnTo>
                  <a:lnTo>
                    <a:pt x="5960" y="2933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AA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899" name="object 891">
              <a:extLst>
                <a:ext uri="{FF2B5EF4-FFF2-40B4-BE49-F238E27FC236}">
                  <a16:creationId xmlns:a16="http://schemas.microsoft.com/office/drawing/2014/main" id="{A9B2AFC1-26EE-4C16-930F-ECABAC5F7766}"/>
                </a:ext>
              </a:extLst>
            </p:cNvPr>
            <p:cNvSpPr/>
            <p:nvPr/>
          </p:nvSpPr>
          <p:spPr>
            <a:xfrm>
              <a:off x="8025151" y="6171737"/>
              <a:ext cx="7620" cy="5715"/>
            </a:xfrm>
            <a:custGeom>
              <a:avLst/>
              <a:gdLst/>
              <a:ahLst/>
              <a:cxnLst/>
              <a:rect l="l" t="t" r="r" b="b"/>
              <a:pathLst>
                <a:path w="7620" h="5715">
                  <a:moveTo>
                    <a:pt x="5435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634" y="876"/>
                  </a:lnTo>
                  <a:lnTo>
                    <a:pt x="1485" y="2781"/>
                  </a:lnTo>
                  <a:lnTo>
                    <a:pt x="2425" y="3428"/>
                  </a:lnTo>
                  <a:lnTo>
                    <a:pt x="3060" y="4190"/>
                  </a:lnTo>
                  <a:lnTo>
                    <a:pt x="7188" y="5460"/>
                  </a:lnTo>
                  <a:lnTo>
                    <a:pt x="6743" y="4902"/>
                  </a:lnTo>
                  <a:lnTo>
                    <a:pt x="5905" y="2844"/>
                  </a:lnTo>
                  <a:lnTo>
                    <a:pt x="5435" y="0"/>
                  </a:lnTo>
                  <a:close/>
                </a:path>
              </a:pathLst>
            </a:custGeom>
            <a:solidFill>
              <a:srgbClr val="FDEAA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0" name="object 892">
              <a:extLst>
                <a:ext uri="{FF2B5EF4-FFF2-40B4-BE49-F238E27FC236}">
                  <a16:creationId xmlns:a16="http://schemas.microsoft.com/office/drawing/2014/main" id="{2DB93319-AE88-4469-8899-248137691BE8}"/>
                </a:ext>
              </a:extLst>
            </p:cNvPr>
            <p:cNvSpPr/>
            <p:nvPr/>
          </p:nvSpPr>
          <p:spPr>
            <a:xfrm>
              <a:off x="8025148" y="6171736"/>
              <a:ext cx="6985" cy="5715"/>
            </a:xfrm>
            <a:custGeom>
              <a:avLst/>
              <a:gdLst/>
              <a:ahLst/>
              <a:cxnLst/>
              <a:rect l="l" t="t" r="r" b="b"/>
              <a:pathLst>
                <a:path w="6984" h="5715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622" y="863"/>
                  </a:lnTo>
                  <a:lnTo>
                    <a:pt x="1447" y="2641"/>
                  </a:lnTo>
                  <a:lnTo>
                    <a:pt x="1879" y="2908"/>
                  </a:lnTo>
                  <a:lnTo>
                    <a:pt x="2400" y="3263"/>
                  </a:lnTo>
                  <a:lnTo>
                    <a:pt x="3009" y="3962"/>
                  </a:lnTo>
                  <a:lnTo>
                    <a:pt x="5537" y="4737"/>
                  </a:lnTo>
                  <a:lnTo>
                    <a:pt x="6985" y="5143"/>
                  </a:lnTo>
                  <a:lnTo>
                    <a:pt x="6604" y="4622"/>
                  </a:lnTo>
                  <a:lnTo>
                    <a:pt x="5857" y="2641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DEBA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1" name="object 893">
              <a:extLst>
                <a:ext uri="{FF2B5EF4-FFF2-40B4-BE49-F238E27FC236}">
                  <a16:creationId xmlns:a16="http://schemas.microsoft.com/office/drawing/2014/main" id="{E749C587-7BB5-4A7B-A666-D0179E047018}"/>
                </a:ext>
              </a:extLst>
            </p:cNvPr>
            <p:cNvSpPr/>
            <p:nvPr/>
          </p:nvSpPr>
          <p:spPr>
            <a:xfrm>
              <a:off x="8025151" y="6171745"/>
              <a:ext cx="6985" cy="5080"/>
            </a:xfrm>
            <a:custGeom>
              <a:avLst/>
              <a:gdLst/>
              <a:ahLst/>
              <a:cxnLst/>
              <a:rect l="l" t="t" r="r" b="b"/>
              <a:pathLst>
                <a:path w="6984" h="5079">
                  <a:moveTo>
                    <a:pt x="5435" y="0"/>
                  </a:moveTo>
                  <a:lnTo>
                    <a:pt x="698" y="101"/>
                  </a:lnTo>
                  <a:lnTo>
                    <a:pt x="0" y="635"/>
                  </a:lnTo>
                  <a:lnTo>
                    <a:pt x="596" y="838"/>
                  </a:lnTo>
                  <a:lnTo>
                    <a:pt x="1397" y="2476"/>
                  </a:lnTo>
                  <a:lnTo>
                    <a:pt x="1854" y="2743"/>
                  </a:lnTo>
                  <a:lnTo>
                    <a:pt x="2349" y="3073"/>
                  </a:lnTo>
                  <a:lnTo>
                    <a:pt x="2971" y="3733"/>
                  </a:lnTo>
                  <a:lnTo>
                    <a:pt x="5359" y="4445"/>
                  </a:lnTo>
                  <a:lnTo>
                    <a:pt x="6756" y="4826"/>
                  </a:lnTo>
                  <a:lnTo>
                    <a:pt x="6451" y="4330"/>
                  </a:lnTo>
                  <a:lnTo>
                    <a:pt x="5794" y="2476"/>
                  </a:lnTo>
                  <a:lnTo>
                    <a:pt x="5435" y="0"/>
                  </a:lnTo>
                  <a:close/>
                </a:path>
              </a:pathLst>
            </a:custGeom>
            <a:solidFill>
              <a:srgbClr val="FDEBA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2" name="object 894">
              <a:extLst>
                <a:ext uri="{FF2B5EF4-FFF2-40B4-BE49-F238E27FC236}">
                  <a16:creationId xmlns:a16="http://schemas.microsoft.com/office/drawing/2014/main" id="{8115C652-2372-4052-8ABB-E4E864123723}"/>
                </a:ext>
              </a:extLst>
            </p:cNvPr>
            <p:cNvSpPr/>
            <p:nvPr/>
          </p:nvSpPr>
          <p:spPr>
            <a:xfrm>
              <a:off x="8025151" y="6171741"/>
              <a:ext cx="6985" cy="5080"/>
            </a:xfrm>
            <a:custGeom>
              <a:avLst/>
              <a:gdLst/>
              <a:ahLst/>
              <a:cxnLst/>
              <a:rect l="l" t="t" r="r" b="b"/>
              <a:pathLst>
                <a:path w="6984" h="5079">
                  <a:moveTo>
                    <a:pt x="5435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571" y="825"/>
                  </a:lnTo>
                  <a:lnTo>
                    <a:pt x="1358" y="2324"/>
                  </a:lnTo>
                  <a:lnTo>
                    <a:pt x="2324" y="2895"/>
                  </a:lnTo>
                  <a:lnTo>
                    <a:pt x="2920" y="3517"/>
                  </a:lnTo>
                  <a:lnTo>
                    <a:pt x="5194" y="4165"/>
                  </a:lnTo>
                  <a:lnTo>
                    <a:pt x="6540" y="4521"/>
                  </a:lnTo>
                  <a:lnTo>
                    <a:pt x="6311" y="4064"/>
                  </a:lnTo>
                  <a:lnTo>
                    <a:pt x="5765" y="2400"/>
                  </a:lnTo>
                  <a:lnTo>
                    <a:pt x="5435" y="0"/>
                  </a:lnTo>
                  <a:close/>
                </a:path>
              </a:pathLst>
            </a:custGeom>
            <a:solidFill>
              <a:srgbClr val="FFEDA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3" name="object 895">
              <a:extLst>
                <a:ext uri="{FF2B5EF4-FFF2-40B4-BE49-F238E27FC236}">
                  <a16:creationId xmlns:a16="http://schemas.microsoft.com/office/drawing/2014/main" id="{06529E4B-41E7-4BFC-BD81-F7A8169E8500}"/>
                </a:ext>
              </a:extLst>
            </p:cNvPr>
            <p:cNvSpPr/>
            <p:nvPr/>
          </p:nvSpPr>
          <p:spPr>
            <a:xfrm>
              <a:off x="8025146" y="6171738"/>
              <a:ext cx="6350" cy="4445"/>
            </a:xfrm>
            <a:custGeom>
              <a:avLst/>
              <a:gdLst/>
              <a:ahLst/>
              <a:cxnLst/>
              <a:rect l="l" t="t" r="r" b="b"/>
              <a:pathLst>
                <a:path w="6350" h="4445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558" y="812"/>
                  </a:lnTo>
                  <a:lnTo>
                    <a:pt x="1320" y="2184"/>
                  </a:lnTo>
                  <a:lnTo>
                    <a:pt x="2298" y="2717"/>
                  </a:lnTo>
                  <a:lnTo>
                    <a:pt x="2882" y="3301"/>
                  </a:lnTo>
                  <a:lnTo>
                    <a:pt x="5029" y="3886"/>
                  </a:lnTo>
                  <a:lnTo>
                    <a:pt x="6324" y="4203"/>
                  </a:lnTo>
                  <a:lnTo>
                    <a:pt x="6172" y="3784"/>
                  </a:lnTo>
                  <a:lnTo>
                    <a:pt x="5718" y="2184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EECB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4" name="object 896">
              <a:extLst>
                <a:ext uri="{FF2B5EF4-FFF2-40B4-BE49-F238E27FC236}">
                  <a16:creationId xmlns:a16="http://schemas.microsoft.com/office/drawing/2014/main" id="{82BE0BD7-414C-4E27-866C-019AF145D6BC}"/>
                </a:ext>
              </a:extLst>
            </p:cNvPr>
            <p:cNvSpPr/>
            <p:nvPr/>
          </p:nvSpPr>
          <p:spPr>
            <a:xfrm>
              <a:off x="8025141" y="6171740"/>
              <a:ext cx="6350" cy="4445"/>
            </a:xfrm>
            <a:custGeom>
              <a:avLst/>
              <a:gdLst/>
              <a:ahLst/>
              <a:cxnLst/>
              <a:rect l="l" t="t" r="r" b="b"/>
              <a:pathLst>
                <a:path w="6350" h="4445">
                  <a:moveTo>
                    <a:pt x="5448" y="0"/>
                  </a:moveTo>
                  <a:lnTo>
                    <a:pt x="711" y="101"/>
                  </a:lnTo>
                  <a:lnTo>
                    <a:pt x="0" y="647"/>
                  </a:lnTo>
                  <a:lnTo>
                    <a:pt x="546" y="787"/>
                  </a:lnTo>
                  <a:lnTo>
                    <a:pt x="1270" y="2019"/>
                  </a:lnTo>
                  <a:lnTo>
                    <a:pt x="1752" y="2260"/>
                  </a:lnTo>
                  <a:lnTo>
                    <a:pt x="2273" y="2552"/>
                  </a:lnTo>
                  <a:lnTo>
                    <a:pt x="2844" y="3073"/>
                  </a:lnTo>
                  <a:lnTo>
                    <a:pt x="4864" y="3606"/>
                  </a:lnTo>
                  <a:lnTo>
                    <a:pt x="6108" y="3886"/>
                  </a:lnTo>
                  <a:lnTo>
                    <a:pt x="5665" y="2019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FEEB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5" name="object 897">
              <a:extLst>
                <a:ext uri="{FF2B5EF4-FFF2-40B4-BE49-F238E27FC236}">
                  <a16:creationId xmlns:a16="http://schemas.microsoft.com/office/drawing/2014/main" id="{02CDB666-809E-421C-97FE-B3404DA0A738}"/>
                </a:ext>
              </a:extLst>
            </p:cNvPr>
            <p:cNvSpPr/>
            <p:nvPr/>
          </p:nvSpPr>
          <p:spPr>
            <a:xfrm>
              <a:off x="8025150" y="6171737"/>
              <a:ext cx="6350" cy="3810"/>
            </a:xfrm>
            <a:custGeom>
              <a:avLst/>
              <a:gdLst/>
              <a:ahLst/>
              <a:cxnLst/>
              <a:rect l="l" t="t" r="r" b="b"/>
              <a:pathLst>
                <a:path w="6350" h="3809">
                  <a:moveTo>
                    <a:pt x="5435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520" y="774"/>
                  </a:lnTo>
                  <a:lnTo>
                    <a:pt x="1219" y="1879"/>
                  </a:lnTo>
                  <a:lnTo>
                    <a:pt x="2222" y="2374"/>
                  </a:lnTo>
                  <a:lnTo>
                    <a:pt x="2794" y="2857"/>
                  </a:lnTo>
                  <a:lnTo>
                    <a:pt x="4686" y="3327"/>
                  </a:lnTo>
                  <a:lnTo>
                    <a:pt x="5880" y="3581"/>
                  </a:lnTo>
                  <a:lnTo>
                    <a:pt x="5799" y="2857"/>
                  </a:lnTo>
                  <a:lnTo>
                    <a:pt x="5604" y="1879"/>
                  </a:lnTo>
                  <a:lnTo>
                    <a:pt x="5435" y="0"/>
                  </a:lnTo>
                  <a:close/>
                </a:path>
              </a:pathLst>
            </a:custGeom>
            <a:solidFill>
              <a:srgbClr val="FFEFB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6" name="object 898">
              <a:extLst>
                <a:ext uri="{FF2B5EF4-FFF2-40B4-BE49-F238E27FC236}">
                  <a16:creationId xmlns:a16="http://schemas.microsoft.com/office/drawing/2014/main" id="{862E2205-5E13-40E0-81D6-3BF1A7674347}"/>
                </a:ext>
              </a:extLst>
            </p:cNvPr>
            <p:cNvSpPr/>
            <p:nvPr/>
          </p:nvSpPr>
          <p:spPr>
            <a:xfrm>
              <a:off x="8025144" y="6171746"/>
              <a:ext cx="5715" cy="3810"/>
            </a:xfrm>
            <a:custGeom>
              <a:avLst/>
              <a:gdLst/>
              <a:ahLst/>
              <a:cxnLst/>
              <a:rect l="l" t="t" r="r" b="b"/>
              <a:pathLst>
                <a:path w="5715" h="3809">
                  <a:moveTo>
                    <a:pt x="5448" y="0"/>
                  </a:moveTo>
                  <a:lnTo>
                    <a:pt x="711" y="101"/>
                  </a:lnTo>
                  <a:lnTo>
                    <a:pt x="0" y="635"/>
                  </a:lnTo>
                  <a:lnTo>
                    <a:pt x="507" y="749"/>
                  </a:lnTo>
                  <a:lnTo>
                    <a:pt x="1181" y="1714"/>
                  </a:lnTo>
                  <a:lnTo>
                    <a:pt x="2197" y="2184"/>
                  </a:lnTo>
                  <a:lnTo>
                    <a:pt x="2755" y="2616"/>
                  </a:lnTo>
                  <a:lnTo>
                    <a:pt x="4521" y="3035"/>
                  </a:lnTo>
                  <a:lnTo>
                    <a:pt x="5664" y="3263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FF0B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7" name="object 899">
              <a:extLst>
                <a:ext uri="{FF2B5EF4-FFF2-40B4-BE49-F238E27FC236}">
                  <a16:creationId xmlns:a16="http://schemas.microsoft.com/office/drawing/2014/main" id="{AD9C7100-BBA5-4C67-B603-33D6FAE7D4ED}"/>
                </a:ext>
              </a:extLst>
            </p:cNvPr>
            <p:cNvSpPr/>
            <p:nvPr/>
          </p:nvSpPr>
          <p:spPr>
            <a:xfrm>
              <a:off x="8025140" y="6171742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48" y="0"/>
                  </a:moveTo>
                  <a:lnTo>
                    <a:pt x="711" y="101"/>
                  </a:lnTo>
                  <a:lnTo>
                    <a:pt x="0" y="647"/>
                  </a:lnTo>
                  <a:lnTo>
                    <a:pt x="482" y="723"/>
                  </a:lnTo>
                  <a:lnTo>
                    <a:pt x="1142" y="1562"/>
                  </a:lnTo>
                  <a:lnTo>
                    <a:pt x="2171" y="2019"/>
                  </a:lnTo>
                  <a:lnTo>
                    <a:pt x="2705" y="2400"/>
                  </a:lnTo>
                  <a:lnTo>
                    <a:pt x="4356" y="2755"/>
                  </a:lnTo>
                  <a:lnTo>
                    <a:pt x="5448" y="2946"/>
                  </a:lnTo>
                  <a:lnTo>
                    <a:pt x="5543" y="2755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FF0B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8" name="object 900">
              <a:extLst>
                <a:ext uri="{FF2B5EF4-FFF2-40B4-BE49-F238E27FC236}">
                  <a16:creationId xmlns:a16="http://schemas.microsoft.com/office/drawing/2014/main" id="{31353CDA-FF2B-4341-82D0-2E474CE81043}"/>
                </a:ext>
              </a:extLst>
            </p:cNvPr>
            <p:cNvSpPr/>
            <p:nvPr/>
          </p:nvSpPr>
          <p:spPr>
            <a:xfrm>
              <a:off x="8025148" y="6171740"/>
              <a:ext cx="5715" cy="3175"/>
            </a:xfrm>
            <a:custGeom>
              <a:avLst/>
              <a:gdLst/>
              <a:ahLst/>
              <a:cxnLst/>
              <a:rect l="l" t="t" r="r" b="b"/>
              <a:pathLst>
                <a:path w="5715" h="3175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457" y="723"/>
                  </a:lnTo>
                  <a:lnTo>
                    <a:pt x="1092" y="1422"/>
                  </a:lnTo>
                  <a:lnTo>
                    <a:pt x="1600" y="1612"/>
                  </a:lnTo>
                  <a:lnTo>
                    <a:pt x="2120" y="1841"/>
                  </a:lnTo>
                  <a:lnTo>
                    <a:pt x="2654" y="2184"/>
                  </a:lnTo>
                  <a:lnTo>
                    <a:pt x="4178" y="2476"/>
                  </a:lnTo>
                  <a:lnTo>
                    <a:pt x="5219" y="2641"/>
                  </a:lnTo>
                  <a:lnTo>
                    <a:pt x="5367" y="2476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FF0B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09" name="object 901">
              <a:extLst>
                <a:ext uri="{FF2B5EF4-FFF2-40B4-BE49-F238E27FC236}">
                  <a16:creationId xmlns:a16="http://schemas.microsoft.com/office/drawing/2014/main" id="{72CAAEA8-4C28-4E55-96EF-D68EDCA5F55D}"/>
                </a:ext>
              </a:extLst>
            </p:cNvPr>
            <p:cNvSpPr/>
            <p:nvPr/>
          </p:nvSpPr>
          <p:spPr>
            <a:xfrm>
              <a:off x="8025145" y="6171736"/>
              <a:ext cx="5715" cy="2540"/>
            </a:xfrm>
            <a:custGeom>
              <a:avLst/>
              <a:gdLst/>
              <a:ahLst/>
              <a:cxnLst/>
              <a:rect l="l" t="t" r="r" b="b"/>
              <a:pathLst>
                <a:path w="5715" h="2540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444" y="698"/>
                  </a:lnTo>
                  <a:lnTo>
                    <a:pt x="1054" y="1270"/>
                  </a:lnTo>
                  <a:lnTo>
                    <a:pt x="2095" y="1663"/>
                  </a:lnTo>
                  <a:lnTo>
                    <a:pt x="2616" y="1955"/>
                  </a:lnTo>
                  <a:lnTo>
                    <a:pt x="4013" y="2197"/>
                  </a:lnTo>
                  <a:lnTo>
                    <a:pt x="5003" y="2336"/>
                  </a:lnTo>
                  <a:lnTo>
                    <a:pt x="5204" y="2197"/>
                  </a:lnTo>
                  <a:lnTo>
                    <a:pt x="5327" y="1955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FF0B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0" name="object 902">
              <a:extLst>
                <a:ext uri="{FF2B5EF4-FFF2-40B4-BE49-F238E27FC236}">
                  <a16:creationId xmlns:a16="http://schemas.microsoft.com/office/drawing/2014/main" id="{F3D04962-EB90-4149-A128-4DE366B9ED3B}"/>
                </a:ext>
              </a:extLst>
            </p:cNvPr>
            <p:cNvSpPr/>
            <p:nvPr/>
          </p:nvSpPr>
          <p:spPr>
            <a:xfrm>
              <a:off x="8025140" y="6171745"/>
              <a:ext cx="5715" cy="2540"/>
            </a:xfrm>
            <a:custGeom>
              <a:avLst/>
              <a:gdLst/>
              <a:ahLst/>
              <a:cxnLst/>
              <a:rect l="l" t="t" r="r" b="b"/>
              <a:pathLst>
                <a:path w="5715" h="2540">
                  <a:moveTo>
                    <a:pt x="5448" y="0"/>
                  </a:moveTo>
                  <a:lnTo>
                    <a:pt x="711" y="101"/>
                  </a:lnTo>
                  <a:lnTo>
                    <a:pt x="0" y="635"/>
                  </a:lnTo>
                  <a:lnTo>
                    <a:pt x="419" y="673"/>
                  </a:lnTo>
                  <a:lnTo>
                    <a:pt x="1003" y="1104"/>
                  </a:lnTo>
                  <a:lnTo>
                    <a:pt x="2070" y="1473"/>
                  </a:lnTo>
                  <a:lnTo>
                    <a:pt x="2578" y="1727"/>
                  </a:lnTo>
                  <a:lnTo>
                    <a:pt x="3848" y="1905"/>
                  </a:lnTo>
                  <a:lnTo>
                    <a:pt x="4787" y="2006"/>
                  </a:lnTo>
                  <a:lnTo>
                    <a:pt x="5143" y="1841"/>
                  </a:lnTo>
                  <a:lnTo>
                    <a:pt x="5292" y="1473"/>
                  </a:lnTo>
                  <a:lnTo>
                    <a:pt x="5415" y="635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FF1B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1" name="object 903">
              <a:extLst>
                <a:ext uri="{FF2B5EF4-FFF2-40B4-BE49-F238E27FC236}">
                  <a16:creationId xmlns:a16="http://schemas.microsoft.com/office/drawing/2014/main" id="{A3266A72-3D49-4EDB-9CD2-F0B393590B68}"/>
                </a:ext>
              </a:extLst>
            </p:cNvPr>
            <p:cNvSpPr/>
            <p:nvPr/>
          </p:nvSpPr>
          <p:spPr>
            <a:xfrm>
              <a:off x="8025151" y="6171742"/>
              <a:ext cx="5715" cy="1905"/>
            </a:xfrm>
            <a:custGeom>
              <a:avLst/>
              <a:gdLst/>
              <a:ahLst/>
              <a:cxnLst/>
              <a:rect l="l" t="t" r="r" b="b"/>
              <a:pathLst>
                <a:path w="5715" h="1904">
                  <a:moveTo>
                    <a:pt x="5435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393" y="660"/>
                  </a:lnTo>
                  <a:lnTo>
                    <a:pt x="952" y="952"/>
                  </a:lnTo>
                  <a:lnTo>
                    <a:pt x="2019" y="1308"/>
                  </a:lnTo>
                  <a:lnTo>
                    <a:pt x="2514" y="1511"/>
                  </a:lnTo>
                  <a:lnTo>
                    <a:pt x="4559" y="1701"/>
                  </a:lnTo>
                  <a:lnTo>
                    <a:pt x="4991" y="1574"/>
                  </a:lnTo>
                  <a:lnTo>
                    <a:pt x="5321" y="1117"/>
                  </a:lnTo>
                  <a:lnTo>
                    <a:pt x="5435" y="0"/>
                  </a:lnTo>
                  <a:close/>
                </a:path>
              </a:pathLst>
            </a:custGeom>
            <a:solidFill>
              <a:srgbClr val="FFF2C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2" name="object 904">
              <a:extLst>
                <a:ext uri="{FF2B5EF4-FFF2-40B4-BE49-F238E27FC236}">
                  <a16:creationId xmlns:a16="http://schemas.microsoft.com/office/drawing/2014/main" id="{9156409B-F5B5-4296-A05F-0F2C74F62AB1}"/>
                </a:ext>
              </a:extLst>
            </p:cNvPr>
            <p:cNvSpPr/>
            <p:nvPr/>
          </p:nvSpPr>
          <p:spPr>
            <a:xfrm>
              <a:off x="8025145" y="6171737"/>
              <a:ext cx="5715" cy="1905"/>
            </a:xfrm>
            <a:custGeom>
              <a:avLst/>
              <a:gdLst/>
              <a:ahLst/>
              <a:cxnLst/>
              <a:rect l="l" t="t" r="r" b="b"/>
              <a:pathLst>
                <a:path w="5715" h="1904">
                  <a:moveTo>
                    <a:pt x="5448" y="0"/>
                  </a:moveTo>
                  <a:lnTo>
                    <a:pt x="698" y="101"/>
                  </a:lnTo>
                  <a:lnTo>
                    <a:pt x="0" y="647"/>
                  </a:lnTo>
                  <a:lnTo>
                    <a:pt x="381" y="647"/>
                  </a:lnTo>
                  <a:lnTo>
                    <a:pt x="1460" y="965"/>
                  </a:lnTo>
                  <a:lnTo>
                    <a:pt x="2476" y="1295"/>
                  </a:lnTo>
                  <a:lnTo>
                    <a:pt x="4343" y="1396"/>
                  </a:lnTo>
                  <a:lnTo>
                    <a:pt x="4851" y="1295"/>
                  </a:lnTo>
                  <a:lnTo>
                    <a:pt x="5283" y="965"/>
                  </a:lnTo>
                  <a:lnTo>
                    <a:pt x="5448" y="0"/>
                  </a:lnTo>
                  <a:close/>
                </a:path>
              </a:pathLst>
            </a:custGeom>
            <a:solidFill>
              <a:srgbClr val="FFF2C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3" name="object 905">
              <a:extLst>
                <a:ext uri="{FF2B5EF4-FFF2-40B4-BE49-F238E27FC236}">
                  <a16:creationId xmlns:a16="http://schemas.microsoft.com/office/drawing/2014/main" id="{C528B7D2-0289-47C6-ADDF-4EDDAC56A033}"/>
                </a:ext>
              </a:extLst>
            </p:cNvPr>
            <p:cNvSpPr/>
            <p:nvPr/>
          </p:nvSpPr>
          <p:spPr>
            <a:xfrm>
              <a:off x="8013153" y="6172546"/>
              <a:ext cx="19050" cy="13970"/>
            </a:xfrm>
            <a:custGeom>
              <a:avLst/>
              <a:gdLst/>
              <a:ahLst/>
              <a:cxnLst/>
              <a:rect l="l" t="t" r="r" b="b"/>
              <a:pathLst>
                <a:path w="19050" h="13970">
                  <a:moveTo>
                    <a:pt x="11087" y="0"/>
                  </a:moveTo>
                  <a:lnTo>
                    <a:pt x="1930" y="2032"/>
                  </a:lnTo>
                  <a:lnTo>
                    <a:pt x="0" y="8051"/>
                  </a:lnTo>
                  <a:lnTo>
                    <a:pt x="4292" y="13512"/>
                  </a:lnTo>
                  <a:lnTo>
                    <a:pt x="3810" y="8280"/>
                  </a:lnTo>
                  <a:lnTo>
                    <a:pt x="8610" y="9652"/>
                  </a:lnTo>
                  <a:lnTo>
                    <a:pt x="18478" y="9626"/>
                  </a:lnTo>
                  <a:lnTo>
                    <a:pt x="13550" y="6794"/>
                  </a:lnTo>
                  <a:lnTo>
                    <a:pt x="13423" y="431"/>
                  </a:lnTo>
                  <a:lnTo>
                    <a:pt x="11087" y="0"/>
                  </a:lnTo>
                  <a:close/>
                </a:path>
              </a:pathLst>
            </a:custGeom>
            <a:solidFill>
              <a:srgbClr val="F3C7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4" name="object 906">
              <a:extLst>
                <a:ext uri="{FF2B5EF4-FFF2-40B4-BE49-F238E27FC236}">
                  <a16:creationId xmlns:a16="http://schemas.microsoft.com/office/drawing/2014/main" id="{472388CD-4B92-44E1-ACCA-AF06C41A840B}"/>
                </a:ext>
              </a:extLst>
            </p:cNvPr>
            <p:cNvSpPr/>
            <p:nvPr/>
          </p:nvSpPr>
          <p:spPr>
            <a:xfrm>
              <a:off x="8017663" y="6181524"/>
              <a:ext cx="19685" cy="3175"/>
            </a:xfrm>
            <a:custGeom>
              <a:avLst/>
              <a:gdLst/>
              <a:ahLst/>
              <a:cxnLst/>
              <a:rect l="l" t="t" r="r" b="b"/>
              <a:pathLst>
                <a:path w="19684" h="3175">
                  <a:moveTo>
                    <a:pt x="342" y="0"/>
                  </a:moveTo>
                  <a:lnTo>
                    <a:pt x="0" y="2628"/>
                  </a:lnTo>
                  <a:lnTo>
                    <a:pt x="685" y="939"/>
                  </a:lnTo>
                  <a:lnTo>
                    <a:pt x="4572" y="723"/>
                  </a:lnTo>
                  <a:lnTo>
                    <a:pt x="14061" y="723"/>
                  </a:lnTo>
                  <a:lnTo>
                    <a:pt x="13614" y="673"/>
                  </a:lnTo>
                  <a:lnTo>
                    <a:pt x="12970" y="647"/>
                  </a:lnTo>
                  <a:lnTo>
                    <a:pt x="3717" y="635"/>
                  </a:lnTo>
                  <a:lnTo>
                    <a:pt x="342" y="0"/>
                  </a:lnTo>
                  <a:close/>
                </a:path>
                <a:path w="19684" h="3175">
                  <a:moveTo>
                    <a:pt x="14061" y="723"/>
                  </a:moveTo>
                  <a:lnTo>
                    <a:pt x="11899" y="723"/>
                  </a:lnTo>
                  <a:lnTo>
                    <a:pt x="15138" y="889"/>
                  </a:lnTo>
                  <a:lnTo>
                    <a:pt x="16649" y="1320"/>
                  </a:lnTo>
                  <a:lnTo>
                    <a:pt x="18732" y="1600"/>
                  </a:lnTo>
                  <a:lnTo>
                    <a:pt x="19392" y="1727"/>
                  </a:lnTo>
                  <a:lnTo>
                    <a:pt x="19075" y="800"/>
                  </a:lnTo>
                  <a:lnTo>
                    <a:pt x="14732" y="800"/>
                  </a:lnTo>
                  <a:lnTo>
                    <a:pt x="14061" y="723"/>
                  </a:lnTo>
                  <a:close/>
                </a:path>
                <a:path w="19684" h="3175">
                  <a:moveTo>
                    <a:pt x="19050" y="723"/>
                  </a:moveTo>
                  <a:lnTo>
                    <a:pt x="14732" y="800"/>
                  </a:lnTo>
                  <a:lnTo>
                    <a:pt x="19075" y="800"/>
                  </a:lnTo>
                  <a:close/>
                </a:path>
                <a:path w="19684" h="3175">
                  <a:moveTo>
                    <a:pt x="12649" y="635"/>
                  </a:moveTo>
                  <a:lnTo>
                    <a:pt x="3784" y="647"/>
                  </a:lnTo>
                  <a:lnTo>
                    <a:pt x="12970" y="647"/>
                  </a:lnTo>
                  <a:lnTo>
                    <a:pt x="12649" y="635"/>
                  </a:lnTo>
                  <a:close/>
                </a:path>
              </a:pathLst>
            </a:custGeom>
            <a:solidFill>
              <a:srgbClr val="563F1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5" name="object 907">
              <a:extLst>
                <a:ext uri="{FF2B5EF4-FFF2-40B4-BE49-F238E27FC236}">
                  <a16:creationId xmlns:a16="http://schemas.microsoft.com/office/drawing/2014/main" id="{FD86D5F5-11C5-4864-B12B-5AB1C39F24EA}"/>
                </a:ext>
              </a:extLst>
            </p:cNvPr>
            <p:cNvSpPr/>
            <p:nvPr/>
          </p:nvSpPr>
          <p:spPr>
            <a:xfrm>
              <a:off x="8015503" y="6172813"/>
              <a:ext cx="13335" cy="7620"/>
            </a:xfrm>
            <a:custGeom>
              <a:avLst/>
              <a:gdLst/>
              <a:ahLst/>
              <a:cxnLst/>
              <a:rect l="l" t="t" r="r" b="b"/>
              <a:pathLst>
                <a:path w="13334" h="7620">
                  <a:moveTo>
                    <a:pt x="13322" y="7480"/>
                  </a:moveTo>
                  <a:lnTo>
                    <a:pt x="13004" y="7124"/>
                  </a:lnTo>
                  <a:lnTo>
                    <a:pt x="12814" y="6756"/>
                  </a:lnTo>
                  <a:lnTo>
                    <a:pt x="12611" y="6388"/>
                  </a:lnTo>
                  <a:lnTo>
                    <a:pt x="12420" y="6032"/>
                  </a:lnTo>
                  <a:lnTo>
                    <a:pt x="12230" y="5664"/>
                  </a:lnTo>
                  <a:lnTo>
                    <a:pt x="12039" y="5295"/>
                  </a:lnTo>
                  <a:lnTo>
                    <a:pt x="11849" y="4927"/>
                  </a:lnTo>
                  <a:lnTo>
                    <a:pt x="11671" y="4572"/>
                  </a:lnTo>
                  <a:lnTo>
                    <a:pt x="11480" y="4191"/>
                  </a:lnTo>
                  <a:lnTo>
                    <a:pt x="11277" y="3822"/>
                  </a:lnTo>
                  <a:lnTo>
                    <a:pt x="10807" y="2895"/>
                  </a:lnTo>
                  <a:lnTo>
                    <a:pt x="10248" y="0"/>
                  </a:lnTo>
                  <a:lnTo>
                    <a:pt x="8686" y="88"/>
                  </a:lnTo>
                  <a:lnTo>
                    <a:pt x="6324" y="101"/>
                  </a:lnTo>
                  <a:lnTo>
                    <a:pt x="5791" y="317"/>
                  </a:lnTo>
                  <a:lnTo>
                    <a:pt x="215" y="2514"/>
                  </a:lnTo>
                  <a:lnTo>
                    <a:pt x="0" y="7226"/>
                  </a:lnTo>
                  <a:lnTo>
                    <a:pt x="3467" y="2413"/>
                  </a:lnTo>
                  <a:lnTo>
                    <a:pt x="3733" y="2501"/>
                  </a:lnTo>
                  <a:lnTo>
                    <a:pt x="4038" y="2616"/>
                  </a:lnTo>
                  <a:lnTo>
                    <a:pt x="4229" y="2692"/>
                  </a:lnTo>
                  <a:lnTo>
                    <a:pt x="4584" y="2882"/>
                  </a:lnTo>
                  <a:lnTo>
                    <a:pt x="5143" y="3225"/>
                  </a:lnTo>
                  <a:lnTo>
                    <a:pt x="5270" y="3302"/>
                  </a:lnTo>
                  <a:lnTo>
                    <a:pt x="5435" y="3416"/>
                  </a:lnTo>
                  <a:lnTo>
                    <a:pt x="6172" y="3987"/>
                  </a:lnTo>
                  <a:lnTo>
                    <a:pt x="10363" y="7480"/>
                  </a:lnTo>
                  <a:lnTo>
                    <a:pt x="13322" y="7480"/>
                  </a:lnTo>
                  <a:close/>
                </a:path>
              </a:pathLst>
            </a:custGeom>
            <a:solidFill>
              <a:srgbClr val="F3C7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6" name="object 908">
              <a:extLst>
                <a:ext uri="{FF2B5EF4-FFF2-40B4-BE49-F238E27FC236}">
                  <a16:creationId xmlns:a16="http://schemas.microsoft.com/office/drawing/2014/main" id="{3F996887-BBE7-416D-8387-D2069CC13FB0}"/>
                </a:ext>
              </a:extLst>
            </p:cNvPr>
            <p:cNvSpPr/>
            <p:nvPr/>
          </p:nvSpPr>
          <p:spPr>
            <a:xfrm>
              <a:off x="8027283" y="6173509"/>
              <a:ext cx="3175" cy="3810"/>
            </a:xfrm>
            <a:custGeom>
              <a:avLst/>
              <a:gdLst/>
              <a:ahLst/>
              <a:cxnLst/>
              <a:rect l="l" t="t" r="r" b="b"/>
              <a:pathLst>
                <a:path w="3175" h="3809">
                  <a:moveTo>
                    <a:pt x="965" y="0"/>
                  </a:moveTo>
                  <a:lnTo>
                    <a:pt x="0" y="431"/>
                  </a:lnTo>
                  <a:lnTo>
                    <a:pt x="12" y="1358"/>
                  </a:lnTo>
                  <a:lnTo>
                    <a:pt x="507" y="2273"/>
                  </a:lnTo>
                  <a:lnTo>
                    <a:pt x="1015" y="3187"/>
                  </a:lnTo>
                  <a:lnTo>
                    <a:pt x="1816" y="3759"/>
                  </a:lnTo>
                  <a:lnTo>
                    <a:pt x="2768" y="3327"/>
                  </a:lnTo>
                  <a:lnTo>
                    <a:pt x="2755" y="2412"/>
                  </a:lnTo>
                  <a:lnTo>
                    <a:pt x="2260" y="1485"/>
                  </a:lnTo>
                  <a:lnTo>
                    <a:pt x="1765" y="571"/>
                  </a:lnTo>
                  <a:lnTo>
                    <a:pt x="965" y="0"/>
                  </a:lnTo>
                  <a:close/>
                </a:path>
              </a:pathLst>
            </a:custGeom>
            <a:solidFill>
              <a:srgbClr val="FFEEA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7" name="object 909">
              <a:extLst>
                <a:ext uri="{FF2B5EF4-FFF2-40B4-BE49-F238E27FC236}">
                  <a16:creationId xmlns:a16="http://schemas.microsoft.com/office/drawing/2014/main" id="{9CCE7C46-C114-4958-B4EF-720C80F46092}"/>
                </a:ext>
              </a:extLst>
            </p:cNvPr>
            <p:cNvSpPr/>
            <p:nvPr/>
          </p:nvSpPr>
          <p:spPr>
            <a:xfrm>
              <a:off x="8027768" y="6173311"/>
              <a:ext cx="2540" cy="3175"/>
            </a:xfrm>
            <a:custGeom>
              <a:avLst/>
              <a:gdLst/>
              <a:ahLst/>
              <a:cxnLst/>
              <a:rect l="l" t="t" r="r" b="b"/>
              <a:pathLst>
                <a:path w="2540" h="3175">
                  <a:moveTo>
                    <a:pt x="1826" y="1153"/>
                  </a:moveTo>
                  <a:lnTo>
                    <a:pt x="2095" y="2552"/>
                  </a:lnTo>
                  <a:lnTo>
                    <a:pt x="2082" y="1358"/>
                  </a:lnTo>
                  <a:lnTo>
                    <a:pt x="1826" y="1153"/>
                  </a:lnTo>
                  <a:close/>
                </a:path>
                <a:path w="2540" h="3175">
                  <a:moveTo>
                    <a:pt x="626" y="196"/>
                  </a:moveTo>
                  <a:lnTo>
                    <a:pt x="1826" y="1153"/>
                  </a:lnTo>
                  <a:lnTo>
                    <a:pt x="1765" y="838"/>
                  </a:lnTo>
                  <a:lnTo>
                    <a:pt x="626" y="196"/>
                  </a:lnTo>
                  <a:close/>
                </a:path>
                <a:path w="2540" h="3175">
                  <a:moveTo>
                    <a:pt x="381" y="0"/>
                  </a:moveTo>
                  <a:lnTo>
                    <a:pt x="0" y="419"/>
                  </a:lnTo>
                  <a:lnTo>
                    <a:pt x="587" y="165"/>
                  </a:lnTo>
                  <a:lnTo>
                    <a:pt x="381" y="0"/>
                  </a:lnTo>
                  <a:close/>
                </a:path>
                <a:path w="2540" h="3175">
                  <a:moveTo>
                    <a:pt x="587" y="165"/>
                  </a:moveTo>
                  <a:close/>
                </a:path>
              </a:pathLst>
            </a:custGeom>
            <a:solidFill>
              <a:srgbClr val="FFEDC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8" name="object 910">
              <a:extLst>
                <a:ext uri="{FF2B5EF4-FFF2-40B4-BE49-F238E27FC236}">
                  <a16:creationId xmlns:a16="http://schemas.microsoft.com/office/drawing/2014/main" id="{F5F8E00F-C7E1-4C13-841B-5781AB59BCD2}"/>
                </a:ext>
              </a:extLst>
            </p:cNvPr>
            <p:cNvSpPr/>
            <p:nvPr/>
          </p:nvSpPr>
          <p:spPr>
            <a:xfrm>
              <a:off x="8027804" y="6174059"/>
              <a:ext cx="1905" cy="3175"/>
            </a:xfrm>
            <a:custGeom>
              <a:avLst/>
              <a:gdLst/>
              <a:ahLst/>
              <a:cxnLst/>
              <a:rect l="l" t="t" r="r" b="b"/>
              <a:pathLst>
                <a:path w="1904" h="3175">
                  <a:moveTo>
                    <a:pt x="609" y="0"/>
                  </a:moveTo>
                  <a:lnTo>
                    <a:pt x="0" y="304"/>
                  </a:lnTo>
                  <a:lnTo>
                    <a:pt x="0" y="952"/>
                  </a:lnTo>
                  <a:lnTo>
                    <a:pt x="330" y="1600"/>
                  </a:lnTo>
                  <a:lnTo>
                    <a:pt x="635" y="2235"/>
                  </a:lnTo>
                  <a:lnTo>
                    <a:pt x="1143" y="2628"/>
                  </a:lnTo>
                  <a:lnTo>
                    <a:pt x="1447" y="2476"/>
                  </a:lnTo>
                  <a:lnTo>
                    <a:pt x="1752" y="2336"/>
                  </a:lnTo>
                  <a:lnTo>
                    <a:pt x="1752" y="1689"/>
                  </a:lnTo>
                  <a:lnTo>
                    <a:pt x="1435" y="1041"/>
                  </a:lnTo>
                  <a:lnTo>
                    <a:pt x="1117" y="406"/>
                  </a:lnTo>
                  <a:lnTo>
                    <a:pt x="609" y="0"/>
                  </a:lnTo>
                  <a:close/>
                </a:path>
              </a:pathLst>
            </a:custGeom>
            <a:solidFill>
              <a:srgbClr val="FDE59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19" name="object 911">
              <a:extLst>
                <a:ext uri="{FF2B5EF4-FFF2-40B4-BE49-F238E27FC236}">
                  <a16:creationId xmlns:a16="http://schemas.microsoft.com/office/drawing/2014/main" id="{D506FE8B-5110-4D08-AF19-AE62F3658A34}"/>
                </a:ext>
              </a:extLst>
            </p:cNvPr>
            <p:cNvSpPr/>
            <p:nvPr/>
          </p:nvSpPr>
          <p:spPr>
            <a:xfrm>
              <a:off x="8031820" y="6171022"/>
              <a:ext cx="14604" cy="6350"/>
            </a:xfrm>
            <a:custGeom>
              <a:avLst/>
              <a:gdLst/>
              <a:ahLst/>
              <a:cxnLst/>
              <a:rect l="l" t="t" r="r" b="b"/>
              <a:pathLst>
                <a:path w="14604" h="6350">
                  <a:moveTo>
                    <a:pt x="6972" y="0"/>
                  </a:moveTo>
                  <a:lnTo>
                    <a:pt x="1384" y="1473"/>
                  </a:lnTo>
                  <a:lnTo>
                    <a:pt x="355" y="1041"/>
                  </a:lnTo>
                  <a:lnTo>
                    <a:pt x="0" y="2438"/>
                  </a:lnTo>
                  <a:lnTo>
                    <a:pt x="317" y="3111"/>
                  </a:lnTo>
                  <a:lnTo>
                    <a:pt x="1130" y="2654"/>
                  </a:lnTo>
                  <a:lnTo>
                    <a:pt x="2476" y="4902"/>
                  </a:lnTo>
                  <a:lnTo>
                    <a:pt x="3149" y="5588"/>
                  </a:lnTo>
                  <a:lnTo>
                    <a:pt x="5981" y="6299"/>
                  </a:lnTo>
                  <a:lnTo>
                    <a:pt x="6883" y="5803"/>
                  </a:lnTo>
                  <a:lnTo>
                    <a:pt x="8915" y="4470"/>
                  </a:lnTo>
                  <a:lnTo>
                    <a:pt x="9817" y="3962"/>
                  </a:lnTo>
                  <a:lnTo>
                    <a:pt x="11899" y="3390"/>
                  </a:lnTo>
                  <a:lnTo>
                    <a:pt x="14211" y="3505"/>
                  </a:lnTo>
                  <a:lnTo>
                    <a:pt x="11696" y="2476"/>
                  </a:lnTo>
                  <a:lnTo>
                    <a:pt x="12992" y="3213"/>
                  </a:lnTo>
                  <a:lnTo>
                    <a:pt x="8115" y="2095"/>
                  </a:lnTo>
                  <a:lnTo>
                    <a:pt x="6972" y="0"/>
                  </a:lnTo>
                  <a:close/>
                </a:path>
              </a:pathLst>
            </a:custGeom>
            <a:solidFill>
              <a:srgbClr val="FEE35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0" name="object 912">
              <a:extLst>
                <a:ext uri="{FF2B5EF4-FFF2-40B4-BE49-F238E27FC236}">
                  <a16:creationId xmlns:a16="http://schemas.microsoft.com/office/drawing/2014/main" id="{4A69DF58-3057-4B32-BAEF-A44DCF59C682}"/>
                </a:ext>
              </a:extLst>
            </p:cNvPr>
            <p:cNvSpPr/>
            <p:nvPr/>
          </p:nvSpPr>
          <p:spPr>
            <a:xfrm>
              <a:off x="8031848" y="6171018"/>
              <a:ext cx="13970" cy="6350"/>
            </a:xfrm>
            <a:custGeom>
              <a:avLst/>
              <a:gdLst/>
              <a:ahLst/>
              <a:cxnLst/>
              <a:rect l="l" t="t" r="r" b="b"/>
              <a:pathLst>
                <a:path w="13970" h="6350">
                  <a:moveTo>
                    <a:pt x="6946" y="0"/>
                  </a:moveTo>
                  <a:lnTo>
                    <a:pt x="1358" y="1485"/>
                  </a:lnTo>
                  <a:lnTo>
                    <a:pt x="368" y="1041"/>
                  </a:lnTo>
                  <a:lnTo>
                    <a:pt x="0" y="2400"/>
                  </a:lnTo>
                  <a:lnTo>
                    <a:pt x="317" y="3073"/>
                  </a:lnTo>
                  <a:lnTo>
                    <a:pt x="1193" y="2654"/>
                  </a:lnTo>
                  <a:lnTo>
                    <a:pt x="2501" y="4838"/>
                  </a:lnTo>
                  <a:lnTo>
                    <a:pt x="3136" y="5537"/>
                  </a:lnTo>
                  <a:lnTo>
                    <a:pt x="5969" y="6248"/>
                  </a:lnTo>
                  <a:lnTo>
                    <a:pt x="6845" y="5714"/>
                  </a:lnTo>
                  <a:lnTo>
                    <a:pt x="8813" y="4406"/>
                  </a:lnTo>
                  <a:lnTo>
                    <a:pt x="9690" y="3898"/>
                  </a:lnTo>
                  <a:lnTo>
                    <a:pt x="11684" y="3340"/>
                  </a:lnTo>
                  <a:lnTo>
                    <a:pt x="13957" y="3454"/>
                  </a:lnTo>
                  <a:lnTo>
                    <a:pt x="11633" y="2501"/>
                  </a:lnTo>
                  <a:lnTo>
                    <a:pt x="12814" y="3174"/>
                  </a:lnTo>
                  <a:lnTo>
                    <a:pt x="8089" y="2095"/>
                  </a:lnTo>
                  <a:lnTo>
                    <a:pt x="6946" y="0"/>
                  </a:lnTo>
                  <a:close/>
                </a:path>
              </a:pathLst>
            </a:custGeom>
            <a:solidFill>
              <a:srgbClr val="F9E7A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1" name="object 913">
              <a:extLst>
                <a:ext uri="{FF2B5EF4-FFF2-40B4-BE49-F238E27FC236}">
                  <a16:creationId xmlns:a16="http://schemas.microsoft.com/office/drawing/2014/main" id="{A4A2964A-0F40-45F6-8B1F-FF2D34A92C38}"/>
                </a:ext>
              </a:extLst>
            </p:cNvPr>
            <p:cNvSpPr/>
            <p:nvPr/>
          </p:nvSpPr>
          <p:spPr>
            <a:xfrm>
              <a:off x="8031874" y="6171027"/>
              <a:ext cx="13970" cy="6350"/>
            </a:xfrm>
            <a:custGeom>
              <a:avLst/>
              <a:gdLst/>
              <a:ahLst/>
              <a:cxnLst/>
              <a:rect l="l" t="t" r="r" b="b"/>
              <a:pathLst>
                <a:path w="13970" h="6350">
                  <a:moveTo>
                    <a:pt x="6921" y="0"/>
                  </a:moveTo>
                  <a:lnTo>
                    <a:pt x="1333" y="1473"/>
                  </a:lnTo>
                  <a:lnTo>
                    <a:pt x="368" y="1041"/>
                  </a:lnTo>
                  <a:lnTo>
                    <a:pt x="0" y="2349"/>
                  </a:lnTo>
                  <a:lnTo>
                    <a:pt x="317" y="3022"/>
                  </a:lnTo>
                  <a:lnTo>
                    <a:pt x="1244" y="2641"/>
                  </a:lnTo>
                  <a:lnTo>
                    <a:pt x="2527" y="4775"/>
                  </a:lnTo>
                  <a:lnTo>
                    <a:pt x="3124" y="5473"/>
                  </a:lnTo>
                  <a:lnTo>
                    <a:pt x="5956" y="6184"/>
                  </a:lnTo>
                  <a:lnTo>
                    <a:pt x="8699" y="4330"/>
                  </a:lnTo>
                  <a:lnTo>
                    <a:pt x="9563" y="3822"/>
                  </a:lnTo>
                  <a:lnTo>
                    <a:pt x="11468" y="3289"/>
                  </a:lnTo>
                  <a:lnTo>
                    <a:pt x="13716" y="3403"/>
                  </a:lnTo>
                  <a:lnTo>
                    <a:pt x="11557" y="2501"/>
                  </a:lnTo>
                  <a:lnTo>
                    <a:pt x="12636" y="3136"/>
                  </a:lnTo>
                  <a:lnTo>
                    <a:pt x="8064" y="2082"/>
                  </a:lnTo>
                  <a:lnTo>
                    <a:pt x="6921" y="0"/>
                  </a:lnTo>
                  <a:close/>
                </a:path>
              </a:pathLst>
            </a:custGeom>
            <a:solidFill>
              <a:srgbClr val="F2E1A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2" name="object 914">
              <a:extLst>
                <a:ext uri="{FF2B5EF4-FFF2-40B4-BE49-F238E27FC236}">
                  <a16:creationId xmlns:a16="http://schemas.microsoft.com/office/drawing/2014/main" id="{C490DBFD-E98B-4524-B781-DB943844E642}"/>
                </a:ext>
              </a:extLst>
            </p:cNvPr>
            <p:cNvSpPr/>
            <p:nvPr/>
          </p:nvSpPr>
          <p:spPr>
            <a:xfrm>
              <a:off x="8031901" y="6171023"/>
              <a:ext cx="13970" cy="6350"/>
            </a:xfrm>
            <a:custGeom>
              <a:avLst/>
              <a:gdLst/>
              <a:ahLst/>
              <a:cxnLst/>
              <a:rect l="l" t="t" r="r" b="b"/>
              <a:pathLst>
                <a:path w="13970" h="6350">
                  <a:moveTo>
                    <a:pt x="6896" y="0"/>
                  </a:moveTo>
                  <a:lnTo>
                    <a:pt x="1308" y="1473"/>
                  </a:lnTo>
                  <a:lnTo>
                    <a:pt x="368" y="1054"/>
                  </a:lnTo>
                  <a:lnTo>
                    <a:pt x="0" y="2311"/>
                  </a:lnTo>
                  <a:lnTo>
                    <a:pt x="317" y="2984"/>
                  </a:lnTo>
                  <a:lnTo>
                    <a:pt x="1308" y="2628"/>
                  </a:lnTo>
                  <a:lnTo>
                    <a:pt x="2565" y="4711"/>
                  </a:lnTo>
                  <a:lnTo>
                    <a:pt x="3111" y="5410"/>
                  </a:lnTo>
                  <a:lnTo>
                    <a:pt x="5943" y="6134"/>
                  </a:lnTo>
                  <a:lnTo>
                    <a:pt x="6769" y="5524"/>
                  </a:lnTo>
                  <a:lnTo>
                    <a:pt x="8585" y="4279"/>
                  </a:lnTo>
                  <a:lnTo>
                    <a:pt x="9436" y="3746"/>
                  </a:lnTo>
                  <a:lnTo>
                    <a:pt x="11252" y="3238"/>
                  </a:lnTo>
                  <a:lnTo>
                    <a:pt x="13474" y="3352"/>
                  </a:lnTo>
                  <a:lnTo>
                    <a:pt x="11493" y="2514"/>
                  </a:lnTo>
                  <a:lnTo>
                    <a:pt x="12458" y="3098"/>
                  </a:lnTo>
                  <a:lnTo>
                    <a:pt x="8039" y="2095"/>
                  </a:lnTo>
                  <a:lnTo>
                    <a:pt x="6896" y="0"/>
                  </a:lnTo>
                  <a:close/>
                </a:path>
              </a:pathLst>
            </a:custGeom>
            <a:solidFill>
              <a:srgbClr val="EDDB9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3" name="object 915">
              <a:extLst>
                <a:ext uri="{FF2B5EF4-FFF2-40B4-BE49-F238E27FC236}">
                  <a16:creationId xmlns:a16="http://schemas.microsoft.com/office/drawing/2014/main" id="{77A4ADB1-76CD-4C10-804E-E5ACE00458C6}"/>
                </a:ext>
              </a:extLst>
            </p:cNvPr>
            <p:cNvSpPr/>
            <p:nvPr/>
          </p:nvSpPr>
          <p:spPr>
            <a:xfrm>
              <a:off x="8031922" y="6171021"/>
              <a:ext cx="13335" cy="6350"/>
            </a:xfrm>
            <a:custGeom>
              <a:avLst/>
              <a:gdLst/>
              <a:ahLst/>
              <a:cxnLst/>
              <a:rect l="l" t="t" r="r" b="b"/>
              <a:pathLst>
                <a:path w="13334" h="6350">
                  <a:moveTo>
                    <a:pt x="6870" y="0"/>
                  </a:moveTo>
                  <a:lnTo>
                    <a:pt x="1282" y="1485"/>
                  </a:lnTo>
                  <a:lnTo>
                    <a:pt x="381" y="1066"/>
                  </a:lnTo>
                  <a:lnTo>
                    <a:pt x="0" y="2273"/>
                  </a:lnTo>
                  <a:lnTo>
                    <a:pt x="317" y="2946"/>
                  </a:lnTo>
                  <a:lnTo>
                    <a:pt x="1358" y="2628"/>
                  </a:lnTo>
                  <a:lnTo>
                    <a:pt x="2590" y="4648"/>
                  </a:lnTo>
                  <a:lnTo>
                    <a:pt x="3111" y="5359"/>
                  </a:lnTo>
                  <a:lnTo>
                    <a:pt x="5943" y="6070"/>
                  </a:lnTo>
                  <a:lnTo>
                    <a:pt x="6731" y="5435"/>
                  </a:lnTo>
                  <a:lnTo>
                    <a:pt x="8483" y="4203"/>
                  </a:lnTo>
                  <a:lnTo>
                    <a:pt x="9321" y="3683"/>
                  </a:lnTo>
                  <a:lnTo>
                    <a:pt x="11036" y="3200"/>
                  </a:lnTo>
                  <a:lnTo>
                    <a:pt x="13246" y="3302"/>
                  </a:lnTo>
                  <a:lnTo>
                    <a:pt x="11430" y="2540"/>
                  </a:lnTo>
                  <a:lnTo>
                    <a:pt x="12280" y="3073"/>
                  </a:lnTo>
                  <a:lnTo>
                    <a:pt x="8013" y="2095"/>
                  </a:lnTo>
                  <a:lnTo>
                    <a:pt x="6870" y="0"/>
                  </a:lnTo>
                  <a:close/>
                </a:path>
              </a:pathLst>
            </a:custGeom>
            <a:solidFill>
              <a:srgbClr val="E8D49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4" name="object 916">
              <a:extLst>
                <a:ext uri="{FF2B5EF4-FFF2-40B4-BE49-F238E27FC236}">
                  <a16:creationId xmlns:a16="http://schemas.microsoft.com/office/drawing/2014/main" id="{03E7BB51-7B32-4104-BA8D-0EF8F338CC35}"/>
                </a:ext>
              </a:extLst>
            </p:cNvPr>
            <p:cNvSpPr/>
            <p:nvPr/>
          </p:nvSpPr>
          <p:spPr>
            <a:xfrm>
              <a:off x="8031944" y="6171017"/>
              <a:ext cx="13335" cy="6350"/>
            </a:xfrm>
            <a:custGeom>
              <a:avLst/>
              <a:gdLst/>
              <a:ahLst/>
              <a:cxnLst/>
              <a:rect l="l" t="t" r="r" b="b"/>
              <a:pathLst>
                <a:path w="13334" h="6350">
                  <a:moveTo>
                    <a:pt x="6845" y="0"/>
                  </a:moveTo>
                  <a:lnTo>
                    <a:pt x="1270" y="1485"/>
                  </a:lnTo>
                  <a:lnTo>
                    <a:pt x="381" y="1066"/>
                  </a:lnTo>
                  <a:lnTo>
                    <a:pt x="0" y="2235"/>
                  </a:lnTo>
                  <a:lnTo>
                    <a:pt x="317" y="2908"/>
                  </a:lnTo>
                  <a:lnTo>
                    <a:pt x="1422" y="2628"/>
                  </a:lnTo>
                  <a:lnTo>
                    <a:pt x="2628" y="4584"/>
                  </a:lnTo>
                  <a:lnTo>
                    <a:pt x="3111" y="5308"/>
                  </a:lnTo>
                  <a:lnTo>
                    <a:pt x="5943" y="6019"/>
                  </a:lnTo>
                  <a:lnTo>
                    <a:pt x="6692" y="5346"/>
                  </a:lnTo>
                  <a:lnTo>
                    <a:pt x="8382" y="4152"/>
                  </a:lnTo>
                  <a:lnTo>
                    <a:pt x="9194" y="3619"/>
                  </a:lnTo>
                  <a:lnTo>
                    <a:pt x="10820" y="3149"/>
                  </a:lnTo>
                  <a:lnTo>
                    <a:pt x="13004" y="3251"/>
                  </a:lnTo>
                  <a:lnTo>
                    <a:pt x="11366" y="2552"/>
                  </a:lnTo>
                  <a:lnTo>
                    <a:pt x="12103" y="3035"/>
                  </a:lnTo>
                  <a:lnTo>
                    <a:pt x="7988" y="2108"/>
                  </a:lnTo>
                  <a:lnTo>
                    <a:pt x="6845" y="0"/>
                  </a:lnTo>
                  <a:close/>
                </a:path>
              </a:pathLst>
            </a:custGeom>
            <a:solidFill>
              <a:srgbClr val="E1CF9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5" name="object 917">
              <a:extLst>
                <a:ext uri="{FF2B5EF4-FFF2-40B4-BE49-F238E27FC236}">
                  <a16:creationId xmlns:a16="http://schemas.microsoft.com/office/drawing/2014/main" id="{7D3CF379-B693-4FF5-99A4-EB58C56EB202}"/>
                </a:ext>
              </a:extLst>
            </p:cNvPr>
            <p:cNvSpPr/>
            <p:nvPr/>
          </p:nvSpPr>
          <p:spPr>
            <a:xfrm>
              <a:off x="8031972" y="6171027"/>
              <a:ext cx="13335" cy="6350"/>
            </a:xfrm>
            <a:custGeom>
              <a:avLst/>
              <a:gdLst/>
              <a:ahLst/>
              <a:cxnLst/>
              <a:rect l="l" t="t" r="r" b="b"/>
              <a:pathLst>
                <a:path w="13334" h="6350">
                  <a:moveTo>
                    <a:pt x="6819" y="0"/>
                  </a:moveTo>
                  <a:lnTo>
                    <a:pt x="1231" y="1473"/>
                  </a:lnTo>
                  <a:lnTo>
                    <a:pt x="393" y="1066"/>
                  </a:lnTo>
                  <a:lnTo>
                    <a:pt x="0" y="2184"/>
                  </a:lnTo>
                  <a:lnTo>
                    <a:pt x="317" y="2857"/>
                  </a:lnTo>
                  <a:lnTo>
                    <a:pt x="1485" y="2628"/>
                  </a:lnTo>
                  <a:lnTo>
                    <a:pt x="3098" y="5245"/>
                  </a:lnTo>
                  <a:lnTo>
                    <a:pt x="5930" y="5943"/>
                  </a:lnTo>
                  <a:lnTo>
                    <a:pt x="6654" y="5257"/>
                  </a:lnTo>
                  <a:lnTo>
                    <a:pt x="8267" y="4076"/>
                  </a:lnTo>
                  <a:lnTo>
                    <a:pt x="9067" y="3543"/>
                  </a:lnTo>
                  <a:lnTo>
                    <a:pt x="10604" y="3098"/>
                  </a:lnTo>
                  <a:lnTo>
                    <a:pt x="12776" y="3187"/>
                  </a:lnTo>
                  <a:lnTo>
                    <a:pt x="11303" y="2565"/>
                  </a:lnTo>
                  <a:lnTo>
                    <a:pt x="11925" y="2997"/>
                  </a:lnTo>
                  <a:lnTo>
                    <a:pt x="7962" y="2095"/>
                  </a:lnTo>
                  <a:lnTo>
                    <a:pt x="6819" y="0"/>
                  </a:lnTo>
                  <a:close/>
                </a:path>
              </a:pathLst>
            </a:custGeom>
            <a:solidFill>
              <a:srgbClr val="DAC88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6" name="object 918">
              <a:extLst>
                <a:ext uri="{FF2B5EF4-FFF2-40B4-BE49-F238E27FC236}">
                  <a16:creationId xmlns:a16="http://schemas.microsoft.com/office/drawing/2014/main" id="{9D09D7E2-F876-440F-AAA5-FB139EE799CE}"/>
                </a:ext>
              </a:extLst>
            </p:cNvPr>
            <p:cNvSpPr/>
            <p:nvPr/>
          </p:nvSpPr>
          <p:spPr>
            <a:xfrm>
              <a:off x="8031999" y="6171021"/>
              <a:ext cx="12700" cy="6350"/>
            </a:xfrm>
            <a:custGeom>
              <a:avLst/>
              <a:gdLst/>
              <a:ahLst/>
              <a:cxnLst/>
              <a:rect l="l" t="t" r="r" b="b"/>
              <a:pathLst>
                <a:path w="12700" h="6350">
                  <a:moveTo>
                    <a:pt x="6794" y="0"/>
                  </a:moveTo>
                  <a:lnTo>
                    <a:pt x="1206" y="1485"/>
                  </a:lnTo>
                  <a:lnTo>
                    <a:pt x="393" y="1079"/>
                  </a:lnTo>
                  <a:lnTo>
                    <a:pt x="0" y="2146"/>
                  </a:lnTo>
                  <a:lnTo>
                    <a:pt x="317" y="2806"/>
                  </a:lnTo>
                  <a:lnTo>
                    <a:pt x="1536" y="2616"/>
                  </a:lnTo>
                  <a:lnTo>
                    <a:pt x="2692" y="4457"/>
                  </a:lnTo>
                  <a:lnTo>
                    <a:pt x="3086" y="5181"/>
                  </a:lnTo>
                  <a:lnTo>
                    <a:pt x="5918" y="5892"/>
                  </a:lnTo>
                  <a:lnTo>
                    <a:pt x="6629" y="5168"/>
                  </a:lnTo>
                  <a:lnTo>
                    <a:pt x="8153" y="4013"/>
                  </a:lnTo>
                  <a:lnTo>
                    <a:pt x="8940" y="3479"/>
                  </a:lnTo>
                  <a:lnTo>
                    <a:pt x="10388" y="3060"/>
                  </a:lnTo>
                  <a:lnTo>
                    <a:pt x="12534" y="3136"/>
                  </a:lnTo>
                  <a:lnTo>
                    <a:pt x="11239" y="2578"/>
                  </a:lnTo>
                  <a:lnTo>
                    <a:pt x="11734" y="2959"/>
                  </a:lnTo>
                  <a:lnTo>
                    <a:pt x="7937" y="2095"/>
                  </a:lnTo>
                  <a:lnTo>
                    <a:pt x="6794" y="0"/>
                  </a:lnTo>
                  <a:close/>
                </a:path>
              </a:pathLst>
            </a:custGeom>
            <a:solidFill>
              <a:srgbClr val="D6C28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7" name="object 919">
              <a:extLst>
                <a:ext uri="{FF2B5EF4-FFF2-40B4-BE49-F238E27FC236}">
                  <a16:creationId xmlns:a16="http://schemas.microsoft.com/office/drawing/2014/main" id="{DCF17142-81E1-4937-8BF8-EA6BA50EE109}"/>
                </a:ext>
              </a:extLst>
            </p:cNvPr>
            <p:cNvSpPr/>
            <p:nvPr/>
          </p:nvSpPr>
          <p:spPr>
            <a:xfrm>
              <a:off x="8032026" y="6171018"/>
              <a:ext cx="12700" cy="6350"/>
            </a:xfrm>
            <a:custGeom>
              <a:avLst/>
              <a:gdLst/>
              <a:ahLst/>
              <a:cxnLst/>
              <a:rect l="l" t="t" r="r" b="b"/>
              <a:pathLst>
                <a:path w="12700" h="6350">
                  <a:moveTo>
                    <a:pt x="6769" y="0"/>
                  </a:moveTo>
                  <a:lnTo>
                    <a:pt x="1181" y="1485"/>
                  </a:lnTo>
                  <a:lnTo>
                    <a:pt x="393" y="1092"/>
                  </a:lnTo>
                  <a:lnTo>
                    <a:pt x="0" y="2108"/>
                  </a:lnTo>
                  <a:lnTo>
                    <a:pt x="317" y="2768"/>
                  </a:lnTo>
                  <a:lnTo>
                    <a:pt x="1587" y="2616"/>
                  </a:lnTo>
                  <a:lnTo>
                    <a:pt x="2717" y="4394"/>
                  </a:lnTo>
                  <a:lnTo>
                    <a:pt x="3073" y="5130"/>
                  </a:lnTo>
                  <a:lnTo>
                    <a:pt x="5905" y="5841"/>
                  </a:lnTo>
                  <a:lnTo>
                    <a:pt x="6578" y="5079"/>
                  </a:lnTo>
                  <a:lnTo>
                    <a:pt x="8039" y="3962"/>
                  </a:lnTo>
                  <a:lnTo>
                    <a:pt x="8801" y="3403"/>
                  </a:lnTo>
                  <a:lnTo>
                    <a:pt x="10160" y="3009"/>
                  </a:lnTo>
                  <a:lnTo>
                    <a:pt x="12293" y="3098"/>
                  </a:lnTo>
                  <a:lnTo>
                    <a:pt x="11163" y="2603"/>
                  </a:lnTo>
                  <a:lnTo>
                    <a:pt x="11557" y="2933"/>
                  </a:lnTo>
                  <a:lnTo>
                    <a:pt x="7912" y="2108"/>
                  </a:lnTo>
                  <a:lnTo>
                    <a:pt x="6769" y="0"/>
                  </a:lnTo>
                  <a:close/>
                </a:path>
              </a:pathLst>
            </a:custGeom>
            <a:solidFill>
              <a:srgbClr val="D0BC8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8" name="object 920">
              <a:extLst>
                <a:ext uri="{FF2B5EF4-FFF2-40B4-BE49-F238E27FC236}">
                  <a16:creationId xmlns:a16="http://schemas.microsoft.com/office/drawing/2014/main" id="{238C1410-3141-4306-A068-5B243BD466D8}"/>
                </a:ext>
              </a:extLst>
            </p:cNvPr>
            <p:cNvSpPr/>
            <p:nvPr/>
          </p:nvSpPr>
          <p:spPr>
            <a:xfrm>
              <a:off x="8032053" y="6171027"/>
              <a:ext cx="12065" cy="6350"/>
            </a:xfrm>
            <a:custGeom>
              <a:avLst/>
              <a:gdLst/>
              <a:ahLst/>
              <a:cxnLst/>
              <a:rect l="l" t="t" r="r" b="b"/>
              <a:pathLst>
                <a:path w="12065" h="6350">
                  <a:moveTo>
                    <a:pt x="6743" y="0"/>
                  </a:moveTo>
                  <a:lnTo>
                    <a:pt x="1155" y="1473"/>
                  </a:lnTo>
                  <a:lnTo>
                    <a:pt x="393" y="1092"/>
                  </a:lnTo>
                  <a:lnTo>
                    <a:pt x="0" y="2057"/>
                  </a:lnTo>
                  <a:lnTo>
                    <a:pt x="317" y="2717"/>
                  </a:lnTo>
                  <a:lnTo>
                    <a:pt x="1651" y="2603"/>
                  </a:lnTo>
                  <a:lnTo>
                    <a:pt x="2743" y="4318"/>
                  </a:lnTo>
                  <a:lnTo>
                    <a:pt x="3060" y="5067"/>
                  </a:lnTo>
                  <a:lnTo>
                    <a:pt x="5892" y="5778"/>
                  </a:lnTo>
                  <a:lnTo>
                    <a:pt x="6540" y="4978"/>
                  </a:lnTo>
                  <a:lnTo>
                    <a:pt x="8674" y="3327"/>
                  </a:lnTo>
                  <a:lnTo>
                    <a:pt x="9944" y="2959"/>
                  </a:lnTo>
                  <a:lnTo>
                    <a:pt x="12052" y="3035"/>
                  </a:lnTo>
                  <a:lnTo>
                    <a:pt x="11099" y="2603"/>
                  </a:lnTo>
                  <a:lnTo>
                    <a:pt x="11379" y="2882"/>
                  </a:lnTo>
                  <a:lnTo>
                    <a:pt x="7886" y="2095"/>
                  </a:lnTo>
                  <a:lnTo>
                    <a:pt x="6743" y="0"/>
                  </a:lnTo>
                  <a:close/>
                </a:path>
              </a:pathLst>
            </a:custGeom>
            <a:solidFill>
              <a:srgbClr val="CAB77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29" name="object 921">
              <a:extLst>
                <a:ext uri="{FF2B5EF4-FFF2-40B4-BE49-F238E27FC236}">
                  <a16:creationId xmlns:a16="http://schemas.microsoft.com/office/drawing/2014/main" id="{2DE58F2E-60B9-456F-A351-B606DBA89178}"/>
                </a:ext>
              </a:extLst>
            </p:cNvPr>
            <p:cNvSpPr/>
            <p:nvPr/>
          </p:nvSpPr>
          <p:spPr>
            <a:xfrm>
              <a:off x="8032079" y="6171018"/>
              <a:ext cx="12065" cy="6350"/>
            </a:xfrm>
            <a:custGeom>
              <a:avLst/>
              <a:gdLst/>
              <a:ahLst/>
              <a:cxnLst/>
              <a:rect l="l" t="t" r="r" b="b"/>
              <a:pathLst>
                <a:path w="12065" h="6350">
                  <a:moveTo>
                    <a:pt x="6718" y="0"/>
                  </a:moveTo>
                  <a:lnTo>
                    <a:pt x="1130" y="1485"/>
                  </a:lnTo>
                  <a:lnTo>
                    <a:pt x="393" y="1092"/>
                  </a:lnTo>
                  <a:lnTo>
                    <a:pt x="0" y="2019"/>
                  </a:lnTo>
                  <a:lnTo>
                    <a:pt x="317" y="2692"/>
                  </a:lnTo>
                  <a:lnTo>
                    <a:pt x="1701" y="2616"/>
                  </a:lnTo>
                  <a:lnTo>
                    <a:pt x="2781" y="4267"/>
                  </a:lnTo>
                  <a:lnTo>
                    <a:pt x="3048" y="5016"/>
                  </a:lnTo>
                  <a:lnTo>
                    <a:pt x="5880" y="5727"/>
                  </a:lnTo>
                  <a:lnTo>
                    <a:pt x="6502" y="4902"/>
                  </a:lnTo>
                  <a:lnTo>
                    <a:pt x="7823" y="3822"/>
                  </a:lnTo>
                  <a:lnTo>
                    <a:pt x="8559" y="3263"/>
                  </a:lnTo>
                  <a:lnTo>
                    <a:pt x="9728" y="2920"/>
                  </a:lnTo>
                  <a:lnTo>
                    <a:pt x="11811" y="2984"/>
                  </a:lnTo>
                  <a:lnTo>
                    <a:pt x="11036" y="2628"/>
                  </a:lnTo>
                  <a:lnTo>
                    <a:pt x="11201" y="2857"/>
                  </a:lnTo>
                  <a:lnTo>
                    <a:pt x="7848" y="2108"/>
                  </a:lnTo>
                  <a:lnTo>
                    <a:pt x="6718" y="0"/>
                  </a:lnTo>
                  <a:close/>
                </a:path>
              </a:pathLst>
            </a:custGeom>
            <a:solidFill>
              <a:srgbClr val="C4B17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0" name="object 922">
              <a:extLst>
                <a:ext uri="{FF2B5EF4-FFF2-40B4-BE49-F238E27FC236}">
                  <a16:creationId xmlns:a16="http://schemas.microsoft.com/office/drawing/2014/main" id="{E86A8DAF-CC49-4865-8895-C228C5D0C50F}"/>
                </a:ext>
              </a:extLst>
            </p:cNvPr>
            <p:cNvSpPr/>
            <p:nvPr/>
          </p:nvSpPr>
          <p:spPr>
            <a:xfrm>
              <a:off x="8032101" y="6171027"/>
              <a:ext cx="12065" cy="5715"/>
            </a:xfrm>
            <a:custGeom>
              <a:avLst/>
              <a:gdLst/>
              <a:ahLst/>
              <a:cxnLst/>
              <a:rect l="l" t="t" r="r" b="b"/>
              <a:pathLst>
                <a:path w="12065" h="5715">
                  <a:moveTo>
                    <a:pt x="6692" y="0"/>
                  </a:moveTo>
                  <a:lnTo>
                    <a:pt x="1104" y="1473"/>
                  </a:lnTo>
                  <a:lnTo>
                    <a:pt x="406" y="1104"/>
                  </a:lnTo>
                  <a:lnTo>
                    <a:pt x="0" y="1968"/>
                  </a:lnTo>
                  <a:lnTo>
                    <a:pt x="317" y="2641"/>
                  </a:lnTo>
                  <a:lnTo>
                    <a:pt x="1765" y="2603"/>
                  </a:lnTo>
                  <a:lnTo>
                    <a:pt x="2413" y="3606"/>
                  </a:lnTo>
                  <a:lnTo>
                    <a:pt x="2819" y="4191"/>
                  </a:lnTo>
                  <a:lnTo>
                    <a:pt x="3048" y="4953"/>
                  </a:lnTo>
                  <a:lnTo>
                    <a:pt x="5880" y="5664"/>
                  </a:lnTo>
                  <a:lnTo>
                    <a:pt x="6464" y="4800"/>
                  </a:lnTo>
                  <a:lnTo>
                    <a:pt x="8432" y="3175"/>
                  </a:lnTo>
                  <a:lnTo>
                    <a:pt x="9512" y="2857"/>
                  </a:lnTo>
                  <a:lnTo>
                    <a:pt x="11582" y="2921"/>
                  </a:lnTo>
                  <a:lnTo>
                    <a:pt x="10972" y="2641"/>
                  </a:lnTo>
                  <a:lnTo>
                    <a:pt x="11023" y="2819"/>
                  </a:lnTo>
                  <a:lnTo>
                    <a:pt x="7835" y="2095"/>
                  </a:lnTo>
                  <a:lnTo>
                    <a:pt x="6692" y="0"/>
                  </a:lnTo>
                  <a:close/>
                </a:path>
              </a:pathLst>
            </a:custGeom>
            <a:solidFill>
              <a:srgbClr val="BEAB7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1" name="object 923">
              <a:extLst>
                <a:ext uri="{FF2B5EF4-FFF2-40B4-BE49-F238E27FC236}">
                  <a16:creationId xmlns:a16="http://schemas.microsoft.com/office/drawing/2014/main" id="{941571D8-6E8A-42F4-9B6D-1B01B978E6B7}"/>
                </a:ext>
              </a:extLst>
            </p:cNvPr>
            <p:cNvSpPr/>
            <p:nvPr/>
          </p:nvSpPr>
          <p:spPr>
            <a:xfrm>
              <a:off x="8032129" y="6171023"/>
              <a:ext cx="11430" cy="5715"/>
            </a:xfrm>
            <a:custGeom>
              <a:avLst/>
              <a:gdLst/>
              <a:ahLst/>
              <a:cxnLst/>
              <a:rect l="l" t="t" r="r" b="b"/>
              <a:pathLst>
                <a:path w="11429" h="5715">
                  <a:moveTo>
                    <a:pt x="6667" y="0"/>
                  </a:moveTo>
                  <a:lnTo>
                    <a:pt x="1079" y="1473"/>
                  </a:lnTo>
                  <a:lnTo>
                    <a:pt x="406" y="1104"/>
                  </a:lnTo>
                  <a:lnTo>
                    <a:pt x="0" y="1930"/>
                  </a:lnTo>
                  <a:lnTo>
                    <a:pt x="317" y="2603"/>
                  </a:lnTo>
                  <a:lnTo>
                    <a:pt x="1816" y="2603"/>
                  </a:lnTo>
                  <a:lnTo>
                    <a:pt x="2844" y="4140"/>
                  </a:lnTo>
                  <a:lnTo>
                    <a:pt x="3035" y="4889"/>
                  </a:lnTo>
                  <a:lnTo>
                    <a:pt x="5867" y="5600"/>
                  </a:lnTo>
                  <a:lnTo>
                    <a:pt x="6426" y="4711"/>
                  </a:lnTo>
                  <a:lnTo>
                    <a:pt x="8305" y="3111"/>
                  </a:lnTo>
                  <a:lnTo>
                    <a:pt x="9283" y="2819"/>
                  </a:lnTo>
                  <a:lnTo>
                    <a:pt x="11341" y="2870"/>
                  </a:lnTo>
                  <a:lnTo>
                    <a:pt x="10909" y="2654"/>
                  </a:lnTo>
                  <a:lnTo>
                    <a:pt x="10833" y="2781"/>
                  </a:lnTo>
                  <a:lnTo>
                    <a:pt x="7810" y="2095"/>
                  </a:lnTo>
                  <a:lnTo>
                    <a:pt x="6667" y="0"/>
                  </a:lnTo>
                  <a:close/>
                </a:path>
              </a:pathLst>
            </a:custGeom>
            <a:solidFill>
              <a:srgbClr val="B8A56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2" name="object 924">
              <a:extLst>
                <a:ext uri="{FF2B5EF4-FFF2-40B4-BE49-F238E27FC236}">
                  <a16:creationId xmlns:a16="http://schemas.microsoft.com/office/drawing/2014/main" id="{E866BF91-63A6-4037-ABE8-A34451D2E326}"/>
                </a:ext>
              </a:extLst>
            </p:cNvPr>
            <p:cNvSpPr/>
            <p:nvPr/>
          </p:nvSpPr>
          <p:spPr>
            <a:xfrm>
              <a:off x="8032154" y="6171020"/>
              <a:ext cx="11430" cy="5715"/>
            </a:xfrm>
            <a:custGeom>
              <a:avLst/>
              <a:gdLst/>
              <a:ahLst/>
              <a:cxnLst/>
              <a:rect l="l" t="t" r="r" b="b"/>
              <a:pathLst>
                <a:path w="11429" h="5715">
                  <a:moveTo>
                    <a:pt x="6642" y="0"/>
                  </a:moveTo>
                  <a:lnTo>
                    <a:pt x="1054" y="1485"/>
                  </a:lnTo>
                  <a:lnTo>
                    <a:pt x="406" y="1117"/>
                  </a:lnTo>
                  <a:lnTo>
                    <a:pt x="0" y="1892"/>
                  </a:lnTo>
                  <a:lnTo>
                    <a:pt x="317" y="2565"/>
                  </a:lnTo>
                  <a:lnTo>
                    <a:pt x="1879" y="2603"/>
                  </a:lnTo>
                  <a:lnTo>
                    <a:pt x="2870" y="4076"/>
                  </a:lnTo>
                  <a:lnTo>
                    <a:pt x="3035" y="4838"/>
                  </a:lnTo>
                  <a:lnTo>
                    <a:pt x="5854" y="5549"/>
                  </a:lnTo>
                  <a:lnTo>
                    <a:pt x="6388" y="4622"/>
                  </a:lnTo>
                  <a:lnTo>
                    <a:pt x="8178" y="3047"/>
                  </a:lnTo>
                  <a:lnTo>
                    <a:pt x="9067" y="2768"/>
                  </a:lnTo>
                  <a:lnTo>
                    <a:pt x="11099" y="2819"/>
                  </a:lnTo>
                  <a:lnTo>
                    <a:pt x="10845" y="2666"/>
                  </a:lnTo>
                  <a:lnTo>
                    <a:pt x="10668" y="2755"/>
                  </a:lnTo>
                  <a:lnTo>
                    <a:pt x="7785" y="2108"/>
                  </a:lnTo>
                  <a:lnTo>
                    <a:pt x="6642" y="0"/>
                  </a:lnTo>
                  <a:close/>
                </a:path>
              </a:pathLst>
            </a:custGeom>
            <a:solidFill>
              <a:srgbClr val="B19F6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3" name="object 925">
              <a:extLst>
                <a:ext uri="{FF2B5EF4-FFF2-40B4-BE49-F238E27FC236}">
                  <a16:creationId xmlns:a16="http://schemas.microsoft.com/office/drawing/2014/main" id="{04255719-D644-49AB-8762-80AA5A8EAD97}"/>
                </a:ext>
              </a:extLst>
            </p:cNvPr>
            <p:cNvSpPr/>
            <p:nvPr/>
          </p:nvSpPr>
          <p:spPr>
            <a:xfrm>
              <a:off x="8031005" y="6171251"/>
              <a:ext cx="15875" cy="3810"/>
            </a:xfrm>
            <a:custGeom>
              <a:avLst/>
              <a:gdLst/>
              <a:ahLst/>
              <a:cxnLst/>
              <a:rect l="l" t="t" r="r" b="b"/>
              <a:pathLst>
                <a:path w="15875" h="3809">
                  <a:moveTo>
                    <a:pt x="6210" y="0"/>
                  </a:moveTo>
                  <a:lnTo>
                    <a:pt x="4914" y="330"/>
                  </a:lnTo>
                  <a:lnTo>
                    <a:pt x="1041" y="1181"/>
                  </a:lnTo>
                  <a:lnTo>
                    <a:pt x="850" y="723"/>
                  </a:lnTo>
                  <a:lnTo>
                    <a:pt x="558" y="787"/>
                  </a:lnTo>
                  <a:lnTo>
                    <a:pt x="368" y="812"/>
                  </a:lnTo>
                  <a:lnTo>
                    <a:pt x="0" y="1193"/>
                  </a:lnTo>
                  <a:lnTo>
                    <a:pt x="1219" y="2959"/>
                  </a:lnTo>
                  <a:lnTo>
                    <a:pt x="2539" y="2400"/>
                  </a:lnTo>
                  <a:lnTo>
                    <a:pt x="5918" y="1714"/>
                  </a:lnTo>
                  <a:lnTo>
                    <a:pt x="8521" y="2095"/>
                  </a:lnTo>
                  <a:lnTo>
                    <a:pt x="9207" y="2997"/>
                  </a:lnTo>
                  <a:lnTo>
                    <a:pt x="13322" y="2743"/>
                  </a:lnTo>
                  <a:lnTo>
                    <a:pt x="15100" y="3517"/>
                  </a:lnTo>
                  <a:lnTo>
                    <a:pt x="15316" y="3175"/>
                  </a:lnTo>
                  <a:lnTo>
                    <a:pt x="13055" y="2374"/>
                  </a:lnTo>
                  <a:lnTo>
                    <a:pt x="10388" y="1981"/>
                  </a:lnTo>
                  <a:lnTo>
                    <a:pt x="8902" y="863"/>
                  </a:lnTo>
                  <a:lnTo>
                    <a:pt x="6210" y="0"/>
                  </a:lnTo>
                  <a:close/>
                </a:path>
              </a:pathLst>
            </a:custGeom>
            <a:solidFill>
              <a:srgbClr val="FFF0B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4" name="object 926">
              <a:extLst>
                <a:ext uri="{FF2B5EF4-FFF2-40B4-BE49-F238E27FC236}">
                  <a16:creationId xmlns:a16="http://schemas.microsoft.com/office/drawing/2014/main" id="{61CE0A5E-D310-4CCD-AFCA-94690A3D7D05}"/>
                </a:ext>
              </a:extLst>
            </p:cNvPr>
            <p:cNvSpPr/>
            <p:nvPr/>
          </p:nvSpPr>
          <p:spPr>
            <a:xfrm>
              <a:off x="8031029" y="6171303"/>
              <a:ext cx="15240" cy="3810"/>
            </a:xfrm>
            <a:custGeom>
              <a:avLst/>
              <a:gdLst/>
              <a:ahLst/>
              <a:cxnLst/>
              <a:rect l="l" t="t" r="r" b="b"/>
              <a:pathLst>
                <a:path w="15240" h="3809">
                  <a:moveTo>
                    <a:pt x="6184" y="0"/>
                  </a:moveTo>
                  <a:lnTo>
                    <a:pt x="4927" y="355"/>
                  </a:lnTo>
                  <a:lnTo>
                    <a:pt x="1041" y="1206"/>
                  </a:lnTo>
                  <a:lnTo>
                    <a:pt x="876" y="774"/>
                  </a:lnTo>
                  <a:lnTo>
                    <a:pt x="571" y="812"/>
                  </a:lnTo>
                  <a:lnTo>
                    <a:pt x="380" y="850"/>
                  </a:lnTo>
                  <a:lnTo>
                    <a:pt x="0" y="1168"/>
                  </a:lnTo>
                  <a:lnTo>
                    <a:pt x="1193" y="2882"/>
                  </a:lnTo>
                  <a:lnTo>
                    <a:pt x="2527" y="2336"/>
                  </a:lnTo>
                  <a:lnTo>
                    <a:pt x="5880" y="1651"/>
                  </a:lnTo>
                  <a:lnTo>
                    <a:pt x="8496" y="2032"/>
                  </a:lnTo>
                  <a:lnTo>
                    <a:pt x="9194" y="2933"/>
                  </a:lnTo>
                  <a:lnTo>
                    <a:pt x="13195" y="2692"/>
                  </a:lnTo>
                  <a:lnTo>
                    <a:pt x="14909" y="3403"/>
                  </a:lnTo>
                  <a:lnTo>
                    <a:pt x="15125" y="3098"/>
                  </a:lnTo>
                  <a:lnTo>
                    <a:pt x="12941" y="2336"/>
                  </a:lnTo>
                  <a:lnTo>
                    <a:pt x="10337" y="1955"/>
                  </a:lnTo>
                  <a:lnTo>
                    <a:pt x="8889" y="863"/>
                  </a:lnTo>
                  <a:lnTo>
                    <a:pt x="6184" y="0"/>
                  </a:lnTo>
                  <a:close/>
                </a:path>
              </a:pathLst>
            </a:custGeom>
            <a:solidFill>
              <a:srgbClr val="FCEAA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5" name="object 927">
              <a:extLst>
                <a:ext uri="{FF2B5EF4-FFF2-40B4-BE49-F238E27FC236}">
                  <a16:creationId xmlns:a16="http://schemas.microsoft.com/office/drawing/2014/main" id="{A4E29B39-B584-443C-B3CD-DA8D123AE6A4}"/>
                </a:ext>
              </a:extLst>
            </p:cNvPr>
            <p:cNvSpPr/>
            <p:nvPr/>
          </p:nvSpPr>
          <p:spPr>
            <a:xfrm>
              <a:off x="8031057" y="6171360"/>
              <a:ext cx="15240" cy="3810"/>
            </a:xfrm>
            <a:custGeom>
              <a:avLst/>
              <a:gdLst/>
              <a:ahLst/>
              <a:cxnLst/>
              <a:rect l="l" t="t" r="r" b="b"/>
              <a:pathLst>
                <a:path w="15240" h="3809">
                  <a:moveTo>
                    <a:pt x="6159" y="0"/>
                  </a:moveTo>
                  <a:lnTo>
                    <a:pt x="4927" y="368"/>
                  </a:lnTo>
                  <a:lnTo>
                    <a:pt x="1041" y="1231"/>
                  </a:lnTo>
                  <a:lnTo>
                    <a:pt x="901" y="800"/>
                  </a:lnTo>
                  <a:lnTo>
                    <a:pt x="584" y="838"/>
                  </a:lnTo>
                  <a:lnTo>
                    <a:pt x="393" y="863"/>
                  </a:lnTo>
                  <a:lnTo>
                    <a:pt x="0" y="1130"/>
                  </a:lnTo>
                  <a:lnTo>
                    <a:pt x="1168" y="2806"/>
                  </a:lnTo>
                  <a:lnTo>
                    <a:pt x="2514" y="2273"/>
                  </a:lnTo>
                  <a:lnTo>
                    <a:pt x="5854" y="1587"/>
                  </a:lnTo>
                  <a:lnTo>
                    <a:pt x="8458" y="1968"/>
                  </a:lnTo>
                  <a:lnTo>
                    <a:pt x="9182" y="2870"/>
                  </a:lnTo>
                  <a:lnTo>
                    <a:pt x="13055" y="2628"/>
                  </a:lnTo>
                  <a:lnTo>
                    <a:pt x="14719" y="3302"/>
                  </a:lnTo>
                  <a:lnTo>
                    <a:pt x="14909" y="3009"/>
                  </a:lnTo>
                  <a:lnTo>
                    <a:pt x="12827" y="2311"/>
                  </a:lnTo>
                  <a:lnTo>
                    <a:pt x="10274" y="1930"/>
                  </a:lnTo>
                  <a:lnTo>
                    <a:pt x="8864" y="863"/>
                  </a:lnTo>
                  <a:lnTo>
                    <a:pt x="6159" y="0"/>
                  </a:lnTo>
                  <a:close/>
                </a:path>
              </a:pathLst>
            </a:custGeom>
            <a:solidFill>
              <a:srgbClr val="F8E6A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6" name="object 928">
              <a:extLst>
                <a:ext uri="{FF2B5EF4-FFF2-40B4-BE49-F238E27FC236}">
                  <a16:creationId xmlns:a16="http://schemas.microsoft.com/office/drawing/2014/main" id="{D285BF3A-39FA-4F2A-B215-777C4C5F7EF7}"/>
                </a:ext>
              </a:extLst>
            </p:cNvPr>
            <p:cNvSpPr/>
            <p:nvPr/>
          </p:nvSpPr>
          <p:spPr>
            <a:xfrm>
              <a:off x="8031083" y="6171407"/>
              <a:ext cx="15240" cy="3810"/>
            </a:xfrm>
            <a:custGeom>
              <a:avLst/>
              <a:gdLst/>
              <a:ahLst/>
              <a:cxnLst/>
              <a:rect l="l" t="t" r="r" b="b"/>
              <a:pathLst>
                <a:path w="15240" h="3809">
                  <a:moveTo>
                    <a:pt x="6134" y="0"/>
                  </a:moveTo>
                  <a:lnTo>
                    <a:pt x="4927" y="406"/>
                  </a:lnTo>
                  <a:lnTo>
                    <a:pt x="1041" y="1270"/>
                  </a:lnTo>
                  <a:lnTo>
                    <a:pt x="927" y="850"/>
                  </a:lnTo>
                  <a:lnTo>
                    <a:pt x="596" y="876"/>
                  </a:lnTo>
                  <a:lnTo>
                    <a:pt x="406" y="889"/>
                  </a:lnTo>
                  <a:lnTo>
                    <a:pt x="0" y="1104"/>
                  </a:lnTo>
                  <a:lnTo>
                    <a:pt x="1143" y="2743"/>
                  </a:lnTo>
                  <a:lnTo>
                    <a:pt x="2489" y="2209"/>
                  </a:lnTo>
                  <a:lnTo>
                    <a:pt x="5829" y="1536"/>
                  </a:lnTo>
                  <a:lnTo>
                    <a:pt x="8432" y="1917"/>
                  </a:lnTo>
                  <a:lnTo>
                    <a:pt x="9169" y="2806"/>
                  </a:lnTo>
                  <a:lnTo>
                    <a:pt x="12915" y="2590"/>
                  </a:lnTo>
                  <a:lnTo>
                    <a:pt x="14528" y="3213"/>
                  </a:lnTo>
                  <a:lnTo>
                    <a:pt x="14706" y="2933"/>
                  </a:lnTo>
                  <a:lnTo>
                    <a:pt x="12700" y="2286"/>
                  </a:lnTo>
                  <a:lnTo>
                    <a:pt x="10210" y="1905"/>
                  </a:lnTo>
                  <a:lnTo>
                    <a:pt x="8826" y="863"/>
                  </a:lnTo>
                  <a:lnTo>
                    <a:pt x="6134" y="0"/>
                  </a:lnTo>
                  <a:close/>
                </a:path>
              </a:pathLst>
            </a:custGeom>
            <a:solidFill>
              <a:srgbClr val="F5E3A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7" name="object 929">
              <a:extLst>
                <a:ext uri="{FF2B5EF4-FFF2-40B4-BE49-F238E27FC236}">
                  <a16:creationId xmlns:a16="http://schemas.microsoft.com/office/drawing/2014/main" id="{69906255-C0E8-4587-ACD3-0B7581A9A3F7}"/>
                </a:ext>
              </a:extLst>
            </p:cNvPr>
            <p:cNvSpPr/>
            <p:nvPr/>
          </p:nvSpPr>
          <p:spPr>
            <a:xfrm>
              <a:off x="8031111" y="6171463"/>
              <a:ext cx="14604" cy="3175"/>
            </a:xfrm>
            <a:custGeom>
              <a:avLst/>
              <a:gdLst/>
              <a:ahLst/>
              <a:cxnLst/>
              <a:rect l="l" t="t" r="r" b="b"/>
              <a:pathLst>
                <a:path w="14604" h="3175">
                  <a:moveTo>
                    <a:pt x="6108" y="0"/>
                  </a:moveTo>
                  <a:lnTo>
                    <a:pt x="4914" y="419"/>
                  </a:lnTo>
                  <a:lnTo>
                    <a:pt x="1041" y="1282"/>
                  </a:lnTo>
                  <a:lnTo>
                    <a:pt x="939" y="889"/>
                  </a:lnTo>
                  <a:lnTo>
                    <a:pt x="609" y="901"/>
                  </a:lnTo>
                  <a:lnTo>
                    <a:pt x="419" y="914"/>
                  </a:lnTo>
                  <a:lnTo>
                    <a:pt x="0" y="1066"/>
                  </a:lnTo>
                  <a:lnTo>
                    <a:pt x="1117" y="2679"/>
                  </a:lnTo>
                  <a:lnTo>
                    <a:pt x="2476" y="2146"/>
                  </a:lnTo>
                  <a:lnTo>
                    <a:pt x="5791" y="1460"/>
                  </a:lnTo>
                  <a:lnTo>
                    <a:pt x="8394" y="1841"/>
                  </a:lnTo>
                  <a:lnTo>
                    <a:pt x="9144" y="2743"/>
                  </a:lnTo>
                  <a:lnTo>
                    <a:pt x="12763" y="2527"/>
                  </a:lnTo>
                  <a:lnTo>
                    <a:pt x="14338" y="3098"/>
                  </a:lnTo>
                  <a:lnTo>
                    <a:pt x="14503" y="2857"/>
                  </a:lnTo>
                  <a:lnTo>
                    <a:pt x="12585" y="2247"/>
                  </a:lnTo>
                  <a:lnTo>
                    <a:pt x="10147" y="1879"/>
                  </a:lnTo>
                  <a:lnTo>
                    <a:pt x="8801" y="863"/>
                  </a:lnTo>
                  <a:lnTo>
                    <a:pt x="6108" y="0"/>
                  </a:lnTo>
                  <a:close/>
                </a:path>
              </a:pathLst>
            </a:custGeom>
            <a:solidFill>
              <a:srgbClr val="F1DF9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8" name="object 930">
              <a:extLst>
                <a:ext uri="{FF2B5EF4-FFF2-40B4-BE49-F238E27FC236}">
                  <a16:creationId xmlns:a16="http://schemas.microsoft.com/office/drawing/2014/main" id="{A9CA4FD1-7985-4A9D-86EF-0D288CE4E8BF}"/>
                </a:ext>
              </a:extLst>
            </p:cNvPr>
            <p:cNvSpPr/>
            <p:nvPr/>
          </p:nvSpPr>
          <p:spPr>
            <a:xfrm>
              <a:off x="8031136" y="6171523"/>
              <a:ext cx="14604" cy="3175"/>
            </a:xfrm>
            <a:custGeom>
              <a:avLst/>
              <a:gdLst/>
              <a:ahLst/>
              <a:cxnLst/>
              <a:rect l="l" t="t" r="r" b="b"/>
              <a:pathLst>
                <a:path w="14604" h="3175">
                  <a:moveTo>
                    <a:pt x="6083" y="0"/>
                  </a:moveTo>
                  <a:lnTo>
                    <a:pt x="4914" y="444"/>
                  </a:lnTo>
                  <a:lnTo>
                    <a:pt x="1041" y="1308"/>
                  </a:lnTo>
                  <a:lnTo>
                    <a:pt x="952" y="927"/>
                  </a:lnTo>
                  <a:lnTo>
                    <a:pt x="622" y="927"/>
                  </a:lnTo>
                  <a:lnTo>
                    <a:pt x="431" y="939"/>
                  </a:lnTo>
                  <a:lnTo>
                    <a:pt x="0" y="1041"/>
                  </a:lnTo>
                  <a:lnTo>
                    <a:pt x="1104" y="2590"/>
                  </a:lnTo>
                  <a:lnTo>
                    <a:pt x="2451" y="2070"/>
                  </a:lnTo>
                  <a:lnTo>
                    <a:pt x="5753" y="1397"/>
                  </a:lnTo>
                  <a:lnTo>
                    <a:pt x="8369" y="1778"/>
                  </a:lnTo>
                  <a:lnTo>
                    <a:pt x="9131" y="2667"/>
                  </a:lnTo>
                  <a:lnTo>
                    <a:pt x="12636" y="2463"/>
                  </a:lnTo>
                  <a:lnTo>
                    <a:pt x="14135" y="2997"/>
                  </a:lnTo>
                  <a:lnTo>
                    <a:pt x="14287" y="2768"/>
                  </a:lnTo>
                  <a:lnTo>
                    <a:pt x="12471" y="2209"/>
                  </a:lnTo>
                  <a:lnTo>
                    <a:pt x="10083" y="1854"/>
                  </a:lnTo>
                  <a:lnTo>
                    <a:pt x="8775" y="863"/>
                  </a:lnTo>
                  <a:lnTo>
                    <a:pt x="6083" y="0"/>
                  </a:lnTo>
                  <a:close/>
                </a:path>
              </a:pathLst>
            </a:custGeom>
            <a:solidFill>
              <a:srgbClr val="EFDC9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39" name="object 931">
              <a:extLst>
                <a:ext uri="{FF2B5EF4-FFF2-40B4-BE49-F238E27FC236}">
                  <a16:creationId xmlns:a16="http://schemas.microsoft.com/office/drawing/2014/main" id="{22B474A2-BFA6-409F-9DA9-F6302874F6F3}"/>
                </a:ext>
              </a:extLst>
            </p:cNvPr>
            <p:cNvSpPr/>
            <p:nvPr/>
          </p:nvSpPr>
          <p:spPr>
            <a:xfrm>
              <a:off x="8031164" y="6171576"/>
              <a:ext cx="14604" cy="3175"/>
            </a:xfrm>
            <a:custGeom>
              <a:avLst/>
              <a:gdLst/>
              <a:ahLst/>
              <a:cxnLst/>
              <a:rect l="l" t="t" r="r" b="b"/>
              <a:pathLst>
                <a:path w="14604" h="3175">
                  <a:moveTo>
                    <a:pt x="6057" y="0"/>
                  </a:moveTo>
                  <a:lnTo>
                    <a:pt x="4914" y="469"/>
                  </a:lnTo>
                  <a:lnTo>
                    <a:pt x="1028" y="1320"/>
                  </a:lnTo>
                  <a:lnTo>
                    <a:pt x="977" y="965"/>
                  </a:lnTo>
                  <a:lnTo>
                    <a:pt x="634" y="952"/>
                  </a:lnTo>
                  <a:lnTo>
                    <a:pt x="444" y="952"/>
                  </a:lnTo>
                  <a:lnTo>
                    <a:pt x="0" y="1003"/>
                  </a:lnTo>
                  <a:lnTo>
                    <a:pt x="1079" y="2527"/>
                  </a:lnTo>
                  <a:lnTo>
                    <a:pt x="2438" y="2006"/>
                  </a:lnTo>
                  <a:lnTo>
                    <a:pt x="5727" y="1333"/>
                  </a:lnTo>
                  <a:lnTo>
                    <a:pt x="8331" y="1714"/>
                  </a:lnTo>
                  <a:lnTo>
                    <a:pt x="9118" y="2603"/>
                  </a:lnTo>
                  <a:lnTo>
                    <a:pt x="12484" y="2412"/>
                  </a:lnTo>
                  <a:lnTo>
                    <a:pt x="13944" y="2895"/>
                  </a:lnTo>
                  <a:lnTo>
                    <a:pt x="14084" y="2692"/>
                  </a:lnTo>
                  <a:lnTo>
                    <a:pt x="12357" y="2184"/>
                  </a:lnTo>
                  <a:lnTo>
                    <a:pt x="10020" y="1828"/>
                  </a:lnTo>
                  <a:lnTo>
                    <a:pt x="8750" y="863"/>
                  </a:lnTo>
                  <a:lnTo>
                    <a:pt x="6057" y="0"/>
                  </a:lnTo>
                  <a:close/>
                </a:path>
              </a:pathLst>
            </a:custGeom>
            <a:solidFill>
              <a:srgbClr val="EDD99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0" name="object 932">
              <a:extLst>
                <a:ext uri="{FF2B5EF4-FFF2-40B4-BE49-F238E27FC236}">
                  <a16:creationId xmlns:a16="http://schemas.microsoft.com/office/drawing/2014/main" id="{F0609BF1-61E6-42BC-93B8-65A54CAEE80B}"/>
                </a:ext>
              </a:extLst>
            </p:cNvPr>
            <p:cNvSpPr/>
            <p:nvPr/>
          </p:nvSpPr>
          <p:spPr>
            <a:xfrm>
              <a:off x="8031192" y="6171623"/>
              <a:ext cx="13970" cy="3175"/>
            </a:xfrm>
            <a:custGeom>
              <a:avLst/>
              <a:gdLst/>
              <a:ahLst/>
              <a:cxnLst/>
              <a:rect l="l" t="t" r="r" b="b"/>
              <a:pathLst>
                <a:path w="13970" h="3175">
                  <a:moveTo>
                    <a:pt x="6032" y="0"/>
                  </a:moveTo>
                  <a:lnTo>
                    <a:pt x="4914" y="495"/>
                  </a:lnTo>
                  <a:lnTo>
                    <a:pt x="1028" y="1358"/>
                  </a:lnTo>
                  <a:lnTo>
                    <a:pt x="990" y="1003"/>
                  </a:lnTo>
                  <a:lnTo>
                    <a:pt x="647" y="990"/>
                  </a:lnTo>
                  <a:lnTo>
                    <a:pt x="0" y="977"/>
                  </a:lnTo>
                  <a:lnTo>
                    <a:pt x="1041" y="2463"/>
                  </a:lnTo>
                  <a:lnTo>
                    <a:pt x="2413" y="1955"/>
                  </a:lnTo>
                  <a:lnTo>
                    <a:pt x="5689" y="1269"/>
                  </a:lnTo>
                  <a:lnTo>
                    <a:pt x="8305" y="1650"/>
                  </a:lnTo>
                  <a:lnTo>
                    <a:pt x="9093" y="2539"/>
                  </a:lnTo>
                  <a:lnTo>
                    <a:pt x="12357" y="2362"/>
                  </a:lnTo>
                  <a:lnTo>
                    <a:pt x="13754" y="2806"/>
                  </a:lnTo>
                  <a:lnTo>
                    <a:pt x="13868" y="2616"/>
                  </a:lnTo>
                  <a:lnTo>
                    <a:pt x="12230" y="2158"/>
                  </a:lnTo>
                  <a:lnTo>
                    <a:pt x="9956" y="1803"/>
                  </a:lnTo>
                  <a:lnTo>
                    <a:pt x="8724" y="863"/>
                  </a:lnTo>
                  <a:lnTo>
                    <a:pt x="6032" y="0"/>
                  </a:lnTo>
                  <a:close/>
                </a:path>
              </a:pathLst>
            </a:custGeom>
            <a:solidFill>
              <a:srgbClr val="E9D59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1" name="object 933">
              <a:extLst>
                <a:ext uri="{FF2B5EF4-FFF2-40B4-BE49-F238E27FC236}">
                  <a16:creationId xmlns:a16="http://schemas.microsoft.com/office/drawing/2014/main" id="{4F803BE4-8DDB-4145-98AF-3DCA79B84FE6}"/>
                </a:ext>
              </a:extLst>
            </p:cNvPr>
            <p:cNvSpPr/>
            <p:nvPr/>
          </p:nvSpPr>
          <p:spPr>
            <a:xfrm>
              <a:off x="8031219" y="6171681"/>
              <a:ext cx="13970" cy="3175"/>
            </a:xfrm>
            <a:custGeom>
              <a:avLst/>
              <a:gdLst/>
              <a:ahLst/>
              <a:cxnLst/>
              <a:rect l="l" t="t" r="r" b="b"/>
              <a:pathLst>
                <a:path w="13970" h="3175">
                  <a:moveTo>
                    <a:pt x="5994" y="0"/>
                  </a:moveTo>
                  <a:lnTo>
                    <a:pt x="4914" y="520"/>
                  </a:lnTo>
                  <a:lnTo>
                    <a:pt x="1028" y="1371"/>
                  </a:lnTo>
                  <a:lnTo>
                    <a:pt x="1016" y="1041"/>
                  </a:lnTo>
                  <a:lnTo>
                    <a:pt x="660" y="1015"/>
                  </a:lnTo>
                  <a:lnTo>
                    <a:pt x="0" y="939"/>
                  </a:lnTo>
                  <a:lnTo>
                    <a:pt x="1028" y="2387"/>
                  </a:lnTo>
                  <a:lnTo>
                    <a:pt x="2400" y="1892"/>
                  </a:lnTo>
                  <a:lnTo>
                    <a:pt x="5664" y="1206"/>
                  </a:lnTo>
                  <a:lnTo>
                    <a:pt x="8267" y="1587"/>
                  </a:lnTo>
                  <a:lnTo>
                    <a:pt x="9080" y="2476"/>
                  </a:lnTo>
                  <a:lnTo>
                    <a:pt x="12217" y="2311"/>
                  </a:lnTo>
                  <a:lnTo>
                    <a:pt x="13563" y="2692"/>
                  </a:lnTo>
                  <a:lnTo>
                    <a:pt x="13665" y="2527"/>
                  </a:lnTo>
                  <a:lnTo>
                    <a:pt x="12115" y="2120"/>
                  </a:lnTo>
                  <a:lnTo>
                    <a:pt x="9893" y="1777"/>
                  </a:lnTo>
                  <a:lnTo>
                    <a:pt x="8699" y="863"/>
                  </a:lnTo>
                  <a:lnTo>
                    <a:pt x="5994" y="0"/>
                  </a:lnTo>
                  <a:close/>
                </a:path>
              </a:pathLst>
            </a:custGeom>
            <a:solidFill>
              <a:srgbClr val="E6D39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2" name="object 934">
              <a:extLst>
                <a:ext uri="{FF2B5EF4-FFF2-40B4-BE49-F238E27FC236}">
                  <a16:creationId xmlns:a16="http://schemas.microsoft.com/office/drawing/2014/main" id="{374E5D4A-837B-4E1C-9C42-1EC717C9DB54}"/>
                </a:ext>
              </a:extLst>
            </p:cNvPr>
            <p:cNvSpPr/>
            <p:nvPr/>
          </p:nvSpPr>
          <p:spPr>
            <a:xfrm>
              <a:off x="8031242" y="6171735"/>
              <a:ext cx="13970" cy="3175"/>
            </a:xfrm>
            <a:custGeom>
              <a:avLst/>
              <a:gdLst/>
              <a:ahLst/>
              <a:cxnLst/>
              <a:rect l="l" t="t" r="r" b="b"/>
              <a:pathLst>
                <a:path w="13970" h="3175">
                  <a:moveTo>
                    <a:pt x="5981" y="0"/>
                  </a:moveTo>
                  <a:lnTo>
                    <a:pt x="4914" y="533"/>
                  </a:lnTo>
                  <a:lnTo>
                    <a:pt x="1028" y="1397"/>
                  </a:lnTo>
                  <a:lnTo>
                    <a:pt x="1041" y="1079"/>
                  </a:lnTo>
                  <a:lnTo>
                    <a:pt x="673" y="1041"/>
                  </a:lnTo>
                  <a:lnTo>
                    <a:pt x="495" y="1028"/>
                  </a:lnTo>
                  <a:lnTo>
                    <a:pt x="0" y="914"/>
                  </a:lnTo>
                  <a:lnTo>
                    <a:pt x="1003" y="2311"/>
                  </a:lnTo>
                  <a:lnTo>
                    <a:pt x="2387" y="1816"/>
                  </a:lnTo>
                  <a:lnTo>
                    <a:pt x="5638" y="1143"/>
                  </a:lnTo>
                  <a:lnTo>
                    <a:pt x="8242" y="1524"/>
                  </a:lnTo>
                  <a:lnTo>
                    <a:pt x="9067" y="2400"/>
                  </a:lnTo>
                  <a:lnTo>
                    <a:pt x="12077" y="2247"/>
                  </a:lnTo>
                  <a:lnTo>
                    <a:pt x="13373" y="2590"/>
                  </a:lnTo>
                  <a:lnTo>
                    <a:pt x="13461" y="2451"/>
                  </a:lnTo>
                  <a:lnTo>
                    <a:pt x="12001" y="2082"/>
                  </a:lnTo>
                  <a:lnTo>
                    <a:pt x="9842" y="1752"/>
                  </a:lnTo>
                  <a:lnTo>
                    <a:pt x="8674" y="863"/>
                  </a:lnTo>
                  <a:lnTo>
                    <a:pt x="5981" y="0"/>
                  </a:lnTo>
                  <a:close/>
                </a:path>
              </a:pathLst>
            </a:custGeom>
            <a:solidFill>
              <a:srgbClr val="E3CE8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3" name="object 935">
              <a:extLst>
                <a:ext uri="{FF2B5EF4-FFF2-40B4-BE49-F238E27FC236}">
                  <a16:creationId xmlns:a16="http://schemas.microsoft.com/office/drawing/2014/main" id="{8D51018D-A6EA-4F2F-B572-4623B48E5504}"/>
                </a:ext>
              </a:extLst>
            </p:cNvPr>
            <p:cNvSpPr/>
            <p:nvPr/>
          </p:nvSpPr>
          <p:spPr>
            <a:xfrm>
              <a:off x="8031271" y="6171792"/>
              <a:ext cx="13335" cy="2540"/>
            </a:xfrm>
            <a:custGeom>
              <a:avLst/>
              <a:gdLst/>
              <a:ahLst/>
              <a:cxnLst/>
              <a:rect l="l" t="t" r="r" b="b"/>
              <a:pathLst>
                <a:path w="13334" h="2540">
                  <a:moveTo>
                    <a:pt x="5943" y="0"/>
                  </a:moveTo>
                  <a:lnTo>
                    <a:pt x="4914" y="558"/>
                  </a:lnTo>
                  <a:lnTo>
                    <a:pt x="1028" y="1422"/>
                  </a:lnTo>
                  <a:lnTo>
                    <a:pt x="1054" y="1117"/>
                  </a:lnTo>
                  <a:lnTo>
                    <a:pt x="685" y="1066"/>
                  </a:lnTo>
                  <a:lnTo>
                    <a:pt x="495" y="1054"/>
                  </a:lnTo>
                  <a:lnTo>
                    <a:pt x="0" y="876"/>
                  </a:lnTo>
                  <a:lnTo>
                    <a:pt x="977" y="2235"/>
                  </a:lnTo>
                  <a:lnTo>
                    <a:pt x="2362" y="1752"/>
                  </a:lnTo>
                  <a:lnTo>
                    <a:pt x="5600" y="1066"/>
                  </a:lnTo>
                  <a:lnTo>
                    <a:pt x="8216" y="1460"/>
                  </a:lnTo>
                  <a:lnTo>
                    <a:pt x="9055" y="2336"/>
                  </a:lnTo>
                  <a:lnTo>
                    <a:pt x="11937" y="2197"/>
                  </a:lnTo>
                  <a:lnTo>
                    <a:pt x="13182" y="2489"/>
                  </a:lnTo>
                  <a:lnTo>
                    <a:pt x="13258" y="2362"/>
                  </a:lnTo>
                  <a:lnTo>
                    <a:pt x="11887" y="2057"/>
                  </a:lnTo>
                  <a:lnTo>
                    <a:pt x="9778" y="1727"/>
                  </a:lnTo>
                  <a:lnTo>
                    <a:pt x="8648" y="850"/>
                  </a:lnTo>
                  <a:lnTo>
                    <a:pt x="5943" y="0"/>
                  </a:lnTo>
                  <a:close/>
                </a:path>
              </a:pathLst>
            </a:custGeom>
            <a:solidFill>
              <a:srgbClr val="E0CB8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4" name="object 936">
              <a:extLst>
                <a:ext uri="{FF2B5EF4-FFF2-40B4-BE49-F238E27FC236}">
                  <a16:creationId xmlns:a16="http://schemas.microsoft.com/office/drawing/2014/main" id="{BF19A69A-3D22-4E98-A55C-87ECD5CE0339}"/>
                </a:ext>
              </a:extLst>
            </p:cNvPr>
            <p:cNvSpPr/>
            <p:nvPr/>
          </p:nvSpPr>
          <p:spPr>
            <a:xfrm>
              <a:off x="8031294" y="6171840"/>
              <a:ext cx="13335" cy="2540"/>
            </a:xfrm>
            <a:custGeom>
              <a:avLst/>
              <a:gdLst/>
              <a:ahLst/>
              <a:cxnLst/>
              <a:rect l="l" t="t" r="r" b="b"/>
              <a:pathLst>
                <a:path w="13334" h="2540">
                  <a:moveTo>
                    <a:pt x="5930" y="0"/>
                  </a:moveTo>
                  <a:lnTo>
                    <a:pt x="4914" y="584"/>
                  </a:lnTo>
                  <a:lnTo>
                    <a:pt x="1028" y="1447"/>
                  </a:lnTo>
                  <a:lnTo>
                    <a:pt x="1079" y="1155"/>
                  </a:lnTo>
                  <a:lnTo>
                    <a:pt x="698" y="1104"/>
                  </a:lnTo>
                  <a:lnTo>
                    <a:pt x="520" y="1079"/>
                  </a:lnTo>
                  <a:lnTo>
                    <a:pt x="0" y="850"/>
                  </a:lnTo>
                  <a:lnTo>
                    <a:pt x="965" y="2171"/>
                  </a:lnTo>
                  <a:lnTo>
                    <a:pt x="2349" y="1701"/>
                  </a:lnTo>
                  <a:lnTo>
                    <a:pt x="5575" y="1015"/>
                  </a:lnTo>
                  <a:lnTo>
                    <a:pt x="8178" y="1396"/>
                  </a:lnTo>
                  <a:lnTo>
                    <a:pt x="9042" y="2273"/>
                  </a:lnTo>
                  <a:lnTo>
                    <a:pt x="11798" y="2146"/>
                  </a:lnTo>
                  <a:lnTo>
                    <a:pt x="12979" y="2387"/>
                  </a:lnTo>
                  <a:lnTo>
                    <a:pt x="11772" y="2031"/>
                  </a:lnTo>
                  <a:lnTo>
                    <a:pt x="9715" y="1701"/>
                  </a:lnTo>
                  <a:lnTo>
                    <a:pt x="8623" y="863"/>
                  </a:lnTo>
                  <a:lnTo>
                    <a:pt x="5930" y="0"/>
                  </a:lnTo>
                  <a:close/>
                </a:path>
              </a:pathLst>
            </a:custGeom>
            <a:solidFill>
              <a:srgbClr val="DCC78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5" name="object 937">
              <a:extLst>
                <a:ext uri="{FF2B5EF4-FFF2-40B4-BE49-F238E27FC236}">
                  <a16:creationId xmlns:a16="http://schemas.microsoft.com/office/drawing/2014/main" id="{7E1ABD83-4FB2-4E4C-8967-78BBA497878E}"/>
                </a:ext>
              </a:extLst>
            </p:cNvPr>
            <p:cNvSpPr/>
            <p:nvPr/>
          </p:nvSpPr>
          <p:spPr>
            <a:xfrm>
              <a:off x="8031312" y="6171893"/>
              <a:ext cx="13335" cy="2540"/>
            </a:xfrm>
            <a:custGeom>
              <a:avLst/>
              <a:gdLst/>
              <a:ahLst/>
              <a:cxnLst/>
              <a:rect l="l" t="t" r="r" b="b"/>
              <a:pathLst>
                <a:path w="13334" h="2540">
                  <a:moveTo>
                    <a:pt x="5905" y="0"/>
                  </a:moveTo>
                  <a:lnTo>
                    <a:pt x="4927" y="609"/>
                  </a:lnTo>
                  <a:lnTo>
                    <a:pt x="1041" y="1473"/>
                  </a:lnTo>
                  <a:lnTo>
                    <a:pt x="1104" y="1206"/>
                  </a:lnTo>
                  <a:lnTo>
                    <a:pt x="723" y="1130"/>
                  </a:lnTo>
                  <a:lnTo>
                    <a:pt x="533" y="1104"/>
                  </a:lnTo>
                  <a:lnTo>
                    <a:pt x="0" y="812"/>
                  </a:lnTo>
                  <a:lnTo>
                    <a:pt x="952" y="2108"/>
                  </a:lnTo>
                  <a:lnTo>
                    <a:pt x="2336" y="1638"/>
                  </a:lnTo>
                  <a:lnTo>
                    <a:pt x="5549" y="952"/>
                  </a:lnTo>
                  <a:lnTo>
                    <a:pt x="8153" y="1333"/>
                  </a:lnTo>
                  <a:lnTo>
                    <a:pt x="9029" y="2209"/>
                  </a:lnTo>
                  <a:lnTo>
                    <a:pt x="11671" y="2095"/>
                  </a:lnTo>
                  <a:lnTo>
                    <a:pt x="12801" y="2285"/>
                  </a:lnTo>
                  <a:lnTo>
                    <a:pt x="11658" y="1993"/>
                  </a:lnTo>
                  <a:lnTo>
                    <a:pt x="9652" y="1676"/>
                  </a:lnTo>
                  <a:lnTo>
                    <a:pt x="8597" y="863"/>
                  </a:lnTo>
                  <a:lnTo>
                    <a:pt x="5905" y="0"/>
                  </a:lnTo>
                  <a:close/>
                </a:path>
              </a:pathLst>
            </a:custGeom>
            <a:solidFill>
              <a:srgbClr val="DAC58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6" name="object 938">
              <a:extLst>
                <a:ext uri="{FF2B5EF4-FFF2-40B4-BE49-F238E27FC236}">
                  <a16:creationId xmlns:a16="http://schemas.microsoft.com/office/drawing/2014/main" id="{47936254-750B-4250-A81E-C8046E676CAD}"/>
                </a:ext>
              </a:extLst>
            </p:cNvPr>
            <p:cNvSpPr/>
            <p:nvPr/>
          </p:nvSpPr>
          <p:spPr>
            <a:xfrm>
              <a:off x="8031349" y="6171948"/>
              <a:ext cx="12700" cy="2540"/>
            </a:xfrm>
            <a:custGeom>
              <a:avLst/>
              <a:gdLst/>
              <a:ahLst/>
              <a:cxnLst/>
              <a:rect l="l" t="t" r="r" b="b"/>
              <a:pathLst>
                <a:path w="12700" h="2540">
                  <a:moveTo>
                    <a:pt x="5867" y="0"/>
                  </a:moveTo>
                  <a:lnTo>
                    <a:pt x="4914" y="635"/>
                  </a:lnTo>
                  <a:lnTo>
                    <a:pt x="1028" y="1498"/>
                  </a:lnTo>
                  <a:lnTo>
                    <a:pt x="1117" y="1231"/>
                  </a:lnTo>
                  <a:lnTo>
                    <a:pt x="723" y="1155"/>
                  </a:lnTo>
                  <a:lnTo>
                    <a:pt x="546" y="1130"/>
                  </a:lnTo>
                  <a:lnTo>
                    <a:pt x="0" y="787"/>
                  </a:lnTo>
                  <a:lnTo>
                    <a:pt x="914" y="2032"/>
                  </a:lnTo>
                  <a:lnTo>
                    <a:pt x="2311" y="1562"/>
                  </a:lnTo>
                  <a:lnTo>
                    <a:pt x="5511" y="889"/>
                  </a:lnTo>
                  <a:lnTo>
                    <a:pt x="8115" y="1270"/>
                  </a:lnTo>
                  <a:lnTo>
                    <a:pt x="9004" y="2146"/>
                  </a:lnTo>
                  <a:lnTo>
                    <a:pt x="11518" y="2044"/>
                  </a:lnTo>
                  <a:lnTo>
                    <a:pt x="12598" y="2184"/>
                  </a:lnTo>
                  <a:lnTo>
                    <a:pt x="11531" y="1968"/>
                  </a:lnTo>
                  <a:lnTo>
                    <a:pt x="9588" y="1651"/>
                  </a:lnTo>
                  <a:lnTo>
                    <a:pt x="8572" y="863"/>
                  </a:lnTo>
                  <a:lnTo>
                    <a:pt x="5867" y="0"/>
                  </a:lnTo>
                  <a:close/>
                </a:path>
              </a:pathLst>
            </a:custGeom>
            <a:solidFill>
              <a:srgbClr val="D7C28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7" name="object 939">
              <a:extLst>
                <a:ext uri="{FF2B5EF4-FFF2-40B4-BE49-F238E27FC236}">
                  <a16:creationId xmlns:a16="http://schemas.microsoft.com/office/drawing/2014/main" id="{E15AF86F-E847-414A-B27F-AE8783ABD5BE}"/>
                </a:ext>
              </a:extLst>
            </p:cNvPr>
            <p:cNvSpPr/>
            <p:nvPr/>
          </p:nvSpPr>
          <p:spPr>
            <a:xfrm>
              <a:off x="8031365" y="6171995"/>
              <a:ext cx="12700" cy="2540"/>
            </a:xfrm>
            <a:custGeom>
              <a:avLst/>
              <a:gdLst/>
              <a:ahLst/>
              <a:cxnLst/>
              <a:rect l="l" t="t" r="r" b="b"/>
              <a:pathLst>
                <a:path w="12700" h="2540">
                  <a:moveTo>
                    <a:pt x="5854" y="0"/>
                  </a:moveTo>
                  <a:lnTo>
                    <a:pt x="4914" y="660"/>
                  </a:lnTo>
                  <a:lnTo>
                    <a:pt x="1041" y="1523"/>
                  </a:lnTo>
                  <a:lnTo>
                    <a:pt x="1142" y="1282"/>
                  </a:lnTo>
                  <a:lnTo>
                    <a:pt x="749" y="1193"/>
                  </a:lnTo>
                  <a:lnTo>
                    <a:pt x="558" y="1155"/>
                  </a:lnTo>
                  <a:lnTo>
                    <a:pt x="0" y="761"/>
                  </a:lnTo>
                  <a:lnTo>
                    <a:pt x="888" y="1968"/>
                  </a:lnTo>
                  <a:lnTo>
                    <a:pt x="2298" y="1511"/>
                  </a:lnTo>
                  <a:lnTo>
                    <a:pt x="4698" y="1015"/>
                  </a:lnTo>
                  <a:lnTo>
                    <a:pt x="5486" y="825"/>
                  </a:lnTo>
                  <a:lnTo>
                    <a:pt x="8089" y="1219"/>
                  </a:lnTo>
                  <a:lnTo>
                    <a:pt x="9004" y="2082"/>
                  </a:lnTo>
                  <a:lnTo>
                    <a:pt x="11391" y="1981"/>
                  </a:lnTo>
                  <a:lnTo>
                    <a:pt x="12407" y="2095"/>
                  </a:lnTo>
                  <a:lnTo>
                    <a:pt x="11429" y="1943"/>
                  </a:lnTo>
                  <a:lnTo>
                    <a:pt x="9537" y="1638"/>
                  </a:lnTo>
                  <a:lnTo>
                    <a:pt x="8547" y="863"/>
                  </a:lnTo>
                  <a:lnTo>
                    <a:pt x="5854" y="0"/>
                  </a:lnTo>
                  <a:close/>
                </a:path>
              </a:pathLst>
            </a:custGeom>
            <a:solidFill>
              <a:srgbClr val="D4BE7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8" name="object 940">
              <a:extLst>
                <a:ext uri="{FF2B5EF4-FFF2-40B4-BE49-F238E27FC236}">
                  <a16:creationId xmlns:a16="http://schemas.microsoft.com/office/drawing/2014/main" id="{FE207B55-1859-4650-9848-DE1D1ADE74BA}"/>
                </a:ext>
              </a:extLst>
            </p:cNvPr>
            <p:cNvSpPr/>
            <p:nvPr/>
          </p:nvSpPr>
          <p:spPr>
            <a:xfrm>
              <a:off x="8031392" y="6172055"/>
              <a:ext cx="12700" cy="2540"/>
            </a:xfrm>
            <a:custGeom>
              <a:avLst/>
              <a:gdLst/>
              <a:ahLst/>
              <a:cxnLst/>
              <a:rect l="l" t="t" r="r" b="b"/>
              <a:pathLst>
                <a:path w="12700" h="2540">
                  <a:moveTo>
                    <a:pt x="8204" y="761"/>
                  </a:moveTo>
                  <a:lnTo>
                    <a:pt x="5448" y="761"/>
                  </a:lnTo>
                  <a:lnTo>
                    <a:pt x="8064" y="1142"/>
                  </a:lnTo>
                  <a:lnTo>
                    <a:pt x="8978" y="2019"/>
                  </a:lnTo>
                  <a:lnTo>
                    <a:pt x="11252" y="1930"/>
                  </a:lnTo>
                  <a:lnTo>
                    <a:pt x="11673" y="1930"/>
                  </a:lnTo>
                  <a:lnTo>
                    <a:pt x="11226" y="1892"/>
                  </a:lnTo>
                  <a:lnTo>
                    <a:pt x="9474" y="1600"/>
                  </a:lnTo>
                  <a:lnTo>
                    <a:pt x="8521" y="863"/>
                  </a:lnTo>
                  <a:lnTo>
                    <a:pt x="8204" y="761"/>
                  </a:lnTo>
                  <a:close/>
                </a:path>
                <a:path w="12700" h="2540">
                  <a:moveTo>
                    <a:pt x="11673" y="1930"/>
                  </a:moveTo>
                  <a:lnTo>
                    <a:pt x="11252" y="1930"/>
                  </a:lnTo>
                  <a:lnTo>
                    <a:pt x="12230" y="1981"/>
                  </a:lnTo>
                  <a:lnTo>
                    <a:pt x="11673" y="1930"/>
                  </a:lnTo>
                  <a:close/>
                </a:path>
                <a:path w="12700" h="2540">
                  <a:moveTo>
                    <a:pt x="0" y="723"/>
                  </a:moveTo>
                  <a:lnTo>
                    <a:pt x="876" y="1892"/>
                  </a:lnTo>
                  <a:lnTo>
                    <a:pt x="1972" y="1536"/>
                  </a:lnTo>
                  <a:lnTo>
                    <a:pt x="1041" y="1536"/>
                  </a:lnTo>
                  <a:lnTo>
                    <a:pt x="1168" y="1320"/>
                  </a:lnTo>
                  <a:lnTo>
                    <a:pt x="571" y="1168"/>
                  </a:lnTo>
                  <a:lnTo>
                    <a:pt x="0" y="723"/>
                  </a:lnTo>
                  <a:close/>
                </a:path>
                <a:path w="12700" h="2540">
                  <a:moveTo>
                    <a:pt x="5829" y="0"/>
                  </a:moveTo>
                  <a:lnTo>
                    <a:pt x="4927" y="673"/>
                  </a:lnTo>
                  <a:lnTo>
                    <a:pt x="1041" y="1536"/>
                  </a:lnTo>
                  <a:lnTo>
                    <a:pt x="1972" y="1536"/>
                  </a:lnTo>
                  <a:lnTo>
                    <a:pt x="2285" y="1435"/>
                  </a:lnTo>
                  <a:lnTo>
                    <a:pt x="5448" y="761"/>
                  </a:lnTo>
                  <a:lnTo>
                    <a:pt x="8204" y="761"/>
                  </a:lnTo>
                  <a:lnTo>
                    <a:pt x="5829" y="0"/>
                  </a:lnTo>
                  <a:close/>
                </a:path>
              </a:pathLst>
            </a:custGeom>
            <a:solidFill>
              <a:srgbClr val="D1BB7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49" name="object 941">
              <a:extLst>
                <a:ext uri="{FF2B5EF4-FFF2-40B4-BE49-F238E27FC236}">
                  <a16:creationId xmlns:a16="http://schemas.microsoft.com/office/drawing/2014/main" id="{85745025-88B5-4250-936E-0DECB350E2CD}"/>
                </a:ext>
              </a:extLst>
            </p:cNvPr>
            <p:cNvSpPr/>
            <p:nvPr/>
          </p:nvSpPr>
          <p:spPr>
            <a:xfrm>
              <a:off x="8031416" y="6172114"/>
              <a:ext cx="12700" cy="2540"/>
            </a:xfrm>
            <a:custGeom>
              <a:avLst/>
              <a:gdLst/>
              <a:ahLst/>
              <a:cxnLst/>
              <a:rect l="l" t="t" r="r" b="b"/>
              <a:pathLst>
                <a:path w="12700" h="2540">
                  <a:moveTo>
                    <a:pt x="12039" y="1879"/>
                  </a:moveTo>
                  <a:lnTo>
                    <a:pt x="11188" y="1866"/>
                  </a:lnTo>
                  <a:lnTo>
                    <a:pt x="12039" y="1879"/>
                  </a:lnTo>
                  <a:close/>
                </a:path>
                <a:path w="12700" h="2540">
                  <a:moveTo>
                    <a:pt x="12687" y="2120"/>
                  </a:moveTo>
                  <a:lnTo>
                    <a:pt x="12496" y="2082"/>
                  </a:lnTo>
                  <a:lnTo>
                    <a:pt x="11849" y="1943"/>
                  </a:lnTo>
                  <a:lnTo>
                    <a:pt x="10629" y="1892"/>
                  </a:lnTo>
                  <a:lnTo>
                    <a:pt x="11112" y="1866"/>
                  </a:lnTo>
                  <a:lnTo>
                    <a:pt x="9385" y="1562"/>
                  </a:lnTo>
                  <a:lnTo>
                    <a:pt x="8496" y="850"/>
                  </a:lnTo>
                  <a:lnTo>
                    <a:pt x="8013" y="698"/>
                  </a:lnTo>
                  <a:lnTo>
                    <a:pt x="5803" y="0"/>
                  </a:lnTo>
                  <a:lnTo>
                    <a:pt x="5105" y="571"/>
                  </a:lnTo>
                  <a:lnTo>
                    <a:pt x="5105" y="774"/>
                  </a:lnTo>
                  <a:lnTo>
                    <a:pt x="2298" y="1384"/>
                  </a:lnTo>
                  <a:lnTo>
                    <a:pt x="5105" y="774"/>
                  </a:lnTo>
                  <a:lnTo>
                    <a:pt x="5105" y="571"/>
                  </a:lnTo>
                  <a:lnTo>
                    <a:pt x="4927" y="711"/>
                  </a:lnTo>
                  <a:lnTo>
                    <a:pt x="1092" y="1549"/>
                  </a:lnTo>
                  <a:lnTo>
                    <a:pt x="1193" y="1358"/>
                  </a:lnTo>
                  <a:lnTo>
                    <a:pt x="584" y="1193"/>
                  </a:lnTo>
                  <a:lnTo>
                    <a:pt x="0" y="698"/>
                  </a:lnTo>
                  <a:lnTo>
                    <a:pt x="457" y="1308"/>
                  </a:lnTo>
                  <a:lnTo>
                    <a:pt x="0" y="914"/>
                  </a:lnTo>
                  <a:lnTo>
                    <a:pt x="850" y="2032"/>
                  </a:lnTo>
                  <a:lnTo>
                    <a:pt x="2222" y="1612"/>
                  </a:lnTo>
                  <a:lnTo>
                    <a:pt x="5422" y="914"/>
                  </a:lnTo>
                  <a:lnTo>
                    <a:pt x="8026" y="1295"/>
                  </a:lnTo>
                  <a:lnTo>
                    <a:pt x="8966" y="2159"/>
                  </a:lnTo>
                  <a:lnTo>
                    <a:pt x="11112" y="2082"/>
                  </a:lnTo>
                  <a:lnTo>
                    <a:pt x="12687" y="2120"/>
                  </a:lnTo>
                  <a:close/>
                </a:path>
              </a:pathLst>
            </a:custGeom>
            <a:solidFill>
              <a:srgbClr val="CEB97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0" name="object 942">
              <a:extLst>
                <a:ext uri="{FF2B5EF4-FFF2-40B4-BE49-F238E27FC236}">
                  <a16:creationId xmlns:a16="http://schemas.microsoft.com/office/drawing/2014/main" id="{DDBB5784-4BE5-4970-AC7B-72CFD2C370E7}"/>
                </a:ext>
              </a:extLst>
            </p:cNvPr>
            <p:cNvSpPr/>
            <p:nvPr/>
          </p:nvSpPr>
          <p:spPr>
            <a:xfrm>
              <a:off x="8027816" y="6174075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596" y="0"/>
                  </a:moveTo>
                  <a:lnTo>
                    <a:pt x="304" y="152"/>
                  </a:lnTo>
                  <a:lnTo>
                    <a:pt x="0" y="292"/>
                  </a:lnTo>
                  <a:lnTo>
                    <a:pt x="25" y="876"/>
                  </a:lnTo>
                  <a:lnTo>
                    <a:pt x="330" y="1485"/>
                  </a:lnTo>
                  <a:lnTo>
                    <a:pt x="647" y="2095"/>
                  </a:lnTo>
                  <a:lnTo>
                    <a:pt x="1117" y="2451"/>
                  </a:lnTo>
                  <a:lnTo>
                    <a:pt x="1727" y="2222"/>
                  </a:lnTo>
                  <a:lnTo>
                    <a:pt x="1727" y="1600"/>
                  </a:lnTo>
                  <a:lnTo>
                    <a:pt x="1409" y="990"/>
                  </a:lnTo>
                  <a:lnTo>
                    <a:pt x="1104" y="381"/>
                  </a:lnTo>
                  <a:lnTo>
                    <a:pt x="596" y="0"/>
                  </a:lnTo>
                  <a:close/>
                </a:path>
              </a:pathLst>
            </a:custGeom>
            <a:solidFill>
              <a:srgbClr val="F3DB9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1" name="object 943">
              <a:extLst>
                <a:ext uri="{FF2B5EF4-FFF2-40B4-BE49-F238E27FC236}">
                  <a16:creationId xmlns:a16="http://schemas.microsoft.com/office/drawing/2014/main" id="{4E7B2AB2-2F77-45CE-84AC-ABE24415104C}"/>
                </a:ext>
              </a:extLst>
            </p:cNvPr>
            <p:cNvSpPr/>
            <p:nvPr/>
          </p:nvSpPr>
          <p:spPr>
            <a:xfrm>
              <a:off x="8027840" y="6174087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584" y="0"/>
                  </a:moveTo>
                  <a:lnTo>
                    <a:pt x="0" y="279"/>
                  </a:lnTo>
                  <a:lnTo>
                    <a:pt x="25" y="812"/>
                  </a:lnTo>
                  <a:lnTo>
                    <a:pt x="330" y="1384"/>
                  </a:lnTo>
                  <a:lnTo>
                    <a:pt x="634" y="1968"/>
                  </a:lnTo>
                  <a:lnTo>
                    <a:pt x="1092" y="2286"/>
                  </a:lnTo>
                  <a:lnTo>
                    <a:pt x="1384" y="2209"/>
                  </a:lnTo>
                  <a:lnTo>
                    <a:pt x="1676" y="2120"/>
                  </a:lnTo>
                  <a:lnTo>
                    <a:pt x="1676" y="1524"/>
                  </a:lnTo>
                  <a:lnTo>
                    <a:pt x="1371" y="939"/>
                  </a:lnTo>
                  <a:lnTo>
                    <a:pt x="1066" y="355"/>
                  </a:lnTo>
                  <a:lnTo>
                    <a:pt x="584" y="0"/>
                  </a:lnTo>
                  <a:close/>
                </a:path>
              </a:pathLst>
            </a:custGeom>
            <a:solidFill>
              <a:srgbClr val="ECD28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2" name="object 944">
              <a:extLst>
                <a:ext uri="{FF2B5EF4-FFF2-40B4-BE49-F238E27FC236}">
                  <a16:creationId xmlns:a16="http://schemas.microsoft.com/office/drawing/2014/main" id="{BBE42879-23C0-4F49-984B-4EE3A66C80FD}"/>
                </a:ext>
              </a:extLst>
            </p:cNvPr>
            <p:cNvSpPr/>
            <p:nvPr/>
          </p:nvSpPr>
          <p:spPr>
            <a:xfrm>
              <a:off x="8027851" y="6174102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571" y="0"/>
                  </a:moveTo>
                  <a:lnTo>
                    <a:pt x="292" y="126"/>
                  </a:lnTo>
                  <a:lnTo>
                    <a:pt x="0" y="266"/>
                  </a:lnTo>
                  <a:lnTo>
                    <a:pt x="38" y="736"/>
                  </a:lnTo>
                  <a:lnTo>
                    <a:pt x="342" y="1282"/>
                  </a:lnTo>
                  <a:lnTo>
                    <a:pt x="634" y="1841"/>
                  </a:lnTo>
                  <a:lnTo>
                    <a:pt x="1079" y="2108"/>
                  </a:lnTo>
                  <a:lnTo>
                    <a:pt x="1358" y="2070"/>
                  </a:lnTo>
                  <a:lnTo>
                    <a:pt x="1638" y="2019"/>
                  </a:lnTo>
                  <a:lnTo>
                    <a:pt x="1638" y="1435"/>
                  </a:lnTo>
                  <a:lnTo>
                    <a:pt x="1346" y="888"/>
                  </a:lnTo>
                  <a:lnTo>
                    <a:pt x="1041" y="342"/>
                  </a:lnTo>
                  <a:lnTo>
                    <a:pt x="571" y="0"/>
                  </a:lnTo>
                  <a:close/>
                </a:path>
              </a:pathLst>
            </a:custGeom>
            <a:solidFill>
              <a:srgbClr val="E1C78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3" name="object 945">
              <a:extLst>
                <a:ext uri="{FF2B5EF4-FFF2-40B4-BE49-F238E27FC236}">
                  <a16:creationId xmlns:a16="http://schemas.microsoft.com/office/drawing/2014/main" id="{050AB155-B6BD-40C7-9020-9D10DF539EE7}"/>
                </a:ext>
              </a:extLst>
            </p:cNvPr>
            <p:cNvSpPr/>
            <p:nvPr/>
          </p:nvSpPr>
          <p:spPr>
            <a:xfrm>
              <a:off x="8027874" y="6174116"/>
              <a:ext cx="1905" cy="2540"/>
            </a:xfrm>
            <a:custGeom>
              <a:avLst/>
              <a:gdLst/>
              <a:ahLst/>
              <a:cxnLst/>
              <a:rect l="l" t="t" r="r" b="b"/>
              <a:pathLst>
                <a:path w="1904" h="2540">
                  <a:moveTo>
                    <a:pt x="558" y="0"/>
                  </a:moveTo>
                  <a:lnTo>
                    <a:pt x="279" y="114"/>
                  </a:lnTo>
                  <a:lnTo>
                    <a:pt x="0" y="241"/>
                  </a:lnTo>
                  <a:lnTo>
                    <a:pt x="50" y="673"/>
                  </a:lnTo>
                  <a:lnTo>
                    <a:pt x="342" y="1193"/>
                  </a:lnTo>
                  <a:lnTo>
                    <a:pt x="634" y="1701"/>
                  </a:lnTo>
                  <a:lnTo>
                    <a:pt x="1041" y="1930"/>
                  </a:lnTo>
                  <a:lnTo>
                    <a:pt x="1320" y="1930"/>
                  </a:lnTo>
                  <a:lnTo>
                    <a:pt x="1587" y="1917"/>
                  </a:lnTo>
                  <a:lnTo>
                    <a:pt x="1600" y="1358"/>
                  </a:lnTo>
                  <a:lnTo>
                    <a:pt x="1308" y="838"/>
                  </a:lnTo>
                  <a:lnTo>
                    <a:pt x="1015" y="317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rgbClr val="D8C08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4" name="object 946">
              <a:extLst>
                <a:ext uri="{FF2B5EF4-FFF2-40B4-BE49-F238E27FC236}">
                  <a16:creationId xmlns:a16="http://schemas.microsoft.com/office/drawing/2014/main" id="{BFF94978-40F8-4FEB-81F6-DE3FC0929518}"/>
                </a:ext>
              </a:extLst>
            </p:cNvPr>
            <p:cNvSpPr/>
            <p:nvPr/>
          </p:nvSpPr>
          <p:spPr>
            <a:xfrm>
              <a:off x="8027876" y="6174129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558" y="0"/>
                  </a:moveTo>
                  <a:lnTo>
                    <a:pt x="0" y="228"/>
                  </a:lnTo>
                  <a:lnTo>
                    <a:pt x="76" y="596"/>
                  </a:lnTo>
                  <a:lnTo>
                    <a:pt x="368" y="1092"/>
                  </a:lnTo>
                  <a:lnTo>
                    <a:pt x="647" y="1574"/>
                  </a:lnTo>
                  <a:lnTo>
                    <a:pt x="1028" y="1752"/>
                  </a:lnTo>
                  <a:lnTo>
                    <a:pt x="1308" y="1790"/>
                  </a:lnTo>
                  <a:lnTo>
                    <a:pt x="1574" y="1816"/>
                  </a:lnTo>
                  <a:lnTo>
                    <a:pt x="1574" y="1270"/>
                  </a:lnTo>
                  <a:lnTo>
                    <a:pt x="1295" y="787"/>
                  </a:lnTo>
                  <a:lnTo>
                    <a:pt x="1003" y="304"/>
                  </a:lnTo>
                  <a:lnTo>
                    <a:pt x="558" y="0"/>
                  </a:lnTo>
                  <a:close/>
                </a:path>
              </a:pathLst>
            </a:custGeom>
            <a:solidFill>
              <a:srgbClr val="CEB87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5" name="object 947">
              <a:extLst>
                <a:ext uri="{FF2B5EF4-FFF2-40B4-BE49-F238E27FC236}">
                  <a16:creationId xmlns:a16="http://schemas.microsoft.com/office/drawing/2014/main" id="{C67BE52A-D0DC-490E-B5D6-F06D10AA1EEE}"/>
                </a:ext>
              </a:extLst>
            </p:cNvPr>
            <p:cNvSpPr/>
            <p:nvPr/>
          </p:nvSpPr>
          <p:spPr>
            <a:xfrm>
              <a:off x="8027901" y="6174144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533" y="0"/>
                  </a:moveTo>
                  <a:lnTo>
                    <a:pt x="0" y="203"/>
                  </a:lnTo>
                  <a:lnTo>
                    <a:pt x="76" y="533"/>
                  </a:lnTo>
                  <a:lnTo>
                    <a:pt x="355" y="977"/>
                  </a:lnTo>
                  <a:lnTo>
                    <a:pt x="635" y="1447"/>
                  </a:lnTo>
                  <a:lnTo>
                    <a:pt x="1003" y="1587"/>
                  </a:lnTo>
                  <a:lnTo>
                    <a:pt x="1270" y="1651"/>
                  </a:lnTo>
                  <a:lnTo>
                    <a:pt x="1511" y="1701"/>
                  </a:lnTo>
                  <a:lnTo>
                    <a:pt x="1536" y="1193"/>
                  </a:lnTo>
                  <a:lnTo>
                    <a:pt x="1257" y="736"/>
                  </a:lnTo>
                  <a:lnTo>
                    <a:pt x="977" y="279"/>
                  </a:lnTo>
                  <a:lnTo>
                    <a:pt x="533" y="0"/>
                  </a:lnTo>
                  <a:close/>
                </a:path>
              </a:pathLst>
            </a:custGeom>
            <a:solidFill>
              <a:srgbClr val="C4AE7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6" name="object 948">
              <a:extLst>
                <a:ext uri="{FF2B5EF4-FFF2-40B4-BE49-F238E27FC236}">
                  <a16:creationId xmlns:a16="http://schemas.microsoft.com/office/drawing/2014/main" id="{71E983D6-01D5-42BB-8F2F-473DA249B067}"/>
                </a:ext>
              </a:extLst>
            </p:cNvPr>
            <p:cNvSpPr/>
            <p:nvPr/>
          </p:nvSpPr>
          <p:spPr>
            <a:xfrm>
              <a:off x="8027927" y="6174146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520" y="0"/>
                  </a:moveTo>
                  <a:lnTo>
                    <a:pt x="254" y="101"/>
                  </a:lnTo>
                  <a:lnTo>
                    <a:pt x="0" y="203"/>
                  </a:lnTo>
                  <a:lnTo>
                    <a:pt x="76" y="469"/>
                  </a:lnTo>
                  <a:lnTo>
                    <a:pt x="355" y="901"/>
                  </a:lnTo>
                  <a:lnTo>
                    <a:pt x="622" y="1320"/>
                  </a:lnTo>
                  <a:lnTo>
                    <a:pt x="977" y="1422"/>
                  </a:lnTo>
                  <a:lnTo>
                    <a:pt x="1460" y="1612"/>
                  </a:lnTo>
                  <a:lnTo>
                    <a:pt x="1485" y="1130"/>
                  </a:lnTo>
                  <a:lnTo>
                    <a:pt x="1219" y="698"/>
                  </a:lnTo>
                  <a:lnTo>
                    <a:pt x="939" y="266"/>
                  </a:lnTo>
                  <a:lnTo>
                    <a:pt x="520" y="0"/>
                  </a:lnTo>
                  <a:close/>
                </a:path>
              </a:pathLst>
            </a:custGeom>
            <a:solidFill>
              <a:srgbClr val="BBA56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7" name="object 949">
              <a:extLst>
                <a:ext uri="{FF2B5EF4-FFF2-40B4-BE49-F238E27FC236}">
                  <a16:creationId xmlns:a16="http://schemas.microsoft.com/office/drawing/2014/main" id="{31488F75-E3AE-4E7D-A368-07796C229BF3}"/>
                </a:ext>
              </a:extLst>
            </p:cNvPr>
            <p:cNvSpPr/>
            <p:nvPr/>
          </p:nvSpPr>
          <p:spPr>
            <a:xfrm>
              <a:off x="8027936" y="6174159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508" y="0"/>
                  </a:moveTo>
                  <a:lnTo>
                    <a:pt x="254" y="101"/>
                  </a:lnTo>
                  <a:lnTo>
                    <a:pt x="0" y="190"/>
                  </a:lnTo>
                  <a:lnTo>
                    <a:pt x="101" y="393"/>
                  </a:lnTo>
                  <a:lnTo>
                    <a:pt x="368" y="800"/>
                  </a:lnTo>
                  <a:lnTo>
                    <a:pt x="622" y="1193"/>
                  </a:lnTo>
                  <a:lnTo>
                    <a:pt x="952" y="1244"/>
                  </a:lnTo>
                  <a:lnTo>
                    <a:pt x="1206" y="1396"/>
                  </a:lnTo>
                  <a:lnTo>
                    <a:pt x="1435" y="1511"/>
                  </a:lnTo>
                  <a:lnTo>
                    <a:pt x="1460" y="1041"/>
                  </a:lnTo>
                  <a:lnTo>
                    <a:pt x="1193" y="647"/>
                  </a:lnTo>
                  <a:lnTo>
                    <a:pt x="927" y="253"/>
                  </a:lnTo>
                  <a:lnTo>
                    <a:pt x="508" y="0"/>
                  </a:lnTo>
                  <a:close/>
                </a:path>
              </a:pathLst>
            </a:custGeom>
            <a:solidFill>
              <a:srgbClr val="B09C6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8" name="object 950">
              <a:extLst>
                <a:ext uri="{FF2B5EF4-FFF2-40B4-BE49-F238E27FC236}">
                  <a16:creationId xmlns:a16="http://schemas.microsoft.com/office/drawing/2014/main" id="{9B33FD5D-85B7-4F60-9F3E-EBAE3B478CF2}"/>
                </a:ext>
              </a:extLst>
            </p:cNvPr>
            <p:cNvSpPr/>
            <p:nvPr/>
          </p:nvSpPr>
          <p:spPr>
            <a:xfrm>
              <a:off x="8027947" y="6174172"/>
              <a:ext cx="1905" cy="1905"/>
            </a:xfrm>
            <a:custGeom>
              <a:avLst/>
              <a:gdLst/>
              <a:ahLst/>
              <a:cxnLst/>
              <a:rect l="l" t="t" r="r" b="b"/>
              <a:pathLst>
                <a:path w="1904" h="1904">
                  <a:moveTo>
                    <a:pt x="507" y="0"/>
                  </a:moveTo>
                  <a:lnTo>
                    <a:pt x="0" y="177"/>
                  </a:lnTo>
                  <a:lnTo>
                    <a:pt x="114" y="330"/>
                  </a:lnTo>
                  <a:lnTo>
                    <a:pt x="380" y="698"/>
                  </a:lnTo>
                  <a:lnTo>
                    <a:pt x="634" y="1066"/>
                  </a:lnTo>
                  <a:lnTo>
                    <a:pt x="939" y="1066"/>
                  </a:lnTo>
                  <a:lnTo>
                    <a:pt x="1396" y="1409"/>
                  </a:lnTo>
                  <a:lnTo>
                    <a:pt x="1422" y="965"/>
                  </a:lnTo>
                  <a:lnTo>
                    <a:pt x="1168" y="596"/>
                  </a:lnTo>
                  <a:lnTo>
                    <a:pt x="914" y="228"/>
                  </a:lnTo>
                  <a:lnTo>
                    <a:pt x="507" y="0"/>
                  </a:lnTo>
                  <a:close/>
                </a:path>
              </a:pathLst>
            </a:custGeom>
            <a:solidFill>
              <a:srgbClr val="56431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59" name="object 951">
              <a:extLst>
                <a:ext uri="{FF2B5EF4-FFF2-40B4-BE49-F238E27FC236}">
                  <a16:creationId xmlns:a16="http://schemas.microsoft.com/office/drawing/2014/main" id="{8C5F1F82-C243-426F-BE29-E865F1E66DDC}"/>
                </a:ext>
              </a:extLst>
            </p:cNvPr>
            <p:cNvSpPr/>
            <p:nvPr/>
          </p:nvSpPr>
          <p:spPr>
            <a:xfrm>
              <a:off x="8034633" y="6172983"/>
              <a:ext cx="5080" cy="3175"/>
            </a:xfrm>
            <a:custGeom>
              <a:avLst/>
              <a:gdLst/>
              <a:ahLst/>
              <a:cxnLst/>
              <a:rect l="l" t="t" r="r" b="b"/>
              <a:pathLst>
                <a:path w="5079" h="3175">
                  <a:moveTo>
                    <a:pt x="4368" y="0"/>
                  </a:moveTo>
                  <a:lnTo>
                    <a:pt x="482" y="101"/>
                  </a:lnTo>
                  <a:lnTo>
                    <a:pt x="0" y="533"/>
                  </a:lnTo>
                  <a:lnTo>
                    <a:pt x="381" y="2959"/>
                  </a:lnTo>
                  <a:lnTo>
                    <a:pt x="4584" y="2844"/>
                  </a:lnTo>
                  <a:lnTo>
                    <a:pt x="4953" y="533"/>
                  </a:lnTo>
                  <a:lnTo>
                    <a:pt x="4368" y="0"/>
                  </a:lnTo>
                  <a:close/>
                </a:path>
              </a:pathLst>
            </a:custGeom>
            <a:solidFill>
              <a:srgbClr val="E7C5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0" name="object 952">
              <a:extLst>
                <a:ext uri="{FF2B5EF4-FFF2-40B4-BE49-F238E27FC236}">
                  <a16:creationId xmlns:a16="http://schemas.microsoft.com/office/drawing/2014/main" id="{9406BCCD-6589-41A5-8CBE-CC6285C7D97F}"/>
                </a:ext>
              </a:extLst>
            </p:cNvPr>
            <p:cNvSpPr/>
            <p:nvPr/>
          </p:nvSpPr>
          <p:spPr>
            <a:xfrm>
              <a:off x="8034633" y="6172983"/>
              <a:ext cx="5080" cy="3175"/>
            </a:xfrm>
            <a:custGeom>
              <a:avLst/>
              <a:gdLst/>
              <a:ahLst/>
              <a:cxnLst/>
              <a:rect l="l" t="t" r="r" b="b"/>
              <a:pathLst>
                <a:path w="5079" h="3175">
                  <a:moveTo>
                    <a:pt x="0" y="533"/>
                  </a:moveTo>
                  <a:lnTo>
                    <a:pt x="381" y="2959"/>
                  </a:lnTo>
                  <a:lnTo>
                    <a:pt x="2476" y="2908"/>
                  </a:lnTo>
                  <a:lnTo>
                    <a:pt x="4584" y="2844"/>
                  </a:lnTo>
                  <a:lnTo>
                    <a:pt x="4953" y="533"/>
                  </a:lnTo>
                  <a:lnTo>
                    <a:pt x="4368" y="0"/>
                  </a:lnTo>
                  <a:lnTo>
                    <a:pt x="2425" y="50"/>
                  </a:lnTo>
                  <a:lnTo>
                    <a:pt x="482" y="101"/>
                  </a:lnTo>
                  <a:lnTo>
                    <a:pt x="0" y="533"/>
                  </a:lnTo>
                  <a:close/>
                </a:path>
              </a:pathLst>
            </a:custGeom>
            <a:ln w="3175">
              <a:solidFill>
                <a:srgbClr val="918030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1" name="object 953">
              <a:extLst>
                <a:ext uri="{FF2B5EF4-FFF2-40B4-BE49-F238E27FC236}">
                  <a16:creationId xmlns:a16="http://schemas.microsoft.com/office/drawing/2014/main" id="{B7290882-D2EA-4C17-A609-83D51C4B0F88}"/>
                </a:ext>
              </a:extLst>
            </p:cNvPr>
            <p:cNvSpPr/>
            <p:nvPr/>
          </p:nvSpPr>
          <p:spPr>
            <a:xfrm>
              <a:off x="8035836" y="6172866"/>
              <a:ext cx="2540" cy="2540"/>
            </a:xfrm>
            <a:custGeom>
              <a:avLst/>
              <a:gdLst/>
              <a:ahLst/>
              <a:cxnLst/>
              <a:rect l="l" t="t" r="r" b="b"/>
              <a:pathLst>
                <a:path w="2540" h="2540">
                  <a:moveTo>
                    <a:pt x="1058" y="0"/>
                  </a:moveTo>
                  <a:lnTo>
                    <a:pt x="79" y="330"/>
                  </a:lnTo>
                  <a:lnTo>
                    <a:pt x="0" y="863"/>
                  </a:lnTo>
                  <a:lnTo>
                    <a:pt x="144" y="1841"/>
                  </a:lnTo>
                  <a:lnTo>
                    <a:pt x="2189" y="2095"/>
                  </a:lnTo>
                  <a:lnTo>
                    <a:pt x="2405" y="863"/>
                  </a:lnTo>
                  <a:lnTo>
                    <a:pt x="2189" y="330"/>
                  </a:lnTo>
                  <a:lnTo>
                    <a:pt x="1058" y="0"/>
                  </a:lnTo>
                  <a:close/>
                </a:path>
              </a:pathLst>
            </a:custGeom>
            <a:solidFill>
              <a:srgbClr val="221E1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2" name="object 954">
              <a:extLst>
                <a:ext uri="{FF2B5EF4-FFF2-40B4-BE49-F238E27FC236}">
                  <a16:creationId xmlns:a16="http://schemas.microsoft.com/office/drawing/2014/main" id="{6B69E27E-CB22-4532-AE63-57E667FAA697}"/>
                </a:ext>
              </a:extLst>
            </p:cNvPr>
            <p:cNvSpPr/>
            <p:nvPr/>
          </p:nvSpPr>
          <p:spPr>
            <a:xfrm>
              <a:off x="8032339" y="6187545"/>
              <a:ext cx="15240" cy="28575"/>
            </a:xfrm>
            <a:custGeom>
              <a:avLst/>
              <a:gdLst/>
              <a:ahLst/>
              <a:cxnLst/>
              <a:rect l="l" t="t" r="r" b="b"/>
              <a:pathLst>
                <a:path w="15240" h="28575">
                  <a:moveTo>
                    <a:pt x="8864" y="0"/>
                  </a:moveTo>
                  <a:lnTo>
                    <a:pt x="8674" y="825"/>
                  </a:lnTo>
                  <a:lnTo>
                    <a:pt x="8940" y="1333"/>
                  </a:lnTo>
                  <a:lnTo>
                    <a:pt x="11391" y="7569"/>
                  </a:lnTo>
                  <a:lnTo>
                    <a:pt x="6565" y="23609"/>
                  </a:lnTo>
                  <a:lnTo>
                    <a:pt x="3073" y="24396"/>
                  </a:lnTo>
                  <a:lnTo>
                    <a:pt x="177" y="27584"/>
                  </a:lnTo>
                  <a:lnTo>
                    <a:pt x="0" y="27863"/>
                  </a:lnTo>
                  <a:lnTo>
                    <a:pt x="50" y="28194"/>
                  </a:lnTo>
                  <a:lnTo>
                    <a:pt x="761" y="27940"/>
                  </a:lnTo>
                  <a:lnTo>
                    <a:pt x="3213" y="26504"/>
                  </a:lnTo>
                  <a:lnTo>
                    <a:pt x="5765" y="24574"/>
                  </a:lnTo>
                  <a:lnTo>
                    <a:pt x="9639" y="20929"/>
                  </a:lnTo>
                  <a:lnTo>
                    <a:pt x="14795" y="12039"/>
                  </a:lnTo>
                  <a:lnTo>
                    <a:pt x="10591" y="2565"/>
                  </a:lnTo>
                  <a:lnTo>
                    <a:pt x="10083" y="1663"/>
                  </a:lnTo>
                  <a:lnTo>
                    <a:pt x="9715" y="1155"/>
                  </a:lnTo>
                  <a:lnTo>
                    <a:pt x="8864" y="0"/>
                  </a:lnTo>
                  <a:close/>
                </a:path>
              </a:pathLst>
            </a:custGeom>
            <a:solidFill>
              <a:srgbClr val="FCF5F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3" name="object 955">
              <a:extLst>
                <a:ext uri="{FF2B5EF4-FFF2-40B4-BE49-F238E27FC236}">
                  <a16:creationId xmlns:a16="http://schemas.microsoft.com/office/drawing/2014/main" id="{141333E1-6CAF-4467-A5F0-8F5F6CB50BD4}"/>
                </a:ext>
              </a:extLst>
            </p:cNvPr>
            <p:cNvSpPr/>
            <p:nvPr/>
          </p:nvSpPr>
          <p:spPr>
            <a:xfrm>
              <a:off x="8032680" y="6187926"/>
              <a:ext cx="14604" cy="27940"/>
            </a:xfrm>
            <a:custGeom>
              <a:avLst/>
              <a:gdLst/>
              <a:ahLst/>
              <a:cxnLst/>
              <a:rect l="l" t="t" r="r" b="b"/>
              <a:pathLst>
                <a:path w="14604" h="27940">
                  <a:moveTo>
                    <a:pt x="5705" y="23495"/>
                  </a:moveTo>
                  <a:lnTo>
                    <a:pt x="2857" y="24015"/>
                  </a:lnTo>
                  <a:lnTo>
                    <a:pt x="38" y="27152"/>
                  </a:lnTo>
                  <a:lnTo>
                    <a:pt x="0" y="27559"/>
                  </a:lnTo>
                  <a:lnTo>
                    <a:pt x="406" y="27355"/>
                  </a:lnTo>
                  <a:lnTo>
                    <a:pt x="2489" y="26060"/>
                  </a:lnTo>
                  <a:lnTo>
                    <a:pt x="5149" y="24015"/>
                  </a:lnTo>
                  <a:lnTo>
                    <a:pt x="5705" y="23495"/>
                  </a:lnTo>
                  <a:close/>
                </a:path>
                <a:path w="14604" h="27940">
                  <a:moveTo>
                    <a:pt x="6536" y="22718"/>
                  </a:moveTo>
                  <a:lnTo>
                    <a:pt x="5705" y="23495"/>
                  </a:lnTo>
                  <a:lnTo>
                    <a:pt x="6337" y="23380"/>
                  </a:lnTo>
                  <a:lnTo>
                    <a:pt x="6536" y="22718"/>
                  </a:lnTo>
                  <a:close/>
                </a:path>
                <a:path w="14604" h="27940">
                  <a:moveTo>
                    <a:pt x="8623" y="0"/>
                  </a:moveTo>
                  <a:lnTo>
                    <a:pt x="8585" y="647"/>
                  </a:lnTo>
                  <a:lnTo>
                    <a:pt x="11252" y="7086"/>
                  </a:lnTo>
                  <a:lnTo>
                    <a:pt x="6536" y="22718"/>
                  </a:lnTo>
                  <a:lnTo>
                    <a:pt x="8953" y="20459"/>
                  </a:lnTo>
                  <a:lnTo>
                    <a:pt x="14211" y="11684"/>
                  </a:lnTo>
                  <a:lnTo>
                    <a:pt x="10045" y="2349"/>
                  </a:lnTo>
                  <a:lnTo>
                    <a:pt x="9613" y="1536"/>
                  </a:lnTo>
                  <a:lnTo>
                    <a:pt x="8623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4" name="object 956">
              <a:extLst>
                <a:ext uri="{FF2B5EF4-FFF2-40B4-BE49-F238E27FC236}">
                  <a16:creationId xmlns:a16="http://schemas.microsoft.com/office/drawing/2014/main" id="{BE2D7644-8A22-4E56-B9E4-386529C9BEFD}"/>
                </a:ext>
              </a:extLst>
            </p:cNvPr>
            <p:cNvSpPr/>
            <p:nvPr/>
          </p:nvSpPr>
          <p:spPr>
            <a:xfrm>
              <a:off x="8023339" y="6217314"/>
              <a:ext cx="19050" cy="6350"/>
            </a:xfrm>
            <a:custGeom>
              <a:avLst/>
              <a:gdLst/>
              <a:ahLst/>
              <a:cxnLst/>
              <a:rect l="l" t="t" r="r" b="b"/>
              <a:pathLst>
                <a:path w="19050" h="6350">
                  <a:moveTo>
                    <a:pt x="2146" y="444"/>
                  </a:moveTo>
                  <a:lnTo>
                    <a:pt x="0" y="1676"/>
                  </a:lnTo>
                  <a:lnTo>
                    <a:pt x="457" y="4140"/>
                  </a:lnTo>
                  <a:lnTo>
                    <a:pt x="1231" y="1371"/>
                  </a:lnTo>
                  <a:lnTo>
                    <a:pt x="2146" y="444"/>
                  </a:lnTo>
                  <a:close/>
                </a:path>
                <a:path w="19050" h="6350">
                  <a:moveTo>
                    <a:pt x="18910" y="0"/>
                  </a:moveTo>
                  <a:lnTo>
                    <a:pt x="17678" y="1384"/>
                  </a:lnTo>
                  <a:lnTo>
                    <a:pt x="16141" y="6146"/>
                  </a:lnTo>
                  <a:lnTo>
                    <a:pt x="18910" y="0"/>
                  </a:lnTo>
                  <a:close/>
                </a:path>
              </a:pathLst>
            </a:custGeom>
            <a:solidFill>
              <a:srgbClr val="02030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5" name="object 957">
              <a:extLst>
                <a:ext uri="{FF2B5EF4-FFF2-40B4-BE49-F238E27FC236}">
                  <a16:creationId xmlns:a16="http://schemas.microsoft.com/office/drawing/2014/main" id="{6F88F3C9-0472-4F0F-B71E-0E60C30BB751}"/>
                </a:ext>
              </a:extLst>
            </p:cNvPr>
            <p:cNvSpPr/>
            <p:nvPr/>
          </p:nvSpPr>
          <p:spPr>
            <a:xfrm>
              <a:off x="7977886" y="6243018"/>
              <a:ext cx="128905" cy="163830"/>
            </a:xfrm>
            <a:custGeom>
              <a:avLst/>
              <a:gdLst/>
              <a:ahLst/>
              <a:cxnLst/>
              <a:rect l="l" t="t" r="r" b="b"/>
              <a:pathLst>
                <a:path w="128904" h="163829">
                  <a:moveTo>
                    <a:pt x="128397" y="0"/>
                  </a:moveTo>
                  <a:lnTo>
                    <a:pt x="0" y="0"/>
                  </a:lnTo>
                  <a:lnTo>
                    <a:pt x="0" y="73164"/>
                  </a:lnTo>
                  <a:lnTo>
                    <a:pt x="3581" y="101460"/>
                  </a:lnTo>
                  <a:lnTo>
                    <a:pt x="15011" y="124294"/>
                  </a:lnTo>
                  <a:lnTo>
                    <a:pt x="35267" y="144094"/>
                  </a:lnTo>
                  <a:lnTo>
                    <a:pt x="65354" y="163271"/>
                  </a:lnTo>
                  <a:lnTo>
                    <a:pt x="94932" y="142608"/>
                  </a:lnTo>
                  <a:lnTo>
                    <a:pt x="114414" y="121818"/>
                  </a:lnTo>
                  <a:lnTo>
                    <a:pt x="125120" y="99212"/>
                  </a:lnTo>
                  <a:lnTo>
                    <a:pt x="128397" y="73164"/>
                  </a:lnTo>
                  <a:lnTo>
                    <a:pt x="128397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6" name="object 958">
              <a:extLst>
                <a:ext uri="{FF2B5EF4-FFF2-40B4-BE49-F238E27FC236}">
                  <a16:creationId xmlns:a16="http://schemas.microsoft.com/office/drawing/2014/main" id="{98E1D2AD-9AD9-46F8-8502-38FFDB57FFC3}"/>
                </a:ext>
              </a:extLst>
            </p:cNvPr>
            <p:cNvSpPr/>
            <p:nvPr/>
          </p:nvSpPr>
          <p:spPr>
            <a:xfrm>
              <a:off x="7983195" y="6247907"/>
              <a:ext cx="74295" cy="150495"/>
            </a:xfrm>
            <a:custGeom>
              <a:avLst/>
              <a:gdLst/>
              <a:ahLst/>
              <a:cxnLst/>
              <a:rect l="l" t="t" r="r" b="b"/>
              <a:pathLst>
                <a:path w="74295" h="150495">
                  <a:moveTo>
                    <a:pt x="51090" y="0"/>
                  </a:moveTo>
                  <a:lnTo>
                    <a:pt x="33026" y="318"/>
                  </a:lnTo>
                  <a:lnTo>
                    <a:pt x="0" y="1384"/>
                  </a:lnTo>
                  <a:lnTo>
                    <a:pt x="0" y="70612"/>
                  </a:lnTo>
                  <a:lnTo>
                    <a:pt x="3027" y="94992"/>
                  </a:lnTo>
                  <a:lnTo>
                    <a:pt x="12934" y="115344"/>
                  </a:lnTo>
                  <a:lnTo>
                    <a:pt x="30957" y="133234"/>
                  </a:lnTo>
                  <a:lnTo>
                    <a:pt x="58331" y="150228"/>
                  </a:lnTo>
                  <a:lnTo>
                    <a:pt x="58849" y="139840"/>
                  </a:lnTo>
                  <a:lnTo>
                    <a:pt x="59532" y="114966"/>
                  </a:lnTo>
                  <a:lnTo>
                    <a:pt x="59075" y="85045"/>
                  </a:lnTo>
                  <a:lnTo>
                    <a:pt x="56172" y="59512"/>
                  </a:lnTo>
                  <a:lnTo>
                    <a:pt x="59054" y="43093"/>
                  </a:lnTo>
                  <a:lnTo>
                    <a:pt x="67946" y="25153"/>
                  </a:lnTo>
                  <a:lnTo>
                    <a:pt x="73840" y="9950"/>
                  </a:lnTo>
                  <a:lnTo>
                    <a:pt x="67729" y="1739"/>
                  </a:lnTo>
                  <a:lnTo>
                    <a:pt x="60541" y="462"/>
                  </a:lnTo>
                  <a:lnTo>
                    <a:pt x="51090" y="0"/>
                  </a:lnTo>
                  <a:close/>
                </a:path>
              </a:pathLst>
            </a:custGeom>
            <a:solidFill>
              <a:srgbClr val="0069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7" name="object 959">
              <a:extLst>
                <a:ext uri="{FF2B5EF4-FFF2-40B4-BE49-F238E27FC236}">
                  <a16:creationId xmlns:a16="http://schemas.microsoft.com/office/drawing/2014/main" id="{FAE785BF-B84B-4012-8BB1-68E053E42E5F}"/>
                </a:ext>
              </a:extLst>
            </p:cNvPr>
            <p:cNvSpPr/>
            <p:nvPr/>
          </p:nvSpPr>
          <p:spPr>
            <a:xfrm>
              <a:off x="7983197" y="6247937"/>
              <a:ext cx="73660" cy="149860"/>
            </a:xfrm>
            <a:custGeom>
              <a:avLst/>
              <a:gdLst/>
              <a:ahLst/>
              <a:cxnLst/>
              <a:rect l="l" t="t" r="r" b="b"/>
              <a:pathLst>
                <a:path w="73659" h="149859">
                  <a:moveTo>
                    <a:pt x="50441" y="0"/>
                  </a:moveTo>
                  <a:lnTo>
                    <a:pt x="32582" y="313"/>
                  </a:lnTo>
                  <a:lnTo>
                    <a:pt x="0" y="1358"/>
                  </a:lnTo>
                  <a:lnTo>
                    <a:pt x="0" y="70573"/>
                  </a:lnTo>
                  <a:lnTo>
                    <a:pt x="2997" y="94904"/>
                  </a:lnTo>
                  <a:lnTo>
                    <a:pt x="12793" y="115120"/>
                  </a:lnTo>
                  <a:lnTo>
                    <a:pt x="30598" y="132844"/>
                  </a:lnTo>
                  <a:lnTo>
                    <a:pt x="57619" y="149694"/>
                  </a:lnTo>
                  <a:lnTo>
                    <a:pt x="58084" y="139461"/>
                  </a:lnTo>
                  <a:lnTo>
                    <a:pt x="58653" y="114917"/>
                  </a:lnTo>
                  <a:lnTo>
                    <a:pt x="58086" y="85299"/>
                  </a:lnTo>
                  <a:lnTo>
                    <a:pt x="55143" y="59842"/>
                  </a:lnTo>
                  <a:lnTo>
                    <a:pt x="58055" y="42997"/>
                  </a:lnTo>
                  <a:lnTo>
                    <a:pt x="67102" y="24945"/>
                  </a:lnTo>
                  <a:lnTo>
                    <a:pt x="73179" y="9804"/>
                  </a:lnTo>
                  <a:lnTo>
                    <a:pt x="67183" y="1689"/>
                  </a:lnTo>
                  <a:lnTo>
                    <a:pt x="59875" y="448"/>
                  </a:lnTo>
                  <a:lnTo>
                    <a:pt x="50441" y="0"/>
                  </a:lnTo>
                  <a:close/>
                </a:path>
              </a:pathLst>
            </a:custGeom>
            <a:solidFill>
              <a:srgbClr val="0069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8" name="object 960">
              <a:extLst>
                <a:ext uri="{FF2B5EF4-FFF2-40B4-BE49-F238E27FC236}">
                  <a16:creationId xmlns:a16="http://schemas.microsoft.com/office/drawing/2014/main" id="{196195E2-7FA3-4FC7-AA68-089A2BB5D185}"/>
                </a:ext>
              </a:extLst>
            </p:cNvPr>
            <p:cNvSpPr/>
            <p:nvPr/>
          </p:nvSpPr>
          <p:spPr>
            <a:xfrm>
              <a:off x="7983194" y="6247971"/>
              <a:ext cx="73025" cy="149225"/>
            </a:xfrm>
            <a:custGeom>
              <a:avLst/>
              <a:gdLst/>
              <a:ahLst/>
              <a:cxnLst/>
              <a:rect l="l" t="t" r="r" b="b"/>
              <a:pathLst>
                <a:path w="73025" h="149225">
                  <a:moveTo>
                    <a:pt x="72504" y="9664"/>
                  </a:moveTo>
                  <a:lnTo>
                    <a:pt x="66624" y="1651"/>
                  </a:lnTo>
                  <a:lnTo>
                    <a:pt x="59194" y="444"/>
                  </a:lnTo>
                  <a:lnTo>
                    <a:pt x="49784" y="0"/>
                  </a:lnTo>
                  <a:lnTo>
                    <a:pt x="32131" y="304"/>
                  </a:lnTo>
                  <a:lnTo>
                    <a:pt x="31686" y="330"/>
                  </a:lnTo>
                  <a:lnTo>
                    <a:pt x="0" y="1320"/>
                  </a:lnTo>
                  <a:lnTo>
                    <a:pt x="0" y="70548"/>
                  </a:lnTo>
                  <a:lnTo>
                    <a:pt x="2933" y="94767"/>
                  </a:lnTo>
                  <a:lnTo>
                    <a:pt x="12509" y="114706"/>
                  </a:lnTo>
                  <a:lnTo>
                    <a:pt x="12649" y="114896"/>
                  </a:lnTo>
                  <a:lnTo>
                    <a:pt x="30238" y="132461"/>
                  </a:lnTo>
                  <a:lnTo>
                    <a:pt x="56908" y="149161"/>
                  </a:lnTo>
                  <a:lnTo>
                    <a:pt x="57315" y="139077"/>
                  </a:lnTo>
                  <a:lnTo>
                    <a:pt x="57772" y="114871"/>
                  </a:lnTo>
                  <a:lnTo>
                    <a:pt x="57099" y="85559"/>
                  </a:lnTo>
                  <a:lnTo>
                    <a:pt x="54127" y="60198"/>
                  </a:lnTo>
                  <a:lnTo>
                    <a:pt x="57061" y="42913"/>
                  </a:lnTo>
                  <a:lnTo>
                    <a:pt x="66255" y="24739"/>
                  </a:lnTo>
                  <a:lnTo>
                    <a:pt x="72504" y="9664"/>
                  </a:lnTo>
                  <a:close/>
                </a:path>
              </a:pathLst>
            </a:custGeom>
            <a:solidFill>
              <a:srgbClr val="0068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69" name="object 961">
              <a:extLst>
                <a:ext uri="{FF2B5EF4-FFF2-40B4-BE49-F238E27FC236}">
                  <a16:creationId xmlns:a16="http://schemas.microsoft.com/office/drawing/2014/main" id="{BCC13C79-6DC6-40E0-90E1-CC3D6B4D1DC1}"/>
                </a:ext>
              </a:extLst>
            </p:cNvPr>
            <p:cNvSpPr/>
            <p:nvPr/>
          </p:nvSpPr>
          <p:spPr>
            <a:xfrm>
              <a:off x="7983194" y="6248035"/>
              <a:ext cx="71755" cy="148590"/>
            </a:xfrm>
            <a:custGeom>
              <a:avLst/>
              <a:gdLst/>
              <a:ahLst/>
              <a:cxnLst/>
              <a:rect l="l" t="t" r="r" b="b"/>
              <a:pathLst>
                <a:path w="71754" h="148590">
                  <a:moveTo>
                    <a:pt x="71183" y="9372"/>
                  </a:moveTo>
                  <a:lnTo>
                    <a:pt x="65519" y="1562"/>
                  </a:lnTo>
                  <a:lnTo>
                    <a:pt x="57861" y="406"/>
                  </a:lnTo>
                  <a:lnTo>
                    <a:pt x="48488" y="0"/>
                  </a:lnTo>
                  <a:lnTo>
                    <a:pt x="31242" y="292"/>
                  </a:lnTo>
                  <a:lnTo>
                    <a:pt x="30797" y="317"/>
                  </a:lnTo>
                  <a:lnTo>
                    <a:pt x="30353" y="342"/>
                  </a:lnTo>
                  <a:lnTo>
                    <a:pt x="16167" y="774"/>
                  </a:lnTo>
                  <a:lnTo>
                    <a:pt x="0" y="1257"/>
                  </a:lnTo>
                  <a:lnTo>
                    <a:pt x="0" y="70485"/>
                  </a:lnTo>
                  <a:lnTo>
                    <a:pt x="2844" y="94526"/>
                  </a:lnTo>
                  <a:lnTo>
                    <a:pt x="12090" y="114071"/>
                  </a:lnTo>
                  <a:lnTo>
                    <a:pt x="12230" y="114261"/>
                  </a:lnTo>
                  <a:lnTo>
                    <a:pt x="12369" y="114452"/>
                  </a:lnTo>
                  <a:lnTo>
                    <a:pt x="28282" y="130441"/>
                  </a:lnTo>
                  <a:lnTo>
                    <a:pt x="28803" y="130962"/>
                  </a:lnTo>
                  <a:lnTo>
                    <a:pt x="29527" y="131686"/>
                  </a:lnTo>
                  <a:lnTo>
                    <a:pt x="55473" y="148094"/>
                  </a:lnTo>
                  <a:lnTo>
                    <a:pt x="55791" y="138328"/>
                  </a:lnTo>
                  <a:lnTo>
                    <a:pt x="56019" y="114769"/>
                  </a:lnTo>
                  <a:lnTo>
                    <a:pt x="55118" y="86080"/>
                  </a:lnTo>
                  <a:lnTo>
                    <a:pt x="52057" y="60871"/>
                  </a:lnTo>
                  <a:lnTo>
                    <a:pt x="55054" y="42722"/>
                  </a:lnTo>
                  <a:lnTo>
                    <a:pt x="64566" y="24333"/>
                  </a:lnTo>
                  <a:lnTo>
                    <a:pt x="71183" y="9372"/>
                  </a:lnTo>
                  <a:close/>
                </a:path>
              </a:pathLst>
            </a:custGeom>
            <a:solidFill>
              <a:srgbClr val="0067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0" name="object 962">
              <a:extLst>
                <a:ext uri="{FF2B5EF4-FFF2-40B4-BE49-F238E27FC236}">
                  <a16:creationId xmlns:a16="http://schemas.microsoft.com/office/drawing/2014/main" id="{96D7CB8E-2538-4BB5-BD25-CA1BB950AF59}"/>
                </a:ext>
              </a:extLst>
            </p:cNvPr>
            <p:cNvSpPr/>
            <p:nvPr/>
          </p:nvSpPr>
          <p:spPr>
            <a:xfrm>
              <a:off x="7983194" y="6248124"/>
              <a:ext cx="69215" cy="146685"/>
            </a:xfrm>
            <a:custGeom>
              <a:avLst/>
              <a:gdLst/>
              <a:ahLst/>
              <a:cxnLst/>
              <a:rect l="l" t="t" r="r" b="b"/>
              <a:pathLst>
                <a:path w="69215" h="146684">
                  <a:moveTo>
                    <a:pt x="69189" y="8940"/>
                  </a:moveTo>
                  <a:lnTo>
                    <a:pt x="63855" y="1422"/>
                  </a:lnTo>
                  <a:lnTo>
                    <a:pt x="55854" y="381"/>
                  </a:lnTo>
                  <a:lnTo>
                    <a:pt x="46532" y="0"/>
                  </a:lnTo>
                  <a:lnTo>
                    <a:pt x="29908" y="279"/>
                  </a:lnTo>
                  <a:lnTo>
                    <a:pt x="29464" y="304"/>
                  </a:lnTo>
                  <a:lnTo>
                    <a:pt x="0" y="1168"/>
                  </a:lnTo>
                  <a:lnTo>
                    <a:pt x="0" y="70396"/>
                  </a:lnTo>
                  <a:lnTo>
                    <a:pt x="2781" y="94335"/>
                  </a:lnTo>
                  <a:lnTo>
                    <a:pt x="11811" y="113601"/>
                  </a:lnTo>
                  <a:lnTo>
                    <a:pt x="11950" y="113792"/>
                  </a:lnTo>
                  <a:lnTo>
                    <a:pt x="26593" y="128651"/>
                  </a:lnTo>
                  <a:lnTo>
                    <a:pt x="28092" y="130162"/>
                  </a:lnTo>
                  <a:lnTo>
                    <a:pt x="28448" y="130517"/>
                  </a:lnTo>
                  <a:lnTo>
                    <a:pt x="53340" y="146481"/>
                  </a:lnTo>
                  <a:lnTo>
                    <a:pt x="53492" y="137185"/>
                  </a:lnTo>
                  <a:lnTo>
                    <a:pt x="53378" y="114630"/>
                  </a:lnTo>
                  <a:lnTo>
                    <a:pt x="52158" y="86855"/>
                  </a:lnTo>
                  <a:lnTo>
                    <a:pt x="48983" y="61874"/>
                  </a:lnTo>
                  <a:lnTo>
                    <a:pt x="52057" y="42443"/>
                  </a:lnTo>
                  <a:lnTo>
                    <a:pt x="62026" y="23710"/>
                  </a:lnTo>
                  <a:lnTo>
                    <a:pt x="69189" y="8940"/>
                  </a:lnTo>
                  <a:close/>
                </a:path>
              </a:pathLst>
            </a:custGeom>
            <a:solidFill>
              <a:srgbClr val="00663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1" name="object 963">
              <a:extLst>
                <a:ext uri="{FF2B5EF4-FFF2-40B4-BE49-F238E27FC236}">
                  <a16:creationId xmlns:a16="http://schemas.microsoft.com/office/drawing/2014/main" id="{CE03EE95-68E4-4E6D-8E3C-65C1AEE5919D}"/>
                </a:ext>
              </a:extLst>
            </p:cNvPr>
            <p:cNvSpPr/>
            <p:nvPr/>
          </p:nvSpPr>
          <p:spPr>
            <a:xfrm>
              <a:off x="7983201" y="6248174"/>
              <a:ext cx="67945" cy="145415"/>
            </a:xfrm>
            <a:custGeom>
              <a:avLst/>
              <a:gdLst/>
              <a:ahLst/>
              <a:cxnLst/>
              <a:rect l="l" t="t" r="r" b="b"/>
              <a:pathLst>
                <a:path w="67945" h="145415">
                  <a:moveTo>
                    <a:pt x="45229" y="0"/>
                  </a:moveTo>
                  <a:lnTo>
                    <a:pt x="29019" y="260"/>
                  </a:lnTo>
                  <a:lnTo>
                    <a:pt x="0" y="1114"/>
                  </a:lnTo>
                  <a:lnTo>
                    <a:pt x="0" y="70342"/>
                  </a:lnTo>
                  <a:lnTo>
                    <a:pt x="2754" y="94214"/>
                  </a:lnTo>
                  <a:lnTo>
                    <a:pt x="11671" y="113339"/>
                  </a:lnTo>
                  <a:lnTo>
                    <a:pt x="27732" y="129733"/>
                  </a:lnTo>
                  <a:lnTo>
                    <a:pt x="51917" y="145411"/>
                  </a:lnTo>
                  <a:lnTo>
                    <a:pt x="51963" y="136421"/>
                  </a:lnTo>
                  <a:lnTo>
                    <a:pt x="51623" y="114534"/>
                  </a:lnTo>
                  <a:lnTo>
                    <a:pt x="50187" y="87375"/>
                  </a:lnTo>
                  <a:lnTo>
                    <a:pt x="46939" y="62569"/>
                  </a:lnTo>
                  <a:lnTo>
                    <a:pt x="50059" y="42269"/>
                  </a:lnTo>
                  <a:lnTo>
                    <a:pt x="60331" y="23298"/>
                  </a:lnTo>
                  <a:lnTo>
                    <a:pt x="67859" y="8655"/>
                  </a:lnTo>
                  <a:lnTo>
                    <a:pt x="62750" y="1343"/>
                  </a:lnTo>
                  <a:lnTo>
                    <a:pt x="54512" y="353"/>
                  </a:lnTo>
                  <a:lnTo>
                    <a:pt x="45229" y="0"/>
                  </a:lnTo>
                  <a:close/>
                </a:path>
              </a:pathLst>
            </a:custGeom>
            <a:solidFill>
              <a:srgbClr val="00653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2" name="object 964">
              <a:extLst>
                <a:ext uri="{FF2B5EF4-FFF2-40B4-BE49-F238E27FC236}">
                  <a16:creationId xmlns:a16="http://schemas.microsoft.com/office/drawing/2014/main" id="{46446F74-BE22-4EEB-9516-C1BA34579C8C}"/>
                </a:ext>
              </a:extLst>
            </p:cNvPr>
            <p:cNvSpPr/>
            <p:nvPr/>
          </p:nvSpPr>
          <p:spPr>
            <a:xfrm>
              <a:off x="7983201" y="6248206"/>
              <a:ext cx="67310" cy="145415"/>
            </a:xfrm>
            <a:custGeom>
              <a:avLst/>
              <a:gdLst/>
              <a:ahLst/>
              <a:cxnLst/>
              <a:rect l="l" t="t" r="r" b="b"/>
              <a:pathLst>
                <a:path w="67309" h="145415">
                  <a:moveTo>
                    <a:pt x="44580" y="0"/>
                  </a:moveTo>
                  <a:lnTo>
                    <a:pt x="28575" y="254"/>
                  </a:lnTo>
                  <a:lnTo>
                    <a:pt x="0" y="1087"/>
                  </a:lnTo>
                  <a:lnTo>
                    <a:pt x="0" y="70302"/>
                  </a:lnTo>
                  <a:lnTo>
                    <a:pt x="2725" y="94125"/>
                  </a:lnTo>
                  <a:lnTo>
                    <a:pt x="11534" y="113118"/>
                  </a:lnTo>
                  <a:lnTo>
                    <a:pt x="27378" y="129347"/>
                  </a:lnTo>
                  <a:lnTo>
                    <a:pt x="51206" y="144876"/>
                  </a:lnTo>
                  <a:lnTo>
                    <a:pt x="50750" y="114488"/>
                  </a:lnTo>
                  <a:lnTo>
                    <a:pt x="49207" y="87633"/>
                  </a:lnTo>
                  <a:lnTo>
                    <a:pt x="45923" y="62898"/>
                  </a:lnTo>
                  <a:lnTo>
                    <a:pt x="49065" y="42176"/>
                  </a:lnTo>
                  <a:lnTo>
                    <a:pt x="67199" y="8509"/>
                  </a:lnTo>
                  <a:lnTo>
                    <a:pt x="62204" y="1303"/>
                  </a:lnTo>
                  <a:lnTo>
                    <a:pt x="53846" y="342"/>
                  </a:lnTo>
                  <a:lnTo>
                    <a:pt x="44580" y="0"/>
                  </a:lnTo>
                  <a:close/>
                </a:path>
              </a:pathLst>
            </a:custGeom>
            <a:solidFill>
              <a:srgbClr val="0165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3" name="object 965">
              <a:extLst>
                <a:ext uri="{FF2B5EF4-FFF2-40B4-BE49-F238E27FC236}">
                  <a16:creationId xmlns:a16="http://schemas.microsoft.com/office/drawing/2014/main" id="{C790B452-AED0-41F4-A8F1-1B003723FDEF}"/>
                </a:ext>
              </a:extLst>
            </p:cNvPr>
            <p:cNvSpPr/>
            <p:nvPr/>
          </p:nvSpPr>
          <p:spPr>
            <a:xfrm>
              <a:off x="7983194" y="6248238"/>
              <a:ext cx="66675" cy="144780"/>
            </a:xfrm>
            <a:custGeom>
              <a:avLst/>
              <a:gdLst/>
              <a:ahLst/>
              <a:cxnLst/>
              <a:rect l="l" t="t" r="r" b="b"/>
              <a:pathLst>
                <a:path w="66675" h="144779">
                  <a:moveTo>
                    <a:pt x="66535" y="8369"/>
                  </a:moveTo>
                  <a:lnTo>
                    <a:pt x="61658" y="1257"/>
                  </a:lnTo>
                  <a:lnTo>
                    <a:pt x="53174" y="330"/>
                  </a:lnTo>
                  <a:lnTo>
                    <a:pt x="43929" y="0"/>
                  </a:lnTo>
                  <a:lnTo>
                    <a:pt x="28130" y="254"/>
                  </a:lnTo>
                  <a:lnTo>
                    <a:pt x="0" y="1054"/>
                  </a:lnTo>
                  <a:lnTo>
                    <a:pt x="0" y="70281"/>
                  </a:lnTo>
                  <a:lnTo>
                    <a:pt x="2667" y="93992"/>
                  </a:lnTo>
                  <a:lnTo>
                    <a:pt x="11252" y="112712"/>
                  </a:lnTo>
                  <a:lnTo>
                    <a:pt x="11391" y="112903"/>
                  </a:lnTo>
                  <a:lnTo>
                    <a:pt x="23901" y="125780"/>
                  </a:lnTo>
                  <a:lnTo>
                    <a:pt x="26657" y="128600"/>
                  </a:lnTo>
                  <a:lnTo>
                    <a:pt x="27025" y="128968"/>
                  </a:lnTo>
                  <a:lnTo>
                    <a:pt x="50507" y="144348"/>
                  </a:lnTo>
                  <a:lnTo>
                    <a:pt x="49872" y="114452"/>
                  </a:lnTo>
                  <a:lnTo>
                    <a:pt x="48209" y="87896"/>
                  </a:lnTo>
                  <a:lnTo>
                    <a:pt x="44894" y="63246"/>
                  </a:lnTo>
                  <a:lnTo>
                    <a:pt x="48056" y="42087"/>
                  </a:lnTo>
                  <a:lnTo>
                    <a:pt x="66535" y="8369"/>
                  </a:lnTo>
                  <a:close/>
                </a:path>
              </a:pathLst>
            </a:custGeom>
            <a:solidFill>
              <a:srgbClr val="0164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4" name="object 966">
              <a:extLst>
                <a:ext uri="{FF2B5EF4-FFF2-40B4-BE49-F238E27FC236}">
                  <a16:creationId xmlns:a16="http://schemas.microsoft.com/office/drawing/2014/main" id="{B200AE02-9BE9-47CA-9D9F-10AEB53938F0}"/>
                </a:ext>
              </a:extLst>
            </p:cNvPr>
            <p:cNvSpPr/>
            <p:nvPr/>
          </p:nvSpPr>
          <p:spPr>
            <a:xfrm>
              <a:off x="7983194" y="6248314"/>
              <a:ext cx="65405" cy="143510"/>
            </a:xfrm>
            <a:custGeom>
              <a:avLst/>
              <a:gdLst/>
              <a:ahLst/>
              <a:cxnLst/>
              <a:rect l="l" t="t" r="r" b="b"/>
              <a:pathLst>
                <a:path w="65404" h="143509">
                  <a:moveTo>
                    <a:pt x="65201" y="8064"/>
                  </a:moveTo>
                  <a:lnTo>
                    <a:pt x="60540" y="1155"/>
                  </a:lnTo>
                  <a:lnTo>
                    <a:pt x="51841" y="304"/>
                  </a:lnTo>
                  <a:lnTo>
                    <a:pt x="42633" y="0"/>
                  </a:lnTo>
                  <a:lnTo>
                    <a:pt x="41986" y="25"/>
                  </a:lnTo>
                  <a:lnTo>
                    <a:pt x="0" y="977"/>
                  </a:lnTo>
                  <a:lnTo>
                    <a:pt x="0" y="70192"/>
                  </a:lnTo>
                  <a:lnTo>
                    <a:pt x="101" y="71183"/>
                  </a:lnTo>
                  <a:lnTo>
                    <a:pt x="2603" y="93802"/>
                  </a:lnTo>
                  <a:lnTo>
                    <a:pt x="10972" y="112242"/>
                  </a:lnTo>
                  <a:lnTo>
                    <a:pt x="11074" y="112369"/>
                  </a:lnTo>
                  <a:lnTo>
                    <a:pt x="20535" y="122199"/>
                  </a:lnTo>
                  <a:lnTo>
                    <a:pt x="25946" y="127812"/>
                  </a:lnTo>
                  <a:lnTo>
                    <a:pt x="26314" y="128168"/>
                  </a:lnTo>
                  <a:lnTo>
                    <a:pt x="49072" y="143256"/>
                  </a:lnTo>
                  <a:lnTo>
                    <a:pt x="48120" y="114338"/>
                  </a:lnTo>
                  <a:lnTo>
                    <a:pt x="46240" y="88404"/>
                  </a:lnTo>
                  <a:lnTo>
                    <a:pt x="42837" y="63906"/>
                  </a:lnTo>
                  <a:lnTo>
                    <a:pt x="46062" y="41884"/>
                  </a:lnTo>
                  <a:lnTo>
                    <a:pt x="65201" y="8064"/>
                  </a:lnTo>
                  <a:close/>
                </a:path>
              </a:pathLst>
            </a:custGeom>
            <a:solidFill>
              <a:srgbClr val="00633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5" name="object 967">
              <a:extLst>
                <a:ext uri="{FF2B5EF4-FFF2-40B4-BE49-F238E27FC236}">
                  <a16:creationId xmlns:a16="http://schemas.microsoft.com/office/drawing/2014/main" id="{7945B309-999F-412D-92FA-3D3EDF7DC3BC}"/>
                </a:ext>
              </a:extLst>
            </p:cNvPr>
            <p:cNvSpPr/>
            <p:nvPr/>
          </p:nvSpPr>
          <p:spPr>
            <a:xfrm>
              <a:off x="7983203" y="6248360"/>
              <a:ext cx="64135" cy="142240"/>
            </a:xfrm>
            <a:custGeom>
              <a:avLst/>
              <a:gdLst/>
              <a:ahLst/>
              <a:cxnLst/>
              <a:rect l="l" t="t" r="r" b="b"/>
              <a:pathLst>
                <a:path w="64134" h="142240">
                  <a:moveTo>
                    <a:pt x="41328" y="0"/>
                  </a:moveTo>
                  <a:lnTo>
                    <a:pt x="0" y="933"/>
                  </a:lnTo>
                  <a:lnTo>
                    <a:pt x="0" y="70148"/>
                  </a:lnTo>
                  <a:lnTo>
                    <a:pt x="2575" y="93689"/>
                  </a:lnTo>
                  <a:lnTo>
                    <a:pt x="10837" y="112001"/>
                  </a:lnTo>
                  <a:lnTo>
                    <a:pt x="25594" y="127398"/>
                  </a:lnTo>
                  <a:lnTo>
                    <a:pt x="47650" y="142195"/>
                  </a:lnTo>
                  <a:lnTo>
                    <a:pt x="46358" y="114246"/>
                  </a:lnTo>
                  <a:lnTo>
                    <a:pt x="44264" y="88928"/>
                  </a:lnTo>
                  <a:lnTo>
                    <a:pt x="40779" y="64598"/>
                  </a:lnTo>
                  <a:lnTo>
                    <a:pt x="44059" y="41717"/>
                  </a:lnTo>
                  <a:lnTo>
                    <a:pt x="55251" y="22055"/>
                  </a:lnTo>
                  <a:lnTo>
                    <a:pt x="63871" y="7786"/>
                  </a:lnTo>
                  <a:lnTo>
                    <a:pt x="59435" y="1085"/>
                  </a:lnTo>
                  <a:lnTo>
                    <a:pt x="50499" y="283"/>
                  </a:lnTo>
                  <a:lnTo>
                    <a:pt x="41328" y="0"/>
                  </a:lnTo>
                  <a:close/>
                </a:path>
              </a:pathLst>
            </a:custGeom>
            <a:solidFill>
              <a:srgbClr val="0062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6" name="object 968">
              <a:extLst>
                <a:ext uri="{FF2B5EF4-FFF2-40B4-BE49-F238E27FC236}">
                  <a16:creationId xmlns:a16="http://schemas.microsoft.com/office/drawing/2014/main" id="{DA536059-43FF-4E07-B617-0CA2206931D6}"/>
                </a:ext>
              </a:extLst>
            </p:cNvPr>
            <p:cNvSpPr/>
            <p:nvPr/>
          </p:nvSpPr>
          <p:spPr>
            <a:xfrm>
              <a:off x="7983194" y="6248391"/>
              <a:ext cx="63500" cy="142240"/>
            </a:xfrm>
            <a:custGeom>
              <a:avLst/>
              <a:gdLst/>
              <a:ahLst/>
              <a:cxnLst/>
              <a:rect l="l" t="t" r="r" b="b"/>
              <a:pathLst>
                <a:path w="63500" h="142240">
                  <a:moveTo>
                    <a:pt x="63207" y="7645"/>
                  </a:moveTo>
                  <a:lnTo>
                    <a:pt x="58889" y="1041"/>
                  </a:lnTo>
                  <a:lnTo>
                    <a:pt x="49834" y="266"/>
                  </a:lnTo>
                  <a:lnTo>
                    <a:pt x="40678" y="0"/>
                  </a:lnTo>
                  <a:lnTo>
                    <a:pt x="0" y="914"/>
                  </a:lnTo>
                  <a:lnTo>
                    <a:pt x="0" y="70129"/>
                  </a:lnTo>
                  <a:lnTo>
                    <a:pt x="2514" y="93560"/>
                  </a:lnTo>
                  <a:lnTo>
                    <a:pt x="10553" y="111594"/>
                  </a:lnTo>
                  <a:lnTo>
                    <a:pt x="10693" y="111785"/>
                  </a:lnTo>
                  <a:lnTo>
                    <a:pt x="20929" y="122516"/>
                  </a:lnTo>
                  <a:lnTo>
                    <a:pt x="24879" y="126657"/>
                  </a:lnTo>
                  <a:lnTo>
                    <a:pt x="25234" y="127012"/>
                  </a:lnTo>
                  <a:lnTo>
                    <a:pt x="46939" y="141668"/>
                  </a:lnTo>
                  <a:lnTo>
                    <a:pt x="45478" y="114198"/>
                  </a:lnTo>
                  <a:lnTo>
                    <a:pt x="43281" y="89192"/>
                  </a:lnTo>
                  <a:lnTo>
                    <a:pt x="39763" y="64947"/>
                  </a:lnTo>
                  <a:lnTo>
                    <a:pt x="43065" y="41630"/>
                  </a:lnTo>
                  <a:lnTo>
                    <a:pt x="54406" y="21856"/>
                  </a:lnTo>
                  <a:lnTo>
                    <a:pt x="63207" y="7645"/>
                  </a:lnTo>
                  <a:close/>
                </a:path>
              </a:pathLst>
            </a:custGeom>
            <a:solidFill>
              <a:srgbClr val="0061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7" name="object 969">
              <a:extLst>
                <a:ext uri="{FF2B5EF4-FFF2-40B4-BE49-F238E27FC236}">
                  <a16:creationId xmlns:a16="http://schemas.microsoft.com/office/drawing/2014/main" id="{11A33036-E952-4F1F-B827-61BBA50A9766}"/>
                </a:ext>
              </a:extLst>
            </p:cNvPr>
            <p:cNvSpPr/>
            <p:nvPr/>
          </p:nvSpPr>
          <p:spPr>
            <a:xfrm>
              <a:off x="7983194" y="6248454"/>
              <a:ext cx="62230" cy="140970"/>
            </a:xfrm>
            <a:custGeom>
              <a:avLst/>
              <a:gdLst/>
              <a:ahLst/>
              <a:cxnLst/>
              <a:rect l="l" t="t" r="r" b="b"/>
              <a:pathLst>
                <a:path w="62229" h="140970">
                  <a:moveTo>
                    <a:pt x="61887" y="7353"/>
                  </a:moveTo>
                  <a:lnTo>
                    <a:pt x="57785" y="952"/>
                  </a:lnTo>
                  <a:lnTo>
                    <a:pt x="48488" y="254"/>
                  </a:lnTo>
                  <a:lnTo>
                    <a:pt x="39382" y="0"/>
                  </a:lnTo>
                  <a:lnTo>
                    <a:pt x="0" y="838"/>
                  </a:lnTo>
                  <a:lnTo>
                    <a:pt x="0" y="70053"/>
                  </a:lnTo>
                  <a:lnTo>
                    <a:pt x="152" y="71628"/>
                  </a:lnTo>
                  <a:lnTo>
                    <a:pt x="2451" y="93370"/>
                  </a:lnTo>
                  <a:lnTo>
                    <a:pt x="2819" y="94221"/>
                  </a:lnTo>
                  <a:lnTo>
                    <a:pt x="10274" y="111150"/>
                  </a:lnTo>
                  <a:lnTo>
                    <a:pt x="10414" y="111340"/>
                  </a:lnTo>
                  <a:lnTo>
                    <a:pt x="19773" y="121234"/>
                  </a:lnTo>
                  <a:lnTo>
                    <a:pt x="24168" y="125882"/>
                  </a:lnTo>
                  <a:lnTo>
                    <a:pt x="24523" y="126238"/>
                  </a:lnTo>
                  <a:lnTo>
                    <a:pt x="45516" y="140589"/>
                  </a:lnTo>
                  <a:lnTo>
                    <a:pt x="43726" y="114109"/>
                  </a:lnTo>
                  <a:lnTo>
                    <a:pt x="41313" y="89712"/>
                  </a:lnTo>
                  <a:lnTo>
                    <a:pt x="37719" y="65608"/>
                  </a:lnTo>
                  <a:lnTo>
                    <a:pt x="41071" y="41452"/>
                  </a:lnTo>
                  <a:lnTo>
                    <a:pt x="52717" y="21437"/>
                  </a:lnTo>
                  <a:lnTo>
                    <a:pt x="61887" y="7353"/>
                  </a:lnTo>
                  <a:close/>
                </a:path>
              </a:pathLst>
            </a:custGeom>
            <a:solidFill>
              <a:srgbClr val="00603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8" name="object 970">
              <a:extLst>
                <a:ext uri="{FF2B5EF4-FFF2-40B4-BE49-F238E27FC236}">
                  <a16:creationId xmlns:a16="http://schemas.microsoft.com/office/drawing/2014/main" id="{F66CE2D4-526B-4848-9F3F-4B63D6739E9F}"/>
                </a:ext>
              </a:extLst>
            </p:cNvPr>
            <p:cNvSpPr/>
            <p:nvPr/>
          </p:nvSpPr>
          <p:spPr>
            <a:xfrm>
              <a:off x="7983199" y="6248508"/>
              <a:ext cx="60960" cy="139700"/>
            </a:xfrm>
            <a:custGeom>
              <a:avLst/>
              <a:gdLst/>
              <a:ahLst/>
              <a:cxnLst/>
              <a:rect l="l" t="t" r="r" b="b"/>
              <a:pathLst>
                <a:path w="60959" h="139700">
                  <a:moveTo>
                    <a:pt x="38079" y="0"/>
                  </a:moveTo>
                  <a:lnTo>
                    <a:pt x="0" y="790"/>
                  </a:lnTo>
                  <a:lnTo>
                    <a:pt x="0" y="70005"/>
                  </a:lnTo>
                  <a:lnTo>
                    <a:pt x="2424" y="93264"/>
                  </a:lnTo>
                  <a:lnTo>
                    <a:pt x="10140" y="110894"/>
                  </a:lnTo>
                  <a:lnTo>
                    <a:pt x="23810" y="125460"/>
                  </a:lnTo>
                  <a:lnTo>
                    <a:pt x="44094" y="139525"/>
                  </a:lnTo>
                  <a:lnTo>
                    <a:pt x="41968" y="114011"/>
                  </a:lnTo>
                  <a:lnTo>
                    <a:pt x="39331" y="90222"/>
                  </a:lnTo>
                  <a:lnTo>
                    <a:pt x="35661" y="66284"/>
                  </a:lnTo>
                  <a:lnTo>
                    <a:pt x="39076" y="41253"/>
                  </a:lnTo>
                  <a:lnTo>
                    <a:pt x="51033" y="21021"/>
                  </a:lnTo>
                  <a:lnTo>
                    <a:pt x="60559" y="7066"/>
                  </a:lnTo>
                  <a:lnTo>
                    <a:pt x="56680" y="866"/>
                  </a:lnTo>
                  <a:lnTo>
                    <a:pt x="47157" y="222"/>
                  </a:lnTo>
                  <a:lnTo>
                    <a:pt x="38079" y="0"/>
                  </a:lnTo>
                  <a:close/>
                </a:path>
              </a:pathLst>
            </a:custGeom>
            <a:solidFill>
              <a:srgbClr val="005F3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79" name="object 971">
              <a:extLst>
                <a:ext uri="{FF2B5EF4-FFF2-40B4-BE49-F238E27FC236}">
                  <a16:creationId xmlns:a16="http://schemas.microsoft.com/office/drawing/2014/main" id="{F8662AAA-AD06-4674-AC00-C534A772CEA9}"/>
                </a:ext>
              </a:extLst>
            </p:cNvPr>
            <p:cNvSpPr/>
            <p:nvPr/>
          </p:nvSpPr>
          <p:spPr>
            <a:xfrm>
              <a:off x="7983197" y="6248542"/>
              <a:ext cx="60325" cy="139065"/>
            </a:xfrm>
            <a:custGeom>
              <a:avLst/>
              <a:gdLst/>
              <a:ahLst/>
              <a:cxnLst/>
              <a:rect l="l" t="t" r="r" b="b"/>
              <a:pathLst>
                <a:path w="60325" h="139065">
                  <a:moveTo>
                    <a:pt x="37428" y="0"/>
                  </a:moveTo>
                  <a:lnTo>
                    <a:pt x="0" y="754"/>
                  </a:lnTo>
                  <a:lnTo>
                    <a:pt x="0" y="69969"/>
                  </a:lnTo>
                  <a:lnTo>
                    <a:pt x="2394" y="93171"/>
                  </a:lnTo>
                  <a:lnTo>
                    <a:pt x="9999" y="110666"/>
                  </a:lnTo>
                  <a:lnTo>
                    <a:pt x="23451" y="125065"/>
                  </a:lnTo>
                  <a:lnTo>
                    <a:pt x="43383" y="138980"/>
                  </a:lnTo>
                  <a:lnTo>
                    <a:pt x="41095" y="113958"/>
                  </a:lnTo>
                  <a:lnTo>
                    <a:pt x="38352" y="90481"/>
                  </a:lnTo>
                  <a:lnTo>
                    <a:pt x="34645" y="66628"/>
                  </a:lnTo>
                  <a:lnTo>
                    <a:pt x="38081" y="41163"/>
                  </a:lnTo>
                  <a:lnTo>
                    <a:pt x="50188" y="20812"/>
                  </a:lnTo>
                  <a:lnTo>
                    <a:pt x="59893" y="6916"/>
                  </a:lnTo>
                  <a:lnTo>
                    <a:pt x="56121" y="817"/>
                  </a:lnTo>
                  <a:lnTo>
                    <a:pt x="46486" y="209"/>
                  </a:lnTo>
                  <a:lnTo>
                    <a:pt x="37428" y="0"/>
                  </a:lnTo>
                  <a:close/>
                </a:path>
              </a:pathLst>
            </a:custGeom>
            <a:solidFill>
              <a:srgbClr val="005F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0" name="object 972">
              <a:extLst>
                <a:ext uri="{FF2B5EF4-FFF2-40B4-BE49-F238E27FC236}">
                  <a16:creationId xmlns:a16="http://schemas.microsoft.com/office/drawing/2014/main" id="{6EDB1B5B-BB73-430E-B316-53C9BB39CA0E}"/>
                </a:ext>
              </a:extLst>
            </p:cNvPr>
            <p:cNvSpPr/>
            <p:nvPr/>
          </p:nvSpPr>
          <p:spPr>
            <a:xfrm>
              <a:off x="7983194" y="6248581"/>
              <a:ext cx="59690" cy="139065"/>
            </a:xfrm>
            <a:custGeom>
              <a:avLst/>
              <a:gdLst/>
              <a:ahLst/>
              <a:cxnLst/>
              <a:rect l="l" t="t" r="r" b="b"/>
              <a:pathLst>
                <a:path w="59690" h="139065">
                  <a:moveTo>
                    <a:pt x="59232" y="6769"/>
                  </a:moveTo>
                  <a:lnTo>
                    <a:pt x="55575" y="762"/>
                  </a:lnTo>
                  <a:lnTo>
                    <a:pt x="45808" y="190"/>
                  </a:lnTo>
                  <a:lnTo>
                    <a:pt x="36779" y="0"/>
                  </a:lnTo>
                  <a:lnTo>
                    <a:pt x="36118" y="25"/>
                  </a:lnTo>
                  <a:lnTo>
                    <a:pt x="0" y="711"/>
                  </a:lnTo>
                  <a:lnTo>
                    <a:pt x="0" y="69938"/>
                  </a:lnTo>
                  <a:lnTo>
                    <a:pt x="2324" y="93027"/>
                  </a:lnTo>
                  <a:lnTo>
                    <a:pt x="9715" y="110248"/>
                  </a:lnTo>
                  <a:lnTo>
                    <a:pt x="9817" y="110375"/>
                  </a:lnTo>
                  <a:lnTo>
                    <a:pt x="17500" y="118681"/>
                  </a:lnTo>
                  <a:lnTo>
                    <a:pt x="22733" y="124320"/>
                  </a:lnTo>
                  <a:lnTo>
                    <a:pt x="23088" y="124675"/>
                  </a:lnTo>
                  <a:lnTo>
                    <a:pt x="42672" y="138442"/>
                  </a:lnTo>
                  <a:lnTo>
                    <a:pt x="40208" y="113906"/>
                  </a:lnTo>
                  <a:lnTo>
                    <a:pt x="37363" y="90728"/>
                  </a:lnTo>
                  <a:lnTo>
                    <a:pt x="33616" y="66954"/>
                  </a:lnTo>
                  <a:lnTo>
                    <a:pt x="37071" y="41071"/>
                  </a:lnTo>
                  <a:lnTo>
                    <a:pt x="49339" y="20599"/>
                  </a:lnTo>
                  <a:lnTo>
                    <a:pt x="59232" y="6769"/>
                  </a:lnTo>
                  <a:close/>
                </a:path>
              </a:pathLst>
            </a:custGeom>
            <a:solidFill>
              <a:srgbClr val="005E3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1" name="object 973">
              <a:extLst>
                <a:ext uri="{FF2B5EF4-FFF2-40B4-BE49-F238E27FC236}">
                  <a16:creationId xmlns:a16="http://schemas.microsoft.com/office/drawing/2014/main" id="{46674C82-AB13-4D62-99FB-35C3B8EDACC7}"/>
                </a:ext>
              </a:extLst>
            </p:cNvPr>
            <p:cNvSpPr/>
            <p:nvPr/>
          </p:nvSpPr>
          <p:spPr>
            <a:xfrm>
              <a:off x="7983182" y="6248645"/>
              <a:ext cx="58419" cy="137795"/>
            </a:xfrm>
            <a:custGeom>
              <a:avLst/>
              <a:gdLst/>
              <a:ahLst/>
              <a:cxnLst/>
              <a:rect l="l" t="t" r="r" b="b"/>
              <a:pathLst>
                <a:path w="58420" h="137795">
                  <a:moveTo>
                    <a:pt x="57912" y="6477"/>
                  </a:moveTo>
                  <a:lnTo>
                    <a:pt x="54483" y="685"/>
                  </a:lnTo>
                  <a:lnTo>
                    <a:pt x="53924" y="660"/>
                  </a:lnTo>
                  <a:lnTo>
                    <a:pt x="44488" y="165"/>
                  </a:lnTo>
                  <a:lnTo>
                    <a:pt x="35483" y="0"/>
                  </a:lnTo>
                  <a:lnTo>
                    <a:pt x="596" y="660"/>
                  </a:lnTo>
                  <a:lnTo>
                    <a:pt x="12" y="660"/>
                  </a:lnTo>
                  <a:lnTo>
                    <a:pt x="0" y="69875"/>
                  </a:lnTo>
                  <a:lnTo>
                    <a:pt x="2286" y="92849"/>
                  </a:lnTo>
                  <a:lnTo>
                    <a:pt x="2476" y="93319"/>
                  </a:lnTo>
                  <a:lnTo>
                    <a:pt x="9448" y="109804"/>
                  </a:lnTo>
                  <a:lnTo>
                    <a:pt x="9550" y="109931"/>
                  </a:lnTo>
                  <a:lnTo>
                    <a:pt x="16459" y="117475"/>
                  </a:lnTo>
                  <a:lnTo>
                    <a:pt x="22034" y="123545"/>
                  </a:lnTo>
                  <a:lnTo>
                    <a:pt x="22390" y="123901"/>
                  </a:lnTo>
                  <a:lnTo>
                    <a:pt x="39052" y="135801"/>
                  </a:lnTo>
                  <a:lnTo>
                    <a:pt x="40525" y="136867"/>
                  </a:lnTo>
                  <a:lnTo>
                    <a:pt x="41262" y="137375"/>
                  </a:lnTo>
                  <a:lnTo>
                    <a:pt x="38468" y="113817"/>
                  </a:lnTo>
                  <a:lnTo>
                    <a:pt x="35394" y="91249"/>
                  </a:lnTo>
                  <a:lnTo>
                    <a:pt x="31584" y="67640"/>
                  </a:lnTo>
                  <a:lnTo>
                    <a:pt x="35090" y="40881"/>
                  </a:lnTo>
                  <a:lnTo>
                    <a:pt x="47663" y="20193"/>
                  </a:lnTo>
                  <a:lnTo>
                    <a:pt x="57912" y="6477"/>
                  </a:lnTo>
                  <a:close/>
                </a:path>
              </a:pathLst>
            </a:custGeom>
            <a:solidFill>
              <a:srgbClr val="005D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2" name="object 974">
              <a:extLst>
                <a:ext uri="{FF2B5EF4-FFF2-40B4-BE49-F238E27FC236}">
                  <a16:creationId xmlns:a16="http://schemas.microsoft.com/office/drawing/2014/main" id="{7DCD58F0-03F7-456D-B456-665158C47AE6}"/>
                </a:ext>
              </a:extLst>
            </p:cNvPr>
            <p:cNvSpPr/>
            <p:nvPr/>
          </p:nvSpPr>
          <p:spPr>
            <a:xfrm>
              <a:off x="7983194" y="6248695"/>
              <a:ext cx="57150" cy="136525"/>
            </a:xfrm>
            <a:custGeom>
              <a:avLst/>
              <a:gdLst/>
              <a:ahLst/>
              <a:cxnLst/>
              <a:rect l="l" t="t" r="r" b="b"/>
              <a:pathLst>
                <a:path w="57150" h="136525">
                  <a:moveTo>
                    <a:pt x="56565" y="6197"/>
                  </a:moveTo>
                  <a:lnTo>
                    <a:pt x="53352" y="596"/>
                  </a:lnTo>
                  <a:lnTo>
                    <a:pt x="52819" y="584"/>
                  </a:lnTo>
                  <a:lnTo>
                    <a:pt x="52260" y="571"/>
                  </a:lnTo>
                  <a:lnTo>
                    <a:pt x="43141" y="152"/>
                  </a:lnTo>
                  <a:lnTo>
                    <a:pt x="34175" y="0"/>
                  </a:lnTo>
                  <a:lnTo>
                    <a:pt x="0" y="596"/>
                  </a:lnTo>
                  <a:lnTo>
                    <a:pt x="0" y="69824"/>
                  </a:lnTo>
                  <a:lnTo>
                    <a:pt x="2184" y="92633"/>
                  </a:lnTo>
                  <a:lnTo>
                    <a:pt x="2311" y="92951"/>
                  </a:lnTo>
                  <a:lnTo>
                    <a:pt x="9017" y="109169"/>
                  </a:lnTo>
                  <a:lnTo>
                    <a:pt x="9156" y="109372"/>
                  </a:lnTo>
                  <a:lnTo>
                    <a:pt x="9258" y="109499"/>
                  </a:lnTo>
                  <a:lnTo>
                    <a:pt x="14439" y="115227"/>
                  </a:lnTo>
                  <a:lnTo>
                    <a:pt x="18694" y="119913"/>
                  </a:lnTo>
                  <a:lnTo>
                    <a:pt x="20955" y="122415"/>
                  </a:lnTo>
                  <a:lnTo>
                    <a:pt x="21297" y="122770"/>
                  </a:lnTo>
                  <a:lnTo>
                    <a:pt x="21424" y="122872"/>
                  </a:lnTo>
                  <a:lnTo>
                    <a:pt x="21666" y="123126"/>
                  </a:lnTo>
                  <a:lnTo>
                    <a:pt x="37706" y="134797"/>
                  </a:lnTo>
                  <a:lnTo>
                    <a:pt x="38392" y="135293"/>
                  </a:lnTo>
                  <a:lnTo>
                    <a:pt x="39814" y="136309"/>
                  </a:lnTo>
                  <a:lnTo>
                    <a:pt x="33413" y="91782"/>
                  </a:lnTo>
                  <a:lnTo>
                    <a:pt x="29514" y="68326"/>
                  </a:lnTo>
                  <a:lnTo>
                    <a:pt x="33083" y="40703"/>
                  </a:lnTo>
                  <a:lnTo>
                    <a:pt x="45961" y="19786"/>
                  </a:lnTo>
                  <a:lnTo>
                    <a:pt x="56565" y="6197"/>
                  </a:lnTo>
                  <a:close/>
                </a:path>
              </a:pathLst>
            </a:custGeom>
            <a:solidFill>
              <a:srgbClr val="005C3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3" name="object 975">
              <a:extLst>
                <a:ext uri="{FF2B5EF4-FFF2-40B4-BE49-F238E27FC236}">
                  <a16:creationId xmlns:a16="http://schemas.microsoft.com/office/drawing/2014/main" id="{3D55EE0A-C8A8-4D30-A6B8-AA93440CB75B}"/>
                </a:ext>
              </a:extLst>
            </p:cNvPr>
            <p:cNvSpPr/>
            <p:nvPr/>
          </p:nvSpPr>
          <p:spPr>
            <a:xfrm>
              <a:off x="7983194" y="6248791"/>
              <a:ext cx="54610" cy="135255"/>
            </a:xfrm>
            <a:custGeom>
              <a:avLst/>
              <a:gdLst/>
              <a:ahLst/>
              <a:cxnLst/>
              <a:rect l="l" t="t" r="r" b="b"/>
              <a:pathLst>
                <a:path w="54609" h="135254">
                  <a:moveTo>
                    <a:pt x="32229" y="0"/>
                  </a:moveTo>
                  <a:lnTo>
                    <a:pt x="0" y="501"/>
                  </a:lnTo>
                  <a:lnTo>
                    <a:pt x="0" y="69729"/>
                  </a:lnTo>
                  <a:lnTo>
                    <a:pt x="2153" y="92473"/>
                  </a:lnTo>
                  <a:lnTo>
                    <a:pt x="8883" y="108877"/>
                  </a:lnTo>
                  <a:lnTo>
                    <a:pt x="20595" y="121946"/>
                  </a:lnTo>
                  <a:lnTo>
                    <a:pt x="37693" y="134689"/>
                  </a:lnTo>
                  <a:lnTo>
                    <a:pt x="26441" y="69322"/>
                  </a:lnTo>
                  <a:lnTo>
                    <a:pt x="30086" y="40421"/>
                  </a:lnTo>
                  <a:lnTo>
                    <a:pt x="43421" y="19156"/>
                  </a:lnTo>
                  <a:lnTo>
                    <a:pt x="54584" y="5756"/>
                  </a:lnTo>
                  <a:lnTo>
                    <a:pt x="51714" y="450"/>
                  </a:lnTo>
                  <a:lnTo>
                    <a:pt x="32229" y="0"/>
                  </a:lnTo>
                  <a:close/>
                </a:path>
              </a:pathLst>
            </a:custGeom>
            <a:solidFill>
              <a:srgbClr val="005B3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4" name="object 976">
              <a:extLst>
                <a:ext uri="{FF2B5EF4-FFF2-40B4-BE49-F238E27FC236}">
                  <a16:creationId xmlns:a16="http://schemas.microsoft.com/office/drawing/2014/main" id="{B89915E3-93CD-451E-94FD-142DCC4A0B5A}"/>
                </a:ext>
              </a:extLst>
            </p:cNvPr>
            <p:cNvSpPr/>
            <p:nvPr/>
          </p:nvSpPr>
          <p:spPr>
            <a:xfrm>
              <a:off x="7983204" y="6248820"/>
              <a:ext cx="53975" cy="134620"/>
            </a:xfrm>
            <a:custGeom>
              <a:avLst/>
              <a:gdLst/>
              <a:ahLst/>
              <a:cxnLst/>
              <a:rect l="l" t="t" r="r" b="b"/>
              <a:pathLst>
                <a:path w="53975" h="134620">
                  <a:moveTo>
                    <a:pt x="31567" y="0"/>
                  </a:moveTo>
                  <a:lnTo>
                    <a:pt x="0" y="473"/>
                  </a:lnTo>
                  <a:lnTo>
                    <a:pt x="0" y="69688"/>
                  </a:lnTo>
                  <a:lnTo>
                    <a:pt x="2122" y="92383"/>
                  </a:lnTo>
                  <a:lnTo>
                    <a:pt x="8740" y="108654"/>
                  </a:lnTo>
                  <a:lnTo>
                    <a:pt x="20231" y="121558"/>
                  </a:lnTo>
                  <a:lnTo>
                    <a:pt x="36969" y="134153"/>
                  </a:lnTo>
                  <a:lnTo>
                    <a:pt x="25412" y="69662"/>
                  </a:lnTo>
                  <a:lnTo>
                    <a:pt x="29084" y="40329"/>
                  </a:lnTo>
                  <a:lnTo>
                    <a:pt x="42568" y="18949"/>
                  </a:lnTo>
                  <a:lnTo>
                    <a:pt x="53907" y="5617"/>
                  </a:lnTo>
                  <a:lnTo>
                    <a:pt x="51142" y="422"/>
                  </a:lnTo>
                  <a:lnTo>
                    <a:pt x="31567" y="0"/>
                  </a:lnTo>
                  <a:close/>
                </a:path>
              </a:pathLst>
            </a:custGeom>
            <a:solidFill>
              <a:srgbClr val="005B3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5" name="object 977">
              <a:extLst>
                <a:ext uri="{FF2B5EF4-FFF2-40B4-BE49-F238E27FC236}">
                  <a16:creationId xmlns:a16="http://schemas.microsoft.com/office/drawing/2014/main" id="{92A0B958-E4C8-47E0-BB52-5AD304714BC6}"/>
                </a:ext>
              </a:extLst>
            </p:cNvPr>
            <p:cNvSpPr/>
            <p:nvPr/>
          </p:nvSpPr>
          <p:spPr>
            <a:xfrm>
              <a:off x="7983194" y="6248848"/>
              <a:ext cx="53340" cy="133985"/>
            </a:xfrm>
            <a:custGeom>
              <a:avLst/>
              <a:gdLst/>
              <a:ahLst/>
              <a:cxnLst/>
              <a:rect l="l" t="t" r="r" b="b"/>
              <a:pathLst>
                <a:path w="53340" h="133984">
                  <a:moveTo>
                    <a:pt x="53251" y="5486"/>
                  </a:moveTo>
                  <a:lnTo>
                    <a:pt x="50596" y="381"/>
                  </a:lnTo>
                  <a:lnTo>
                    <a:pt x="50050" y="381"/>
                  </a:lnTo>
                  <a:lnTo>
                    <a:pt x="45580" y="292"/>
                  </a:lnTo>
                  <a:lnTo>
                    <a:pt x="30924" y="0"/>
                  </a:lnTo>
                  <a:lnTo>
                    <a:pt x="0" y="444"/>
                  </a:lnTo>
                  <a:lnTo>
                    <a:pt x="0" y="69672"/>
                  </a:lnTo>
                  <a:lnTo>
                    <a:pt x="2070" y="92252"/>
                  </a:lnTo>
                  <a:lnTo>
                    <a:pt x="8458" y="108242"/>
                  </a:lnTo>
                  <a:lnTo>
                    <a:pt x="8559" y="108369"/>
                  </a:lnTo>
                  <a:lnTo>
                    <a:pt x="14833" y="115493"/>
                  </a:lnTo>
                  <a:lnTo>
                    <a:pt x="19519" y="120815"/>
                  </a:lnTo>
                  <a:lnTo>
                    <a:pt x="19875" y="121183"/>
                  </a:lnTo>
                  <a:lnTo>
                    <a:pt x="31572" y="130086"/>
                  </a:lnTo>
                  <a:lnTo>
                    <a:pt x="35547" y="133121"/>
                  </a:lnTo>
                  <a:lnTo>
                    <a:pt x="36258" y="133629"/>
                  </a:lnTo>
                  <a:lnTo>
                    <a:pt x="32308" y="113474"/>
                  </a:lnTo>
                  <a:lnTo>
                    <a:pt x="24384" y="70015"/>
                  </a:lnTo>
                  <a:lnTo>
                    <a:pt x="28079" y="40246"/>
                  </a:lnTo>
                  <a:lnTo>
                    <a:pt x="41719" y="18757"/>
                  </a:lnTo>
                  <a:lnTo>
                    <a:pt x="53251" y="5486"/>
                  </a:lnTo>
                  <a:close/>
                </a:path>
              </a:pathLst>
            </a:custGeom>
            <a:solidFill>
              <a:srgbClr val="005A3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6" name="object 978">
              <a:extLst>
                <a:ext uri="{FF2B5EF4-FFF2-40B4-BE49-F238E27FC236}">
                  <a16:creationId xmlns:a16="http://schemas.microsoft.com/office/drawing/2014/main" id="{66B6B163-3D3D-4C72-B5B8-4F8EA85B1F9A}"/>
                </a:ext>
              </a:extLst>
            </p:cNvPr>
            <p:cNvSpPr/>
            <p:nvPr/>
          </p:nvSpPr>
          <p:spPr>
            <a:xfrm>
              <a:off x="7983194" y="6248911"/>
              <a:ext cx="52069" cy="132715"/>
            </a:xfrm>
            <a:custGeom>
              <a:avLst/>
              <a:gdLst/>
              <a:ahLst/>
              <a:cxnLst/>
              <a:rect l="l" t="t" r="r" b="b"/>
              <a:pathLst>
                <a:path w="52070" h="132715">
                  <a:moveTo>
                    <a:pt x="51917" y="5194"/>
                  </a:moveTo>
                  <a:lnTo>
                    <a:pt x="49491" y="292"/>
                  </a:lnTo>
                  <a:lnTo>
                    <a:pt x="48933" y="292"/>
                  </a:lnTo>
                  <a:lnTo>
                    <a:pt x="37782" y="76"/>
                  </a:lnTo>
                  <a:lnTo>
                    <a:pt x="35852" y="101"/>
                  </a:lnTo>
                  <a:lnTo>
                    <a:pt x="29616" y="0"/>
                  </a:lnTo>
                  <a:lnTo>
                    <a:pt x="0" y="381"/>
                  </a:lnTo>
                  <a:lnTo>
                    <a:pt x="0" y="69608"/>
                  </a:lnTo>
                  <a:lnTo>
                    <a:pt x="2006" y="92075"/>
                  </a:lnTo>
                  <a:lnTo>
                    <a:pt x="8191" y="107797"/>
                  </a:lnTo>
                  <a:lnTo>
                    <a:pt x="8318" y="107988"/>
                  </a:lnTo>
                  <a:lnTo>
                    <a:pt x="13157" y="113538"/>
                  </a:lnTo>
                  <a:lnTo>
                    <a:pt x="18808" y="120040"/>
                  </a:lnTo>
                  <a:lnTo>
                    <a:pt x="18948" y="120154"/>
                  </a:lnTo>
                  <a:lnTo>
                    <a:pt x="19164" y="120396"/>
                  </a:lnTo>
                  <a:lnTo>
                    <a:pt x="28714" y="127812"/>
                  </a:lnTo>
                  <a:lnTo>
                    <a:pt x="34124" y="132041"/>
                  </a:lnTo>
                  <a:lnTo>
                    <a:pt x="34836" y="132549"/>
                  </a:lnTo>
                  <a:lnTo>
                    <a:pt x="26504" y="93586"/>
                  </a:lnTo>
                  <a:lnTo>
                    <a:pt x="22339" y="70688"/>
                  </a:lnTo>
                  <a:lnTo>
                    <a:pt x="26098" y="40055"/>
                  </a:lnTo>
                  <a:lnTo>
                    <a:pt x="40043" y="18338"/>
                  </a:lnTo>
                  <a:lnTo>
                    <a:pt x="51917" y="5194"/>
                  </a:lnTo>
                  <a:close/>
                </a:path>
              </a:pathLst>
            </a:custGeom>
            <a:solidFill>
              <a:srgbClr val="0059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7" name="object 979">
              <a:extLst>
                <a:ext uri="{FF2B5EF4-FFF2-40B4-BE49-F238E27FC236}">
                  <a16:creationId xmlns:a16="http://schemas.microsoft.com/office/drawing/2014/main" id="{D0782FEC-50FC-487D-A46F-F4F5FA55BC7C}"/>
                </a:ext>
              </a:extLst>
            </p:cNvPr>
            <p:cNvSpPr/>
            <p:nvPr/>
          </p:nvSpPr>
          <p:spPr>
            <a:xfrm>
              <a:off x="7983194" y="6249013"/>
              <a:ext cx="50800" cy="131445"/>
            </a:xfrm>
            <a:custGeom>
              <a:avLst/>
              <a:gdLst/>
              <a:ahLst/>
              <a:cxnLst/>
              <a:rect l="l" t="t" r="r" b="b"/>
              <a:pathLst>
                <a:path w="50800" h="131445">
                  <a:moveTo>
                    <a:pt x="50596" y="4851"/>
                  </a:moveTo>
                  <a:lnTo>
                    <a:pt x="48387" y="165"/>
                  </a:lnTo>
                  <a:lnTo>
                    <a:pt x="47840" y="165"/>
                  </a:lnTo>
                  <a:lnTo>
                    <a:pt x="42849" y="88"/>
                  </a:lnTo>
                  <a:lnTo>
                    <a:pt x="37109" y="0"/>
                  </a:lnTo>
                  <a:lnTo>
                    <a:pt x="36449" y="12"/>
                  </a:lnTo>
                  <a:lnTo>
                    <a:pt x="22910" y="114"/>
                  </a:lnTo>
                  <a:lnTo>
                    <a:pt x="0" y="279"/>
                  </a:lnTo>
                  <a:lnTo>
                    <a:pt x="0" y="69507"/>
                  </a:lnTo>
                  <a:lnTo>
                    <a:pt x="1943" y="91859"/>
                  </a:lnTo>
                  <a:lnTo>
                    <a:pt x="7912" y="107315"/>
                  </a:lnTo>
                  <a:lnTo>
                    <a:pt x="8039" y="107518"/>
                  </a:lnTo>
                  <a:lnTo>
                    <a:pt x="12979" y="113258"/>
                  </a:lnTo>
                  <a:lnTo>
                    <a:pt x="18097" y="119227"/>
                  </a:lnTo>
                  <a:lnTo>
                    <a:pt x="18249" y="119354"/>
                  </a:lnTo>
                  <a:lnTo>
                    <a:pt x="18453" y="119583"/>
                  </a:lnTo>
                  <a:lnTo>
                    <a:pt x="26390" y="125895"/>
                  </a:lnTo>
                  <a:lnTo>
                    <a:pt x="32702" y="130937"/>
                  </a:lnTo>
                  <a:lnTo>
                    <a:pt x="33413" y="131445"/>
                  </a:lnTo>
                  <a:lnTo>
                    <a:pt x="28803" y="113245"/>
                  </a:lnTo>
                  <a:lnTo>
                    <a:pt x="24536" y="94056"/>
                  </a:lnTo>
                  <a:lnTo>
                    <a:pt x="20281" y="71323"/>
                  </a:lnTo>
                  <a:lnTo>
                    <a:pt x="24091" y="39839"/>
                  </a:lnTo>
                  <a:lnTo>
                    <a:pt x="38341" y="17881"/>
                  </a:lnTo>
                  <a:lnTo>
                    <a:pt x="50596" y="4851"/>
                  </a:lnTo>
                  <a:close/>
                </a:path>
              </a:pathLst>
            </a:custGeom>
            <a:solidFill>
              <a:srgbClr val="0058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8" name="object 980">
              <a:extLst>
                <a:ext uri="{FF2B5EF4-FFF2-40B4-BE49-F238E27FC236}">
                  <a16:creationId xmlns:a16="http://schemas.microsoft.com/office/drawing/2014/main" id="{387EEBF2-316D-4CB4-95E1-8CE7ECB2A1DD}"/>
                </a:ext>
              </a:extLst>
            </p:cNvPr>
            <p:cNvSpPr/>
            <p:nvPr/>
          </p:nvSpPr>
          <p:spPr>
            <a:xfrm>
              <a:off x="7983199" y="6249042"/>
              <a:ext cx="49530" cy="130810"/>
            </a:xfrm>
            <a:custGeom>
              <a:avLst/>
              <a:gdLst/>
              <a:ahLst/>
              <a:cxnLst/>
              <a:rect l="l" t="t" r="r" b="b"/>
              <a:pathLst>
                <a:path w="49529" h="130809">
                  <a:moveTo>
                    <a:pt x="47282" y="97"/>
                  </a:moveTo>
                  <a:lnTo>
                    <a:pt x="35777" y="0"/>
                  </a:lnTo>
                  <a:lnTo>
                    <a:pt x="0" y="250"/>
                  </a:lnTo>
                  <a:lnTo>
                    <a:pt x="0" y="69465"/>
                  </a:lnTo>
                  <a:lnTo>
                    <a:pt x="1912" y="91766"/>
                  </a:lnTo>
                  <a:lnTo>
                    <a:pt x="7766" y="107085"/>
                  </a:lnTo>
                  <a:lnTo>
                    <a:pt x="17734" y="118828"/>
                  </a:lnTo>
                  <a:lnTo>
                    <a:pt x="31991" y="130399"/>
                  </a:lnTo>
                  <a:lnTo>
                    <a:pt x="27043" y="113178"/>
                  </a:lnTo>
                  <a:lnTo>
                    <a:pt x="22556" y="94609"/>
                  </a:lnTo>
                  <a:lnTo>
                    <a:pt x="18237" y="72030"/>
                  </a:lnTo>
                  <a:lnTo>
                    <a:pt x="22096" y="39677"/>
                  </a:lnTo>
                  <a:lnTo>
                    <a:pt x="36655" y="17490"/>
                  </a:lnTo>
                  <a:lnTo>
                    <a:pt x="49266" y="4589"/>
                  </a:lnTo>
                  <a:lnTo>
                    <a:pt x="47282" y="97"/>
                  </a:lnTo>
                  <a:close/>
                </a:path>
              </a:pathLst>
            </a:custGeom>
            <a:solidFill>
              <a:srgbClr val="0057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89" name="object 981">
              <a:extLst>
                <a:ext uri="{FF2B5EF4-FFF2-40B4-BE49-F238E27FC236}">
                  <a16:creationId xmlns:a16="http://schemas.microsoft.com/office/drawing/2014/main" id="{AEBDC487-7254-4B6A-BA6C-D790B65AC676}"/>
                </a:ext>
              </a:extLst>
            </p:cNvPr>
            <p:cNvSpPr/>
            <p:nvPr/>
          </p:nvSpPr>
          <p:spPr>
            <a:xfrm>
              <a:off x="7983198" y="6249125"/>
              <a:ext cx="48895" cy="130175"/>
            </a:xfrm>
            <a:custGeom>
              <a:avLst/>
              <a:gdLst/>
              <a:ahLst/>
              <a:cxnLst/>
              <a:rect l="l" t="t" r="r" b="b"/>
              <a:pathLst>
                <a:path w="48895" h="130175">
                  <a:moveTo>
                    <a:pt x="46735" y="0"/>
                  </a:moveTo>
                  <a:lnTo>
                    <a:pt x="0" y="165"/>
                  </a:lnTo>
                  <a:lnTo>
                    <a:pt x="0" y="69392"/>
                  </a:lnTo>
                  <a:lnTo>
                    <a:pt x="1881" y="91630"/>
                  </a:lnTo>
                  <a:lnTo>
                    <a:pt x="7624" y="106810"/>
                  </a:lnTo>
                  <a:lnTo>
                    <a:pt x="17375" y="118384"/>
                  </a:lnTo>
                  <a:lnTo>
                    <a:pt x="31280" y="129806"/>
                  </a:lnTo>
                  <a:lnTo>
                    <a:pt x="26169" y="113076"/>
                  </a:lnTo>
                  <a:lnTo>
                    <a:pt x="21577" y="94814"/>
                  </a:lnTo>
                  <a:lnTo>
                    <a:pt x="17221" y="72313"/>
                  </a:lnTo>
                  <a:lnTo>
                    <a:pt x="21102" y="39529"/>
                  </a:lnTo>
                  <a:lnTo>
                    <a:pt x="35812" y="17230"/>
                  </a:lnTo>
                  <a:lnTo>
                    <a:pt x="48605" y="4394"/>
                  </a:lnTo>
                  <a:lnTo>
                    <a:pt x="46735" y="0"/>
                  </a:lnTo>
                  <a:close/>
                </a:path>
              </a:pathLst>
            </a:custGeom>
            <a:solidFill>
              <a:srgbClr val="0057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0" name="object 982">
              <a:extLst>
                <a:ext uri="{FF2B5EF4-FFF2-40B4-BE49-F238E27FC236}">
                  <a16:creationId xmlns:a16="http://schemas.microsoft.com/office/drawing/2014/main" id="{2A504DE9-5E17-45CC-A9A8-016DF92F5346}"/>
                </a:ext>
              </a:extLst>
            </p:cNvPr>
            <p:cNvSpPr/>
            <p:nvPr/>
          </p:nvSpPr>
          <p:spPr>
            <a:xfrm>
              <a:off x="7983199" y="6249106"/>
              <a:ext cx="48260" cy="129539"/>
            </a:xfrm>
            <a:custGeom>
              <a:avLst/>
              <a:gdLst/>
              <a:ahLst/>
              <a:cxnLst/>
              <a:rect l="l" t="t" r="r" b="b"/>
              <a:pathLst>
                <a:path w="48259" h="129540">
                  <a:moveTo>
                    <a:pt x="46177" y="0"/>
                  </a:moveTo>
                  <a:lnTo>
                    <a:pt x="0" y="190"/>
                  </a:lnTo>
                  <a:lnTo>
                    <a:pt x="0" y="69405"/>
                  </a:lnTo>
                  <a:lnTo>
                    <a:pt x="1852" y="91594"/>
                  </a:lnTo>
                  <a:lnTo>
                    <a:pt x="7488" y="106641"/>
                  </a:lnTo>
                  <a:lnTo>
                    <a:pt x="17021" y="118050"/>
                  </a:lnTo>
                  <a:lnTo>
                    <a:pt x="30568" y="129324"/>
                  </a:lnTo>
                  <a:lnTo>
                    <a:pt x="25290" y="113074"/>
                  </a:lnTo>
                  <a:lnTo>
                    <a:pt x="20587" y="95119"/>
                  </a:lnTo>
                  <a:lnTo>
                    <a:pt x="16192" y="72707"/>
                  </a:lnTo>
                  <a:lnTo>
                    <a:pt x="20100" y="39496"/>
                  </a:lnTo>
                  <a:lnTo>
                    <a:pt x="34961" y="17079"/>
                  </a:lnTo>
                  <a:lnTo>
                    <a:pt x="47933" y="4300"/>
                  </a:lnTo>
                  <a:lnTo>
                    <a:pt x="46177" y="0"/>
                  </a:lnTo>
                  <a:close/>
                </a:path>
              </a:pathLst>
            </a:custGeom>
            <a:solidFill>
              <a:srgbClr val="005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1" name="object 983">
              <a:extLst>
                <a:ext uri="{FF2B5EF4-FFF2-40B4-BE49-F238E27FC236}">
                  <a16:creationId xmlns:a16="http://schemas.microsoft.com/office/drawing/2014/main" id="{4287A9A0-E0FB-4A8A-B432-2CF7244E399C}"/>
                </a:ext>
              </a:extLst>
            </p:cNvPr>
            <p:cNvSpPr/>
            <p:nvPr/>
          </p:nvSpPr>
          <p:spPr>
            <a:xfrm>
              <a:off x="7983198" y="6249094"/>
              <a:ext cx="47625" cy="128905"/>
            </a:xfrm>
            <a:custGeom>
              <a:avLst/>
              <a:gdLst/>
              <a:ahLst/>
              <a:cxnLst/>
              <a:rect l="l" t="t" r="r" b="b"/>
              <a:pathLst>
                <a:path w="47625" h="128904">
                  <a:moveTo>
                    <a:pt x="45631" y="0"/>
                  </a:moveTo>
                  <a:lnTo>
                    <a:pt x="0" y="203"/>
                  </a:lnTo>
                  <a:lnTo>
                    <a:pt x="0" y="69418"/>
                  </a:lnTo>
                  <a:lnTo>
                    <a:pt x="1822" y="91550"/>
                  </a:lnTo>
                  <a:lnTo>
                    <a:pt x="7346" y="106462"/>
                  </a:lnTo>
                  <a:lnTo>
                    <a:pt x="16662" y="117704"/>
                  </a:lnTo>
                  <a:lnTo>
                    <a:pt x="29857" y="128828"/>
                  </a:lnTo>
                  <a:lnTo>
                    <a:pt x="28274" y="124661"/>
                  </a:lnTo>
                  <a:lnTo>
                    <a:pt x="24410" y="113069"/>
                  </a:lnTo>
                  <a:lnTo>
                    <a:pt x="19597" y="95422"/>
                  </a:lnTo>
                  <a:lnTo>
                    <a:pt x="15163" y="73088"/>
                  </a:lnTo>
                  <a:lnTo>
                    <a:pt x="19095" y="39444"/>
                  </a:lnTo>
                  <a:lnTo>
                    <a:pt x="34112" y="16913"/>
                  </a:lnTo>
                  <a:lnTo>
                    <a:pt x="47271" y="4197"/>
                  </a:lnTo>
                  <a:lnTo>
                    <a:pt x="45631" y="0"/>
                  </a:lnTo>
                  <a:close/>
                </a:path>
              </a:pathLst>
            </a:custGeom>
            <a:solidFill>
              <a:srgbClr val="0056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2" name="object 984">
              <a:extLst>
                <a:ext uri="{FF2B5EF4-FFF2-40B4-BE49-F238E27FC236}">
                  <a16:creationId xmlns:a16="http://schemas.microsoft.com/office/drawing/2014/main" id="{2401EAD3-78E2-481F-B523-9011BEFF1700}"/>
                </a:ext>
              </a:extLst>
            </p:cNvPr>
            <p:cNvSpPr/>
            <p:nvPr/>
          </p:nvSpPr>
          <p:spPr>
            <a:xfrm>
              <a:off x="7983194" y="6249076"/>
              <a:ext cx="46990" cy="128905"/>
            </a:xfrm>
            <a:custGeom>
              <a:avLst/>
              <a:gdLst/>
              <a:ahLst/>
              <a:cxnLst/>
              <a:rect l="l" t="t" r="r" b="b"/>
              <a:pathLst>
                <a:path w="46990" h="128904">
                  <a:moveTo>
                    <a:pt x="46609" y="4102"/>
                  </a:moveTo>
                  <a:lnTo>
                    <a:pt x="45072" y="12"/>
                  </a:lnTo>
                  <a:lnTo>
                    <a:pt x="44526" y="25"/>
                  </a:lnTo>
                  <a:lnTo>
                    <a:pt x="0" y="215"/>
                  </a:lnTo>
                  <a:lnTo>
                    <a:pt x="0" y="69443"/>
                  </a:lnTo>
                  <a:lnTo>
                    <a:pt x="1765" y="91465"/>
                  </a:lnTo>
                  <a:lnTo>
                    <a:pt x="7061" y="106095"/>
                  </a:lnTo>
                  <a:lnTo>
                    <a:pt x="7188" y="106260"/>
                  </a:lnTo>
                  <a:lnTo>
                    <a:pt x="8928" y="108407"/>
                  </a:lnTo>
                  <a:lnTo>
                    <a:pt x="15951" y="117005"/>
                  </a:lnTo>
                  <a:lnTo>
                    <a:pt x="16167" y="117208"/>
                  </a:lnTo>
                  <a:lnTo>
                    <a:pt x="16306" y="117360"/>
                  </a:lnTo>
                  <a:lnTo>
                    <a:pt x="20167" y="120675"/>
                  </a:lnTo>
                  <a:lnTo>
                    <a:pt x="28435" y="127838"/>
                  </a:lnTo>
                  <a:lnTo>
                    <a:pt x="28359" y="127685"/>
                  </a:lnTo>
                  <a:lnTo>
                    <a:pt x="29146" y="128346"/>
                  </a:lnTo>
                  <a:lnTo>
                    <a:pt x="27508" y="124333"/>
                  </a:lnTo>
                  <a:lnTo>
                    <a:pt x="23533" y="113068"/>
                  </a:lnTo>
                  <a:lnTo>
                    <a:pt x="18605" y="95732"/>
                  </a:lnTo>
                  <a:lnTo>
                    <a:pt x="14135" y="73482"/>
                  </a:lnTo>
                  <a:lnTo>
                    <a:pt x="18097" y="39408"/>
                  </a:lnTo>
                  <a:lnTo>
                    <a:pt x="33261" y="16764"/>
                  </a:lnTo>
                  <a:lnTo>
                    <a:pt x="46609" y="4102"/>
                  </a:lnTo>
                  <a:close/>
                </a:path>
              </a:pathLst>
            </a:custGeom>
            <a:solidFill>
              <a:srgbClr val="0255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3" name="object 985">
              <a:extLst>
                <a:ext uri="{FF2B5EF4-FFF2-40B4-BE49-F238E27FC236}">
                  <a16:creationId xmlns:a16="http://schemas.microsoft.com/office/drawing/2014/main" id="{A4DD0AD9-5FDE-4659-8CA4-958CB900464F}"/>
                </a:ext>
              </a:extLst>
            </p:cNvPr>
            <p:cNvSpPr/>
            <p:nvPr/>
          </p:nvSpPr>
          <p:spPr>
            <a:xfrm>
              <a:off x="7983194" y="6249051"/>
              <a:ext cx="45720" cy="127635"/>
            </a:xfrm>
            <a:custGeom>
              <a:avLst/>
              <a:gdLst/>
              <a:ahLst/>
              <a:cxnLst/>
              <a:rect l="l" t="t" r="r" b="b"/>
              <a:pathLst>
                <a:path w="45720" h="127634">
                  <a:moveTo>
                    <a:pt x="45275" y="3898"/>
                  </a:moveTo>
                  <a:lnTo>
                    <a:pt x="43967" y="12"/>
                  </a:lnTo>
                  <a:lnTo>
                    <a:pt x="43421" y="25"/>
                  </a:lnTo>
                  <a:lnTo>
                    <a:pt x="0" y="254"/>
                  </a:lnTo>
                  <a:lnTo>
                    <a:pt x="0" y="69469"/>
                  </a:lnTo>
                  <a:lnTo>
                    <a:pt x="1701" y="91376"/>
                  </a:lnTo>
                  <a:lnTo>
                    <a:pt x="6781" y="105740"/>
                  </a:lnTo>
                  <a:lnTo>
                    <a:pt x="6908" y="105905"/>
                  </a:lnTo>
                  <a:lnTo>
                    <a:pt x="8191" y="107518"/>
                  </a:lnTo>
                  <a:lnTo>
                    <a:pt x="15227" y="116319"/>
                  </a:lnTo>
                  <a:lnTo>
                    <a:pt x="15468" y="116547"/>
                  </a:lnTo>
                  <a:lnTo>
                    <a:pt x="15582" y="116674"/>
                  </a:lnTo>
                  <a:lnTo>
                    <a:pt x="18326" y="119100"/>
                  </a:lnTo>
                  <a:lnTo>
                    <a:pt x="27012" y="126860"/>
                  </a:lnTo>
                  <a:lnTo>
                    <a:pt x="26898" y="126657"/>
                  </a:lnTo>
                  <a:lnTo>
                    <a:pt x="27724" y="127368"/>
                  </a:lnTo>
                  <a:lnTo>
                    <a:pt x="25984" y="123659"/>
                  </a:lnTo>
                  <a:lnTo>
                    <a:pt x="21767" y="113068"/>
                  </a:lnTo>
                  <a:lnTo>
                    <a:pt x="16637" y="96342"/>
                  </a:lnTo>
                  <a:lnTo>
                    <a:pt x="12090" y="74244"/>
                  </a:lnTo>
                  <a:lnTo>
                    <a:pt x="16103" y="39306"/>
                  </a:lnTo>
                  <a:lnTo>
                    <a:pt x="31572" y="16433"/>
                  </a:lnTo>
                  <a:lnTo>
                    <a:pt x="45275" y="3898"/>
                  </a:lnTo>
                  <a:close/>
                </a:path>
              </a:pathLst>
            </a:custGeom>
            <a:solidFill>
              <a:srgbClr val="0254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4" name="object 986">
              <a:extLst>
                <a:ext uri="{FF2B5EF4-FFF2-40B4-BE49-F238E27FC236}">
                  <a16:creationId xmlns:a16="http://schemas.microsoft.com/office/drawing/2014/main" id="{1F452B54-8575-4958-80EB-C98F9EFD6158}"/>
                </a:ext>
              </a:extLst>
            </p:cNvPr>
            <p:cNvSpPr/>
            <p:nvPr/>
          </p:nvSpPr>
          <p:spPr>
            <a:xfrm>
              <a:off x="7983194" y="6249026"/>
              <a:ext cx="44450" cy="127000"/>
            </a:xfrm>
            <a:custGeom>
              <a:avLst/>
              <a:gdLst/>
              <a:ahLst/>
              <a:cxnLst/>
              <a:rect l="l" t="t" r="r" b="b"/>
              <a:pathLst>
                <a:path w="44450" h="127000">
                  <a:moveTo>
                    <a:pt x="43942" y="3695"/>
                  </a:moveTo>
                  <a:lnTo>
                    <a:pt x="42862" y="12"/>
                  </a:lnTo>
                  <a:lnTo>
                    <a:pt x="42316" y="25"/>
                  </a:lnTo>
                  <a:lnTo>
                    <a:pt x="0" y="266"/>
                  </a:lnTo>
                  <a:lnTo>
                    <a:pt x="0" y="69494"/>
                  </a:lnTo>
                  <a:lnTo>
                    <a:pt x="1638" y="91287"/>
                  </a:lnTo>
                  <a:lnTo>
                    <a:pt x="6502" y="105384"/>
                  </a:lnTo>
                  <a:lnTo>
                    <a:pt x="6629" y="105562"/>
                  </a:lnTo>
                  <a:lnTo>
                    <a:pt x="7645" y="106857"/>
                  </a:lnTo>
                  <a:lnTo>
                    <a:pt x="14516" y="115620"/>
                  </a:lnTo>
                  <a:lnTo>
                    <a:pt x="14744" y="115849"/>
                  </a:lnTo>
                  <a:lnTo>
                    <a:pt x="14871" y="115989"/>
                  </a:lnTo>
                  <a:lnTo>
                    <a:pt x="17233" y="118148"/>
                  </a:lnTo>
                  <a:lnTo>
                    <a:pt x="25590" y="125869"/>
                  </a:lnTo>
                  <a:lnTo>
                    <a:pt x="25412" y="125577"/>
                  </a:lnTo>
                  <a:lnTo>
                    <a:pt x="26301" y="126377"/>
                  </a:lnTo>
                  <a:lnTo>
                    <a:pt x="24447" y="122986"/>
                  </a:lnTo>
                  <a:lnTo>
                    <a:pt x="20015" y="113055"/>
                  </a:lnTo>
                  <a:lnTo>
                    <a:pt x="14668" y="96939"/>
                  </a:lnTo>
                  <a:lnTo>
                    <a:pt x="10045" y="75006"/>
                  </a:lnTo>
                  <a:lnTo>
                    <a:pt x="14109" y="39204"/>
                  </a:lnTo>
                  <a:lnTo>
                    <a:pt x="29883" y="16103"/>
                  </a:lnTo>
                  <a:lnTo>
                    <a:pt x="43942" y="3695"/>
                  </a:lnTo>
                  <a:close/>
                </a:path>
              </a:pathLst>
            </a:custGeom>
            <a:solidFill>
              <a:srgbClr val="025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5" name="object 987">
              <a:extLst>
                <a:ext uri="{FF2B5EF4-FFF2-40B4-BE49-F238E27FC236}">
                  <a16:creationId xmlns:a16="http://schemas.microsoft.com/office/drawing/2014/main" id="{517E3172-1869-4257-96BB-4540464BE66C}"/>
                </a:ext>
              </a:extLst>
            </p:cNvPr>
            <p:cNvSpPr/>
            <p:nvPr/>
          </p:nvSpPr>
          <p:spPr>
            <a:xfrm>
              <a:off x="7983193" y="6249008"/>
              <a:ext cx="43180" cy="125730"/>
            </a:xfrm>
            <a:custGeom>
              <a:avLst/>
              <a:gdLst/>
              <a:ahLst/>
              <a:cxnLst/>
              <a:rect l="l" t="t" r="r" b="b"/>
              <a:pathLst>
                <a:path w="43179" h="125729">
                  <a:moveTo>
                    <a:pt x="41757" y="0"/>
                  </a:moveTo>
                  <a:lnTo>
                    <a:pt x="29096" y="218"/>
                  </a:lnTo>
                  <a:lnTo>
                    <a:pt x="0" y="279"/>
                  </a:lnTo>
                  <a:lnTo>
                    <a:pt x="0" y="69507"/>
                  </a:lnTo>
                  <a:lnTo>
                    <a:pt x="1612" y="91243"/>
                  </a:lnTo>
                  <a:lnTo>
                    <a:pt x="6372" y="105198"/>
                  </a:lnTo>
                  <a:lnTo>
                    <a:pt x="14166" y="115275"/>
                  </a:lnTo>
                  <a:lnTo>
                    <a:pt x="24879" y="125374"/>
                  </a:lnTo>
                  <a:lnTo>
                    <a:pt x="22929" y="122295"/>
                  </a:lnTo>
                  <a:lnTo>
                    <a:pt x="18273" y="113028"/>
                  </a:lnTo>
                  <a:lnTo>
                    <a:pt x="12700" y="97529"/>
                  </a:lnTo>
                  <a:lnTo>
                    <a:pt x="8000" y="75755"/>
                  </a:lnTo>
                  <a:lnTo>
                    <a:pt x="12118" y="39094"/>
                  </a:lnTo>
                  <a:lnTo>
                    <a:pt x="28203" y="15760"/>
                  </a:lnTo>
                  <a:lnTo>
                    <a:pt x="42626" y="3485"/>
                  </a:lnTo>
                  <a:lnTo>
                    <a:pt x="41757" y="0"/>
                  </a:lnTo>
                  <a:close/>
                </a:path>
              </a:pathLst>
            </a:custGeom>
            <a:solidFill>
              <a:srgbClr val="0252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6" name="object 988">
              <a:extLst>
                <a:ext uri="{FF2B5EF4-FFF2-40B4-BE49-F238E27FC236}">
                  <a16:creationId xmlns:a16="http://schemas.microsoft.com/office/drawing/2014/main" id="{12D5607C-0953-45EF-B9B1-34E63510A5DC}"/>
                </a:ext>
              </a:extLst>
            </p:cNvPr>
            <p:cNvSpPr/>
            <p:nvPr/>
          </p:nvSpPr>
          <p:spPr>
            <a:xfrm>
              <a:off x="7983182" y="6248975"/>
              <a:ext cx="42545" cy="125095"/>
            </a:xfrm>
            <a:custGeom>
              <a:avLst/>
              <a:gdLst/>
              <a:ahLst/>
              <a:cxnLst/>
              <a:rect l="l" t="t" r="r" b="b"/>
              <a:pathLst>
                <a:path w="42545" h="125095">
                  <a:moveTo>
                    <a:pt x="41973" y="3416"/>
                  </a:moveTo>
                  <a:lnTo>
                    <a:pt x="41211" y="25"/>
                  </a:lnTo>
                  <a:lnTo>
                    <a:pt x="40665" y="38"/>
                  </a:lnTo>
                  <a:lnTo>
                    <a:pt x="28422" y="279"/>
                  </a:lnTo>
                  <a:lnTo>
                    <a:pt x="27762" y="292"/>
                  </a:lnTo>
                  <a:lnTo>
                    <a:pt x="12" y="317"/>
                  </a:lnTo>
                  <a:lnTo>
                    <a:pt x="0" y="69545"/>
                  </a:lnTo>
                  <a:lnTo>
                    <a:pt x="584" y="77546"/>
                  </a:lnTo>
                  <a:lnTo>
                    <a:pt x="1562" y="91173"/>
                  </a:lnTo>
                  <a:lnTo>
                    <a:pt x="6108" y="104851"/>
                  </a:lnTo>
                  <a:lnTo>
                    <a:pt x="6210" y="105003"/>
                  </a:lnTo>
                  <a:lnTo>
                    <a:pt x="7442" y="106629"/>
                  </a:lnTo>
                  <a:lnTo>
                    <a:pt x="13462" y="114604"/>
                  </a:lnTo>
                  <a:lnTo>
                    <a:pt x="13792" y="114935"/>
                  </a:lnTo>
                  <a:lnTo>
                    <a:pt x="14147" y="115290"/>
                  </a:lnTo>
                  <a:lnTo>
                    <a:pt x="23456" y="124409"/>
                  </a:lnTo>
                  <a:lnTo>
                    <a:pt x="22961" y="123761"/>
                  </a:lnTo>
                  <a:lnTo>
                    <a:pt x="24168" y="124904"/>
                  </a:lnTo>
                  <a:lnTo>
                    <a:pt x="22174" y="121983"/>
                  </a:lnTo>
                  <a:lnTo>
                    <a:pt x="17399" y="113055"/>
                  </a:lnTo>
                  <a:lnTo>
                    <a:pt x="11722" y="97866"/>
                  </a:lnTo>
                  <a:lnTo>
                    <a:pt x="6972" y="76161"/>
                  </a:lnTo>
                  <a:lnTo>
                    <a:pt x="11125" y="39077"/>
                  </a:lnTo>
                  <a:lnTo>
                    <a:pt x="27368" y="15633"/>
                  </a:lnTo>
                  <a:lnTo>
                    <a:pt x="41973" y="3416"/>
                  </a:lnTo>
                  <a:close/>
                </a:path>
              </a:pathLst>
            </a:custGeom>
            <a:solidFill>
              <a:srgbClr val="0251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7" name="object 989">
              <a:extLst>
                <a:ext uri="{FF2B5EF4-FFF2-40B4-BE49-F238E27FC236}">
                  <a16:creationId xmlns:a16="http://schemas.microsoft.com/office/drawing/2014/main" id="{4765E9E9-663C-4954-A45A-577604AAAE7D}"/>
                </a:ext>
              </a:extLst>
            </p:cNvPr>
            <p:cNvSpPr/>
            <p:nvPr/>
          </p:nvSpPr>
          <p:spPr>
            <a:xfrm>
              <a:off x="8043392" y="6264558"/>
              <a:ext cx="58419" cy="78740"/>
            </a:xfrm>
            <a:custGeom>
              <a:avLst/>
              <a:gdLst/>
              <a:ahLst/>
              <a:cxnLst/>
              <a:rect l="l" t="t" r="r" b="b"/>
              <a:pathLst>
                <a:path w="58420" h="78740">
                  <a:moveTo>
                    <a:pt x="58420" y="27482"/>
                  </a:moveTo>
                  <a:lnTo>
                    <a:pt x="57759" y="9042"/>
                  </a:lnTo>
                  <a:lnTo>
                    <a:pt x="57658" y="5778"/>
                  </a:lnTo>
                  <a:lnTo>
                    <a:pt x="57658" y="5613"/>
                  </a:lnTo>
                  <a:lnTo>
                    <a:pt x="51739" y="0"/>
                  </a:lnTo>
                  <a:lnTo>
                    <a:pt x="32867" y="15786"/>
                  </a:lnTo>
                  <a:lnTo>
                    <a:pt x="22796" y="24663"/>
                  </a:lnTo>
                  <a:lnTo>
                    <a:pt x="18122" y="29857"/>
                  </a:lnTo>
                  <a:lnTo>
                    <a:pt x="15443" y="34632"/>
                  </a:lnTo>
                  <a:lnTo>
                    <a:pt x="10922" y="40487"/>
                  </a:lnTo>
                  <a:lnTo>
                    <a:pt x="4902" y="46786"/>
                  </a:lnTo>
                  <a:lnTo>
                    <a:pt x="304" y="53467"/>
                  </a:lnTo>
                  <a:lnTo>
                    <a:pt x="0" y="60502"/>
                  </a:lnTo>
                  <a:lnTo>
                    <a:pt x="3225" y="65036"/>
                  </a:lnTo>
                  <a:lnTo>
                    <a:pt x="8191" y="65557"/>
                  </a:lnTo>
                  <a:lnTo>
                    <a:pt x="16256" y="64071"/>
                  </a:lnTo>
                  <a:lnTo>
                    <a:pt x="28790" y="62585"/>
                  </a:lnTo>
                  <a:lnTo>
                    <a:pt x="42468" y="66090"/>
                  </a:lnTo>
                  <a:lnTo>
                    <a:pt x="50228" y="73799"/>
                  </a:lnTo>
                  <a:lnTo>
                    <a:pt x="53848" y="78600"/>
                  </a:lnTo>
                  <a:lnTo>
                    <a:pt x="55079" y="73431"/>
                  </a:lnTo>
                  <a:lnTo>
                    <a:pt x="56680" y="53797"/>
                  </a:lnTo>
                  <a:lnTo>
                    <a:pt x="58420" y="27482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8" name="object 990">
              <a:extLst>
                <a:ext uri="{FF2B5EF4-FFF2-40B4-BE49-F238E27FC236}">
                  <a16:creationId xmlns:a16="http://schemas.microsoft.com/office/drawing/2014/main" id="{2102094A-1D64-4A97-B872-A3BA4A046BA8}"/>
                </a:ext>
              </a:extLst>
            </p:cNvPr>
            <p:cNvSpPr/>
            <p:nvPr/>
          </p:nvSpPr>
          <p:spPr>
            <a:xfrm>
              <a:off x="8043743" y="6264550"/>
              <a:ext cx="58419" cy="76200"/>
            </a:xfrm>
            <a:custGeom>
              <a:avLst/>
              <a:gdLst/>
              <a:ahLst/>
              <a:cxnLst/>
              <a:rect l="l" t="t" r="r" b="b"/>
              <a:pathLst>
                <a:path w="58420" h="76200">
                  <a:moveTo>
                    <a:pt x="51396" y="0"/>
                  </a:moveTo>
                  <a:lnTo>
                    <a:pt x="32520" y="15793"/>
                  </a:lnTo>
                  <a:lnTo>
                    <a:pt x="22447" y="24664"/>
                  </a:lnTo>
                  <a:lnTo>
                    <a:pt x="17774" y="29862"/>
                  </a:lnTo>
                  <a:lnTo>
                    <a:pt x="15100" y="34632"/>
                  </a:lnTo>
                  <a:lnTo>
                    <a:pt x="10672" y="40420"/>
                  </a:lnTo>
                  <a:lnTo>
                    <a:pt x="4854" y="46528"/>
                  </a:lnTo>
                  <a:lnTo>
                    <a:pt x="384" y="52961"/>
                  </a:lnTo>
                  <a:lnTo>
                    <a:pt x="0" y="59728"/>
                  </a:lnTo>
                  <a:lnTo>
                    <a:pt x="3078" y="63990"/>
                  </a:lnTo>
                  <a:lnTo>
                    <a:pt x="7864" y="64396"/>
                  </a:lnTo>
                  <a:lnTo>
                    <a:pt x="15626" y="62862"/>
                  </a:lnTo>
                  <a:lnTo>
                    <a:pt x="27635" y="61302"/>
                  </a:lnTo>
                  <a:lnTo>
                    <a:pt x="40788" y="64365"/>
                  </a:lnTo>
                  <a:lnTo>
                    <a:pt x="48375" y="71366"/>
                  </a:lnTo>
                  <a:lnTo>
                    <a:pt x="52165" y="75649"/>
                  </a:lnTo>
                  <a:lnTo>
                    <a:pt x="53924" y="70561"/>
                  </a:lnTo>
                  <a:lnTo>
                    <a:pt x="55997" y="51681"/>
                  </a:lnTo>
                  <a:lnTo>
                    <a:pt x="57985" y="26317"/>
                  </a:lnTo>
                  <a:lnTo>
                    <a:pt x="57310" y="5435"/>
                  </a:lnTo>
                  <a:lnTo>
                    <a:pt x="51396" y="0"/>
                  </a:lnTo>
                  <a:close/>
                </a:path>
              </a:pathLst>
            </a:custGeom>
            <a:solidFill>
              <a:srgbClr val="0069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999" name="object 991">
              <a:extLst>
                <a:ext uri="{FF2B5EF4-FFF2-40B4-BE49-F238E27FC236}">
                  <a16:creationId xmlns:a16="http://schemas.microsoft.com/office/drawing/2014/main" id="{5A7F0155-075D-4963-9B80-FB56CD504C4C}"/>
                </a:ext>
              </a:extLst>
            </p:cNvPr>
            <p:cNvSpPr/>
            <p:nvPr/>
          </p:nvSpPr>
          <p:spPr>
            <a:xfrm>
              <a:off x="8043913" y="6264558"/>
              <a:ext cx="57785" cy="74295"/>
            </a:xfrm>
            <a:custGeom>
              <a:avLst/>
              <a:gdLst/>
              <a:ahLst/>
              <a:cxnLst/>
              <a:rect l="l" t="t" r="r" b="b"/>
              <a:pathLst>
                <a:path w="57784" h="74295">
                  <a:moveTo>
                    <a:pt x="57759" y="25730"/>
                  </a:moveTo>
                  <a:lnTo>
                    <a:pt x="57251" y="9423"/>
                  </a:lnTo>
                  <a:lnTo>
                    <a:pt x="57124" y="5257"/>
                  </a:lnTo>
                  <a:lnTo>
                    <a:pt x="57124" y="5080"/>
                  </a:lnTo>
                  <a:lnTo>
                    <a:pt x="51219" y="0"/>
                  </a:lnTo>
                  <a:lnTo>
                    <a:pt x="32346" y="15786"/>
                  </a:lnTo>
                  <a:lnTo>
                    <a:pt x="22275" y="24663"/>
                  </a:lnTo>
                  <a:lnTo>
                    <a:pt x="17602" y="29857"/>
                  </a:lnTo>
                  <a:lnTo>
                    <a:pt x="14922" y="34632"/>
                  </a:lnTo>
                  <a:lnTo>
                    <a:pt x="10541" y="40386"/>
                  </a:lnTo>
                  <a:lnTo>
                    <a:pt x="4826" y="46405"/>
                  </a:lnTo>
                  <a:lnTo>
                    <a:pt x="431" y="52717"/>
                  </a:lnTo>
                  <a:lnTo>
                    <a:pt x="0" y="59347"/>
                  </a:lnTo>
                  <a:lnTo>
                    <a:pt x="2997" y="63474"/>
                  </a:lnTo>
                  <a:lnTo>
                    <a:pt x="7696" y="63817"/>
                  </a:lnTo>
                  <a:lnTo>
                    <a:pt x="15316" y="62255"/>
                  </a:lnTo>
                  <a:lnTo>
                    <a:pt x="27051" y="60667"/>
                  </a:lnTo>
                  <a:lnTo>
                    <a:pt x="39941" y="63500"/>
                  </a:lnTo>
                  <a:lnTo>
                    <a:pt x="47447" y="70154"/>
                  </a:lnTo>
                  <a:lnTo>
                    <a:pt x="51320" y="74180"/>
                  </a:lnTo>
                  <a:lnTo>
                    <a:pt x="53340" y="69126"/>
                  </a:lnTo>
                  <a:lnTo>
                    <a:pt x="55651" y="50622"/>
                  </a:lnTo>
                  <a:lnTo>
                    <a:pt x="57759" y="25730"/>
                  </a:lnTo>
                  <a:close/>
                </a:path>
              </a:pathLst>
            </a:custGeom>
            <a:solidFill>
              <a:srgbClr val="0068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0" name="object 992">
              <a:extLst>
                <a:ext uri="{FF2B5EF4-FFF2-40B4-BE49-F238E27FC236}">
                  <a16:creationId xmlns:a16="http://schemas.microsoft.com/office/drawing/2014/main" id="{CA0CB67D-286A-4933-B409-45E4578AEB57}"/>
                </a:ext>
              </a:extLst>
            </p:cNvPr>
            <p:cNvSpPr/>
            <p:nvPr/>
          </p:nvSpPr>
          <p:spPr>
            <a:xfrm>
              <a:off x="8044264" y="6264550"/>
              <a:ext cx="57785" cy="71755"/>
            </a:xfrm>
            <a:custGeom>
              <a:avLst/>
              <a:gdLst/>
              <a:ahLst/>
              <a:cxnLst/>
              <a:rect l="l" t="t" r="r" b="b"/>
              <a:pathLst>
                <a:path w="57784" h="71754">
                  <a:moveTo>
                    <a:pt x="50876" y="0"/>
                  </a:moveTo>
                  <a:lnTo>
                    <a:pt x="31999" y="15793"/>
                  </a:lnTo>
                  <a:lnTo>
                    <a:pt x="21926" y="24664"/>
                  </a:lnTo>
                  <a:lnTo>
                    <a:pt x="17254" y="29862"/>
                  </a:lnTo>
                  <a:lnTo>
                    <a:pt x="14579" y="34632"/>
                  </a:lnTo>
                  <a:lnTo>
                    <a:pt x="10303" y="40314"/>
                  </a:lnTo>
                  <a:lnTo>
                    <a:pt x="4779" y="46151"/>
                  </a:lnTo>
                  <a:lnTo>
                    <a:pt x="511" y="52217"/>
                  </a:lnTo>
                  <a:lnTo>
                    <a:pt x="0" y="58585"/>
                  </a:lnTo>
                  <a:lnTo>
                    <a:pt x="2851" y="62439"/>
                  </a:lnTo>
                  <a:lnTo>
                    <a:pt x="7380" y="62663"/>
                  </a:lnTo>
                  <a:lnTo>
                    <a:pt x="14692" y="61051"/>
                  </a:lnTo>
                  <a:lnTo>
                    <a:pt x="25895" y="59397"/>
                  </a:lnTo>
                  <a:lnTo>
                    <a:pt x="38270" y="61772"/>
                  </a:lnTo>
                  <a:lnTo>
                    <a:pt x="45588" y="67721"/>
                  </a:lnTo>
                  <a:lnTo>
                    <a:pt x="49632" y="71219"/>
                  </a:lnTo>
                  <a:lnTo>
                    <a:pt x="52184" y="66243"/>
                  </a:lnTo>
                  <a:lnTo>
                    <a:pt x="54983" y="48493"/>
                  </a:lnTo>
                  <a:lnTo>
                    <a:pt x="57330" y="24563"/>
                  </a:lnTo>
                  <a:lnTo>
                    <a:pt x="56777" y="4912"/>
                  </a:lnTo>
                  <a:lnTo>
                    <a:pt x="50876" y="0"/>
                  </a:lnTo>
                  <a:close/>
                </a:path>
              </a:pathLst>
            </a:custGeom>
            <a:solidFill>
              <a:srgbClr val="0067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1" name="object 993">
              <a:extLst>
                <a:ext uri="{FF2B5EF4-FFF2-40B4-BE49-F238E27FC236}">
                  <a16:creationId xmlns:a16="http://schemas.microsoft.com/office/drawing/2014/main" id="{FCF74136-F559-43C3-B73A-42E17EFF7CD2}"/>
                </a:ext>
              </a:extLst>
            </p:cNvPr>
            <p:cNvSpPr/>
            <p:nvPr/>
          </p:nvSpPr>
          <p:spPr>
            <a:xfrm>
              <a:off x="8044434" y="6264558"/>
              <a:ext cx="57150" cy="69850"/>
            </a:xfrm>
            <a:custGeom>
              <a:avLst/>
              <a:gdLst/>
              <a:ahLst/>
              <a:cxnLst/>
              <a:rect l="l" t="t" r="r" b="b"/>
              <a:pathLst>
                <a:path w="57150" h="69850">
                  <a:moveTo>
                    <a:pt x="57111" y="23977"/>
                  </a:moveTo>
                  <a:lnTo>
                    <a:pt x="56642" y="6845"/>
                  </a:lnTo>
                  <a:lnTo>
                    <a:pt x="56591" y="4737"/>
                  </a:lnTo>
                  <a:lnTo>
                    <a:pt x="56591" y="4559"/>
                  </a:lnTo>
                  <a:lnTo>
                    <a:pt x="50698" y="0"/>
                  </a:lnTo>
                  <a:lnTo>
                    <a:pt x="31826" y="15786"/>
                  </a:lnTo>
                  <a:lnTo>
                    <a:pt x="21755" y="24663"/>
                  </a:lnTo>
                  <a:lnTo>
                    <a:pt x="17081" y="29857"/>
                  </a:lnTo>
                  <a:lnTo>
                    <a:pt x="14401" y="34632"/>
                  </a:lnTo>
                  <a:lnTo>
                    <a:pt x="10172" y="40271"/>
                  </a:lnTo>
                  <a:lnTo>
                    <a:pt x="4749" y="46024"/>
                  </a:lnTo>
                  <a:lnTo>
                    <a:pt x="546" y="51968"/>
                  </a:lnTo>
                  <a:lnTo>
                    <a:pt x="0" y="58204"/>
                  </a:lnTo>
                  <a:lnTo>
                    <a:pt x="2781" y="61925"/>
                  </a:lnTo>
                  <a:lnTo>
                    <a:pt x="7213" y="62090"/>
                  </a:lnTo>
                  <a:lnTo>
                    <a:pt x="14389" y="60452"/>
                  </a:lnTo>
                  <a:lnTo>
                    <a:pt x="25323" y="58762"/>
                  </a:lnTo>
                  <a:lnTo>
                    <a:pt x="37439" y="60909"/>
                  </a:lnTo>
                  <a:lnTo>
                    <a:pt x="48793" y="69748"/>
                  </a:lnTo>
                  <a:lnTo>
                    <a:pt x="51600" y="64808"/>
                  </a:lnTo>
                  <a:lnTo>
                    <a:pt x="54635" y="47434"/>
                  </a:lnTo>
                  <a:lnTo>
                    <a:pt x="57111" y="23977"/>
                  </a:lnTo>
                  <a:close/>
                </a:path>
              </a:pathLst>
            </a:custGeom>
            <a:solidFill>
              <a:srgbClr val="00663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2" name="object 994">
              <a:extLst>
                <a:ext uri="{FF2B5EF4-FFF2-40B4-BE49-F238E27FC236}">
                  <a16:creationId xmlns:a16="http://schemas.microsoft.com/office/drawing/2014/main" id="{3F16FCF5-1336-400C-8C65-8FB894D3C881}"/>
                </a:ext>
              </a:extLst>
            </p:cNvPr>
            <p:cNvSpPr/>
            <p:nvPr/>
          </p:nvSpPr>
          <p:spPr>
            <a:xfrm>
              <a:off x="8044797" y="6264550"/>
              <a:ext cx="57150" cy="67310"/>
            </a:xfrm>
            <a:custGeom>
              <a:avLst/>
              <a:gdLst/>
              <a:ahLst/>
              <a:cxnLst/>
              <a:rect l="l" t="t" r="r" b="b"/>
              <a:pathLst>
                <a:path w="57150" h="67309">
                  <a:moveTo>
                    <a:pt x="50342" y="0"/>
                  </a:moveTo>
                  <a:lnTo>
                    <a:pt x="31466" y="15793"/>
                  </a:lnTo>
                  <a:lnTo>
                    <a:pt x="21393" y="24664"/>
                  </a:lnTo>
                  <a:lnTo>
                    <a:pt x="16720" y="29862"/>
                  </a:lnTo>
                  <a:lnTo>
                    <a:pt x="14046" y="34632"/>
                  </a:lnTo>
                  <a:lnTo>
                    <a:pt x="9919" y="40209"/>
                  </a:lnTo>
                  <a:lnTo>
                    <a:pt x="4689" y="45775"/>
                  </a:lnTo>
                  <a:lnTo>
                    <a:pt x="626" y="51472"/>
                  </a:lnTo>
                  <a:lnTo>
                    <a:pt x="0" y="57442"/>
                  </a:lnTo>
                  <a:lnTo>
                    <a:pt x="2620" y="60893"/>
                  </a:lnTo>
                  <a:lnTo>
                    <a:pt x="6886" y="60934"/>
                  </a:lnTo>
                  <a:lnTo>
                    <a:pt x="13748" y="59242"/>
                  </a:lnTo>
                  <a:lnTo>
                    <a:pt x="24155" y="57492"/>
                  </a:lnTo>
                  <a:lnTo>
                    <a:pt x="35746" y="59180"/>
                  </a:lnTo>
                  <a:lnTo>
                    <a:pt x="42795" y="64077"/>
                  </a:lnTo>
                  <a:lnTo>
                    <a:pt x="47097" y="66794"/>
                  </a:lnTo>
                  <a:lnTo>
                    <a:pt x="50444" y="61937"/>
                  </a:lnTo>
                  <a:lnTo>
                    <a:pt x="53962" y="45316"/>
                  </a:lnTo>
                  <a:lnTo>
                    <a:pt x="56665" y="22815"/>
                  </a:lnTo>
                  <a:lnTo>
                    <a:pt x="56232" y="4391"/>
                  </a:lnTo>
                  <a:lnTo>
                    <a:pt x="50342" y="0"/>
                  </a:lnTo>
                  <a:close/>
                </a:path>
              </a:pathLst>
            </a:custGeom>
            <a:solidFill>
              <a:srgbClr val="0165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3" name="object 995">
              <a:extLst>
                <a:ext uri="{FF2B5EF4-FFF2-40B4-BE49-F238E27FC236}">
                  <a16:creationId xmlns:a16="http://schemas.microsoft.com/office/drawing/2014/main" id="{7E987A6C-B2B9-4625-8484-66ACEB7F39F2}"/>
                </a:ext>
              </a:extLst>
            </p:cNvPr>
            <p:cNvSpPr/>
            <p:nvPr/>
          </p:nvSpPr>
          <p:spPr>
            <a:xfrm>
              <a:off x="8044955" y="6264558"/>
              <a:ext cx="56515" cy="65405"/>
            </a:xfrm>
            <a:custGeom>
              <a:avLst/>
              <a:gdLst/>
              <a:ahLst/>
              <a:cxnLst/>
              <a:rect l="l" t="t" r="r" b="b"/>
              <a:pathLst>
                <a:path w="56515" h="65404">
                  <a:moveTo>
                    <a:pt x="56451" y="22225"/>
                  </a:moveTo>
                  <a:lnTo>
                    <a:pt x="56070" y="4216"/>
                  </a:lnTo>
                  <a:lnTo>
                    <a:pt x="56057" y="4038"/>
                  </a:lnTo>
                  <a:lnTo>
                    <a:pt x="21234" y="24663"/>
                  </a:lnTo>
                  <a:lnTo>
                    <a:pt x="13881" y="34632"/>
                  </a:lnTo>
                  <a:lnTo>
                    <a:pt x="9804" y="40170"/>
                  </a:lnTo>
                  <a:lnTo>
                    <a:pt x="4673" y="45643"/>
                  </a:lnTo>
                  <a:lnTo>
                    <a:pt x="673" y="51219"/>
                  </a:lnTo>
                  <a:lnTo>
                    <a:pt x="0" y="57061"/>
                  </a:lnTo>
                  <a:lnTo>
                    <a:pt x="2552" y="60375"/>
                  </a:lnTo>
                  <a:lnTo>
                    <a:pt x="6731" y="60363"/>
                  </a:lnTo>
                  <a:lnTo>
                    <a:pt x="13449" y="58635"/>
                  </a:lnTo>
                  <a:lnTo>
                    <a:pt x="23583" y="56845"/>
                  </a:lnTo>
                  <a:lnTo>
                    <a:pt x="34925" y="58305"/>
                  </a:lnTo>
                  <a:lnTo>
                    <a:pt x="41884" y="62852"/>
                  </a:lnTo>
                  <a:lnTo>
                    <a:pt x="46266" y="65316"/>
                  </a:lnTo>
                  <a:lnTo>
                    <a:pt x="49872" y="60502"/>
                  </a:lnTo>
                  <a:lnTo>
                    <a:pt x="53632" y="44246"/>
                  </a:lnTo>
                  <a:lnTo>
                    <a:pt x="56451" y="22225"/>
                  </a:lnTo>
                  <a:close/>
                </a:path>
              </a:pathLst>
            </a:custGeom>
            <a:solidFill>
              <a:srgbClr val="0164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4" name="object 996">
              <a:extLst>
                <a:ext uri="{FF2B5EF4-FFF2-40B4-BE49-F238E27FC236}">
                  <a16:creationId xmlns:a16="http://schemas.microsoft.com/office/drawing/2014/main" id="{EA08F2E0-6B3C-4E3A-AEF1-D04705B1195A}"/>
                </a:ext>
              </a:extLst>
            </p:cNvPr>
            <p:cNvSpPr/>
            <p:nvPr/>
          </p:nvSpPr>
          <p:spPr>
            <a:xfrm>
              <a:off x="8045305" y="6264550"/>
              <a:ext cx="56515" cy="62865"/>
            </a:xfrm>
            <a:custGeom>
              <a:avLst/>
              <a:gdLst/>
              <a:ahLst/>
              <a:cxnLst/>
              <a:rect l="l" t="t" r="r" b="b"/>
              <a:pathLst>
                <a:path w="56515" h="62865">
                  <a:moveTo>
                    <a:pt x="49834" y="0"/>
                  </a:moveTo>
                  <a:lnTo>
                    <a:pt x="30958" y="15793"/>
                  </a:lnTo>
                  <a:lnTo>
                    <a:pt x="20885" y="24664"/>
                  </a:lnTo>
                  <a:lnTo>
                    <a:pt x="16212" y="29862"/>
                  </a:lnTo>
                  <a:lnTo>
                    <a:pt x="13538" y="34632"/>
                  </a:lnTo>
                  <a:lnTo>
                    <a:pt x="9561" y="40102"/>
                  </a:lnTo>
                  <a:lnTo>
                    <a:pt x="4625" y="45394"/>
                  </a:lnTo>
                  <a:lnTo>
                    <a:pt x="761" y="50722"/>
                  </a:lnTo>
                  <a:lnTo>
                    <a:pt x="0" y="56299"/>
                  </a:lnTo>
                  <a:lnTo>
                    <a:pt x="2398" y="59343"/>
                  </a:lnTo>
                  <a:lnTo>
                    <a:pt x="6408" y="59204"/>
                  </a:lnTo>
                  <a:lnTo>
                    <a:pt x="12821" y="57431"/>
                  </a:lnTo>
                  <a:lnTo>
                    <a:pt x="22428" y="55575"/>
                  </a:lnTo>
                  <a:lnTo>
                    <a:pt x="33247" y="56575"/>
                  </a:lnTo>
                  <a:lnTo>
                    <a:pt x="40028" y="60421"/>
                  </a:lnTo>
                  <a:lnTo>
                    <a:pt x="44579" y="62356"/>
                  </a:lnTo>
                  <a:lnTo>
                    <a:pt x="48704" y="57619"/>
                  </a:lnTo>
                  <a:lnTo>
                    <a:pt x="52956" y="42123"/>
                  </a:lnTo>
                  <a:lnTo>
                    <a:pt x="56022" y="21056"/>
                  </a:lnTo>
                  <a:lnTo>
                    <a:pt x="55712" y="3866"/>
                  </a:lnTo>
                  <a:lnTo>
                    <a:pt x="49834" y="0"/>
                  </a:lnTo>
                  <a:close/>
                </a:path>
              </a:pathLst>
            </a:custGeom>
            <a:solidFill>
              <a:srgbClr val="00633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5" name="object 997">
              <a:extLst>
                <a:ext uri="{FF2B5EF4-FFF2-40B4-BE49-F238E27FC236}">
                  <a16:creationId xmlns:a16="http://schemas.microsoft.com/office/drawing/2014/main" id="{C97D35F8-98CE-409C-A69F-3099A894D092}"/>
                </a:ext>
              </a:extLst>
            </p:cNvPr>
            <p:cNvSpPr/>
            <p:nvPr/>
          </p:nvSpPr>
          <p:spPr>
            <a:xfrm>
              <a:off x="8045483" y="6264550"/>
              <a:ext cx="55880" cy="60960"/>
            </a:xfrm>
            <a:custGeom>
              <a:avLst/>
              <a:gdLst/>
              <a:ahLst/>
              <a:cxnLst/>
              <a:rect l="l" t="t" r="r" b="b"/>
              <a:pathLst>
                <a:path w="55879" h="60959">
                  <a:moveTo>
                    <a:pt x="49656" y="0"/>
                  </a:moveTo>
                  <a:lnTo>
                    <a:pt x="30780" y="15793"/>
                  </a:lnTo>
                  <a:lnTo>
                    <a:pt x="20707" y="24664"/>
                  </a:lnTo>
                  <a:lnTo>
                    <a:pt x="16034" y="29862"/>
                  </a:lnTo>
                  <a:lnTo>
                    <a:pt x="13360" y="34632"/>
                  </a:lnTo>
                  <a:lnTo>
                    <a:pt x="9433" y="40067"/>
                  </a:lnTo>
                  <a:lnTo>
                    <a:pt x="4594" y="45269"/>
                  </a:lnTo>
                  <a:lnTo>
                    <a:pt x="798" y="50470"/>
                  </a:lnTo>
                  <a:lnTo>
                    <a:pt x="0" y="55905"/>
                  </a:lnTo>
                  <a:lnTo>
                    <a:pt x="2323" y="58822"/>
                  </a:lnTo>
                  <a:lnTo>
                    <a:pt x="6245" y="58623"/>
                  </a:lnTo>
                  <a:lnTo>
                    <a:pt x="12505" y="56823"/>
                  </a:lnTo>
                  <a:lnTo>
                    <a:pt x="21843" y="54940"/>
                  </a:lnTo>
                  <a:lnTo>
                    <a:pt x="32404" y="55713"/>
                  </a:lnTo>
                  <a:lnTo>
                    <a:pt x="39098" y="59210"/>
                  </a:lnTo>
                  <a:lnTo>
                    <a:pt x="43737" y="60883"/>
                  </a:lnTo>
                  <a:lnTo>
                    <a:pt x="48132" y="56184"/>
                  </a:lnTo>
                  <a:lnTo>
                    <a:pt x="52618" y="41067"/>
                  </a:lnTo>
                  <a:lnTo>
                    <a:pt x="55800" y="20477"/>
                  </a:lnTo>
                  <a:lnTo>
                    <a:pt x="55530" y="3694"/>
                  </a:lnTo>
                  <a:lnTo>
                    <a:pt x="49656" y="0"/>
                  </a:lnTo>
                  <a:close/>
                </a:path>
              </a:pathLst>
            </a:custGeom>
            <a:solidFill>
              <a:srgbClr val="0062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6" name="object 998">
              <a:extLst>
                <a:ext uri="{FF2B5EF4-FFF2-40B4-BE49-F238E27FC236}">
                  <a16:creationId xmlns:a16="http://schemas.microsoft.com/office/drawing/2014/main" id="{2A43E4AF-2EF8-4A3C-A0F5-771801CBEB67}"/>
                </a:ext>
              </a:extLst>
            </p:cNvPr>
            <p:cNvSpPr/>
            <p:nvPr/>
          </p:nvSpPr>
          <p:spPr>
            <a:xfrm>
              <a:off x="8045660" y="6264550"/>
              <a:ext cx="55880" cy="59690"/>
            </a:xfrm>
            <a:custGeom>
              <a:avLst/>
              <a:gdLst/>
              <a:ahLst/>
              <a:cxnLst/>
              <a:rect l="l" t="t" r="r" b="b"/>
              <a:pathLst>
                <a:path w="55879" h="59690">
                  <a:moveTo>
                    <a:pt x="49479" y="0"/>
                  </a:moveTo>
                  <a:lnTo>
                    <a:pt x="30602" y="15793"/>
                  </a:lnTo>
                  <a:lnTo>
                    <a:pt x="20529" y="24664"/>
                  </a:lnTo>
                  <a:lnTo>
                    <a:pt x="15857" y="29862"/>
                  </a:lnTo>
                  <a:lnTo>
                    <a:pt x="13182" y="34632"/>
                  </a:lnTo>
                  <a:lnTo>
                    <a:pt x="9306" y="40031"/>
                  </a:lnTo>
                  <a:lnTo>
                    <a:pt x="4567" y="45140"/>
                  </a:lnTo>
                  <a:lnTo>
                    <a:pt x="839" y="50218"/>
                  </a:lnTo>
                  <a:lnTo>
                    <a:pt x="0" y="55524"/>
                  </a:lnTo>
                  <a:lnTo>
                    <a:pt x="2248" y="58303"/>
                  </a:lnTo>
                  <a:lnTo>
                    <a:pt x="6081" y="58042"/>
                  </a:lnTo>
                  <a:lnTo>
                    <a:pt x="12189" y="56213"/>
                  </a:lnTo>
                  <a:lnTo>
                    <a:pt x="21259" y="54292"/>
                  </a:lnTo>
                  <a:lnTo>
                    <a:pt x="31560" y="54844"/>
                  </a:lnTo>
                  <a:lnTo>
                    <a:pt x="38165" y="57992"/>
                  </a:lnTo>
                  <a:lnTo>
                    <a:pt x="42885" y="59405"/>
                  </a:lnTo>
                  <a:lnTo>
                    <a:pt x="47536" y="54749"/>
                  </a:lnTo>
                  <a:lnTo>
                    <a:pt x="52268" y="40006"/>
                  </a:lnTo>
                  <a:lnTo>
                    <a:pt x="55575" y="19892"/>
                  </a:lnTo>
                  <a:lnTo>
                    <a:pt x="55347" y="3520"/>
                  </a:lnTo>
                  <a:lnTo>
                    <a:pt x="49479" y="0"/>
                  </a:lnTo>
                  <a:close/>
                </a:path>
              </a:pathLst>
            </a:custGeom>
            <a:solidFill>
              <a:srgbClr val="0061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7" name="object 999">
              <a:extLst>
                <a:ext uri="{FF2B5EF4-FFF2-40B4-BE49-F238E27FC236}">
                  <a16:creationId xmlns:a16="http://schemas.microsoft.com/office/drawing/2014/main" id="{6B2A58C3-3791-4F81-871C-DAD17C12B4B0}"/>
                </a:ext>
              </a:extLst>
            </p:cNvPr>
            <p:cNvSpPr/>
            <p:nvPr/>
          </p:nvSpPr>
          <p:spPr>
            <a:xfrm>
              <a:off x="8045831" y="6264558"/>
              <a:ext cx="55880" cy="61594"/>
            </a:xfrm>
            <a:custGeom>
              <a:avLst/>
              <a:gdLst/>
              <a:ahLst/>
              <a:cxnLst/>
              <a:rect l="l" t="t" r="r" b="b"/>
              <a:pathLst>
                <a:path w="55879" h="61595">
                  <a:moveTo>
                    <a:pt x="55359" y="19304"/>
                  </a:moveTo>
                  <a:lnTo>
                    <a:pt x="55168" y="3848"/>
                  </a:lnTo>
                  <a:lnTo>
                    <a:pt x="55168" y="3340"/>
                  </a:lnTo>
                  <a:lnTo>
                    <a:pt x="55168" y="3175"/>
                  </a:lnTo>
                  <a:lnTo>
                    <a:pt x="20358" y="24663"/>
                  </a:lnTo>
                  <a:lnTo>
                    <a:pt x="13004" y="34632"/>
                  </a:lnTo>
                  <a:lnTo>
                    <a:pt x="9182" y="39992"/>
                  </a:lnTo>
                  <a:lnTo>
                    <a:pt x="4533" y="45021"/>
                  </a:lnTo>
                  <a:lnTo>
                    <a:pt x="876" y="49974"/>
                  </a:lnTo>
                  <a:lnTo>
                    <a:pt x="0" y="55143"/>
                  </a:lnTo>
                  <a:lnTo>
                    <a:pt x="2120" y="61277"/>
                  </a:lnTo>
                  <a:lnTo>
                    <a:pt x="6769" y="55702"/>
                  </a:lnTo>
                  <a:lnTo>
                    <a:pt x="20675" y="53657"/>
                  </a:lnTo>
                  <a:lnTo>
                    <a:pt x="30721" y="53975"/>
                  </a:lnTo>
                  <a:lnTo>
                    <a:pt x="37236" y="56781"/>
                  </a:lnTo>
                  <a:lnTo>
                    <a:pt x="42037" y="57924"/>
                  </a:lnTo>
                  <a:lnTo>
                    <a:pt x="46964" y="53314"/>
                  </a:lnTo>
                  <a:lnTo>
                    <a:pt x="51943" y="38950"/>
                  </a:lnTo>
                  <a:lnTo>
                    <a:pt x="55359" y="19304"/>
                  </a:lnTo>
                  <a:close/>
                </a:path>
              </a:pathLst>
            </a:custGeom>
            <a:solidFill>
              <a:srgbClr val="00603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8" name="object 1000">
              <a:extLst>
                <a:ext uri="{FF2B5EF4-FFF2-40B4-BE49-F238E27FC236}">
                  <a16:creationId xmlns:a16="http://schemas.microsoft.com/office/drawing/2014/main" id="{87522320-7A1F-4787-B74D-DA0B3B4D7CD4}"/>
                </a:ext>
              </a:extLst>
            </p:cNvPr>
            <p:cNvSpPr/>
            <p:nvPr/>
          </p:nvSpPr>
          <p:spPr>
            <a:xfrm>
              <a:off x="8045025" y="6264550"/>
              <a:ext cx="56515" cy="60325"/>
            </a:xfrm>
            <a:custGeom>
              <a:avLst/>
              <a:gdLst/>
              <a:ahLst/>
              <a:cxnLst/>
              <a:rect l="l" t="t" r="r" b="b"/>
              <a:pathLst>
                <a:path w="56515" h="60325">
                  <a:moveTo>
                    <a:pt x="50114" y="0"/>
                  </a:moveTo>
                  <a:lnTo>
                    <a:pt x="16492" y="29862"/>
                  </a:lnTo>
                  <a:lnTo>
                    <a:pt x="10058" y="42138"/>
                  </a:lnTo>
                  <a:lnTo>
                    <a:pt x="0" y="47561"/>
                  </a:lnTo>
                  <a:lnTo>
                    <a:pt x="1155" y="54381"/>
                  </a:lnTo>
                  <a:lnTo>
                    <a:pt x="3048" y="60020"/>
                  </a:lnTo>
                  <a:lnTo>
                    <a:pt x="7670" y="54559"/>
                  </a:lnTo>
                  <a:lnTo>
                    <a:pt x="20675" y="52387"/>
                  </a:lnTo>
                  <a:lnTo>
                    <a:pt x="30198" y="52251"/>
                  </a:lnTo>
                  <a:lnTo>
                    <a:pt x="36534" y="54349"/>
                  </a:lnTo>
                  <a:lnTo>
                    <a:pt x="41513" y="54980"/>
                  </a:lnTo>
                  <a:lnTo>
                    <a:pt x="46964" y="50444"/>
                  </a:lnTo>
                  <a:lnTo>
                    <a:pt x="52421" y="36824"/>
                  </a:lnTo>
                  <a:lnTo>
                    <a:pt x="56083" y="18140"/>
                  </a:lnTo>
                  <a:lnTo>
                    <a:pt x="55972" y="2997"/>
                  </a:lnTo>
                  <a:lnTo>
                    <a:pt x="50114" y="0"/>
                  </a:lnTo>
                  <a:close/>
                </a:path>
              </a:pathLst>
            </a:custGeom>
            <a:solidFill>
              <a:srgbClr val="005F3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09" name="object 1001">
              <a:extLst>
                <a:ext uri="{FF2B5EF4-FFF2-40B4-BE49-F238E27FC236}">
                  <a16:creationId xmlns:a16="http://schemas.microsoft.com/office/drawing/2014/main" id="{6123D514-FB9C-446F-B70C-6C294F233A57}"/>
                </a:ext>
              </a:extLst>
            </p:cNvPr>
            <p:cNvSpPr/>
            <p:nvPr/>
          </p:nvSpPr>
          <p:spPr>
            <a:xfrm>
              <a:off x="8045348" y="6264558"/>
              <a:ext cx="55880" cy="59690"/>
            </a:xfrm>
            <a:custGeom>
              <a:avLst/>
              <a:gdLst/>
              <a:ahLst/>
              <a:cxnLst/>
              <a:rect l="l" t="t" r="r" b="b"/>
              <a:pathLst>
                <a:path w="55879" h="59690">
                  <a:moveTo>
                    <a:pt x="55702" y="17551"/>
                  </a:moveTo>
                  <a:lnTo>
                    <a:pt x="55638" y="2946"/>
                  </a:lnTo>
                  <a:lnTo>
                    <a:pt x="55638" y="2819"/>
                  </a:lnTo>
                  <a:lnTo>
                    <a:pt x="55638" y="2641"/>
                  </a:lnTo>
                  <a:lnTo>
                    <a:pt x="20840" y="24663"/>
                  </a:lnTo>
                  <a:lnTo>
                    <a:pt x="9728" y="42138"/>
                  </a:lnTo>
                  <a:lnTo>
                    <a:pt x="342" y="47142"/>
                  </a:lnTo>
                  <a:lnTo>
                    <a:pt x="0" y="47358"/>
                  </a:lnTo>
                  <a:lnTo>
                    <a:pt x="1003" y="54000"/>
                  </a:lnTo>
                  <a:lnTo>
                    <a:pt x="2781" y="59397"/>
                  </a:lnTo>
                  <a:lnTo>
                    <a:pt x="7391" y="53987"/>
                  </a:lnTo>
                  <a:lnTo>
                    <a:pt x="19939" y="51752"/>
                  </a:lnTo>
                  <a:lnTo>
                    <a:pt x="29210" y="51384"/>
                  </a:lnTo>
                  <a:lnTo>
                    <a:pt x="35445" y="53136"/>
                  </a:lnTo>
                  <a:lnTo>
                    <a:pt x="40513" y="53505"/>
                  </a:lnTo>
                  <a:lnTo>
                    <a:pt x="46228" y="48996"/>
                  </a:lnTo>
                  <a:lnTo>
                    <a:pt x="51930" y="35750"/>
                  </a:lnTo>
                  <a:lnTo>
                    <a:pt x="55702" y="17551"/>
                  </a:lnTo>
                  <a:close/>
                </a:path>
              </a:pathLst>
            </a:custGeom>
            <a:solidFill>
              <a:srgbClr val="005E3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0" name="object 1002">
              <a:extLst>
                <a:ext uri="{FF2B5EF4-FFF2-40B4-BE49-F238E27FC236}">
                  <a16:creationId xmlns:a16="http://schemas.microsoft.com/office/drawing/2014/main" id="{B80F03E2-B023-4762-A685-A1F9E5BB4539}"/>
                </a:ext>
              </a:extLst>
            </p:cNvPr>
            <p:cNvSpPr/>
            <p:nvPr/>
          </p:nvSpPr>
          <p:spPr>
            <a:xfrm>
              <a:off x="8046029" y="6264550"/>
              <a:ext cx="55244" cy="58419"/>
            </a:xfrm>
            <a:custGeom>
              <a:avLst/>
              <a:gdLst/>
              <a:ahLst/>
              <a:cxnLst/>
              <a:rect l="l" t="t" r="r" b="b"/>
              <a:pathLst>
                <a:path w="55245" h="58420">
                  <a:moveTo>
                    <a:pt x="49110" y="0"/>
                  </a:moveTo>
                  <a:lnTo>
                    <a:pt x="15488" y="29862"/>
                  </a:lnTo>
                  <a:lnTo>
                    <a:pt x="9055" y="42138"/>
                  </a:lnTo>
                  <a:lnTo>
                    <a:pt x="0" y="46939"/>
                  </a:lnTo>
                  <a:lnTo>
                    <a:pt x="673" y="53225"/>
                  </a:lnTo>
                  <a:lnTo>
                    <a:pt x="2209" y="58140"/>
                  </a:lnTo>
                  <a:lnTo>
                    <a:pt x="6832" y="52844"/>
                  </a:lnTo>
                  <a:lnTo>
                    <a:pt x="18453" y="50469"/>
                  </a:lnTo>
                  <a:lnTo>
                    <a:pt x="27198" y="49653"/>
                  </a:lnTo>
                  <a:lnTo>
                    <a:pt x="33269" y="50703"/>
                  </a:lnTo>
                  <a:lnTo>
                    <a:pt x="38503" y="50550"/>
                  </a:lnTo>
                  <a:lnTo>
                    <a:pt x="44742" y="46126"/>
                  </a:lnTo>
                  <a:lnTo>
                    <a:pt x="50920" y="33636"/>
                  </a:lnTo>
                  <a:lnTo>
                    <a:pt x="54941" y="16386"/>
                  </a:lnTo>
                  <a:lnTo>
                    <a:pt x="54955" y="2474"/>
                  </a:lnTo>
                  <a:lnTo>
                    <a:pt x="49110" y="0"/>
                  </a:lnTo>
                  <a:close/>
                </a:path>
              </a:pathLst>
            </a:custGeom>
            <a:solidFill>
              <a:srgbClr val="005D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1" name="object 1003">
              <a:extLst>
                <a:ext uri="{FF2B5EF4-FFF2-40B4-BE49-F238E27FC236}">
                  <a16:creationId xmlns:a16="http://schemas.microsoft.com/office/drawing/2014/main" id="{72CDB36E-3FE9-4D8D-A4A3-9EC2E5114D90}"/>
                </a:ext>
              </a:extLst>
            </p:cNvPr>
            <p:cNvSpPr/>
            <p:nvPr/>
          </p:nvSpPr>
          <p:spPr>
            <a:xfrm>
              <a:off x="8046364" y="6264558"/>
              <a:ext cx="54610" cy="57785"/>
            </a:xfrm>
            <a:custGeom>
              <a:avLst/>
              <a:gdLst/>
              <a:ahLst/>
              <a:cxnLst/>
              <a:rect l="l" t="t" r="r" b="b"/>
              <a:pathLst>
                <a:path w="54609" h="57784">
                  <a:moveTo>
                    <a:pt x="54610" y="2120"/>
                  </a:moveTo>
                  <a:lnTo>
                    <a:pt x="19824" y="24663"/>
                  </a:lnTo>
                  <a:lnTo>
                    <a:pt x="8712" y="42138"/>
                  </a:lnTo>
                  <a:lnTo>
                    <a:pt x="330" y="46520"/>
                  </a:lnTo>
                  <a:lnTo>
                    <a:pt x="0" y="46723"/>
                  </a:lnTo>
                  <a:lnTo>
                    <a:pt x="508" y="52844"/>
                  </a:lnTo>
                  <a:lnTo>
                    <a:pt x="1930" y="57505"/>
                  </a:lnTo>
                  <a:lnTo>
                    <a:pt x="6540" y="52273"/>
                  </a:lnTo>
                  <a:lnTo>
                    <a:pt x="17703" y="49834"/>
                  </a:lnTo>
                  <a:lnTo>
                    <a:pt x="26187" y="48780"/>
                  </a:lnTo>
                  <a:lnTo>
                    <a:pt x="32169" y="49479"/>
                  </a:lnTo>
                  <a:lnTo>
                    <a:pt x="37490" y="49072"/>
                  </a:lnTo>
                  <a:lnTo>
                    <a:pt x="43992" y="44691"/>
                  </a:lnTo>
                  <a:lnTo>
                    <a:pt x="50419" y="32575"/>
                  </a:lnTo>
                  <a:lnTo>
                    <a:pt x="54559" y="15798"/>
                  </a:lnTo>
                  <a:lnTo>
                    <a:pt x="54610" y="2298"/>
                  </a:lnTo>
                  <a:lnTo>
                    <a:pt x="54610" y="2120"/>
                  </a:lnTo>
                  <a:close/>
                </a:path>
              </a:pathLst>
            </a:custGeom>
            <a:solidFill>
              <a:srgbClr val="005C3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2" name="object 1004">
              <a:extLst>
                <a:ext uri="{FF2B5EF4-FFF2-40B4-BE49-F238E27FC236}">
                  <a16:creationId xmlns:a16="http://schemas.microsoft.com/office/drawing/2014/main" id="{716107ED-C2CD-42C4-9315-9DCB80C1A1AF}"/>
                </a:ext>
              </a:extLst>
            </p:cNvPr>
            <p:cNvSpPr/>
            <p:nvPr/>
          </p:nvSpPr>
          <p:spPr>
            <a:xfrm>
              <a:off x="8047045" y="6264550"/>
              <a:ext cx="53975" cy="56515"/>
            </a:xfrm>
            <a:custGeom>
              <a:avLst/>
              <a:gdLst/>
              <a:ahLst/>
              <a:cxnLst/>
              <a:rect l="l" t="t" r="r" b="b"/>
              <a:pathLst>
                <a:path w="53975" h="56515">
                  <a:moveTo>
                    <a:pt x="48094" y="0"/>
                  </a:moveTo>
                  <a:lnTo>
                    <a:pt x="14472" y="29862"/>
                  </a:lnTo>
                  <a:lnTo>
                    <a:pt x="8039" y="42138"/>
                  </a:lnTo>
                  <a:lnTo>
                    <a:pt x="0" y="46316"/>
                  </a:lnTo>
                  <a:lnTo>
                    <a:pt x="177" y="52082"/>
                  </a:lnTo>
                  <a:lnTo>
                    <a:pt x="1371" y="56248"/>
                  </a:lnTo>
                  <a:lnTo>
                    <a:pt x="5969" y="51130"/>
                  </a:lnTo>
                  <a:lnTo>
                    <a:pt x="16217" y="48552"/>
                  </a:lnTo>
                  <a:lnTo>
                    <a:pt x="24190" y="47055"/>
                  </a:lnTo>
                  <a:lnTo>
                    <a:pt x="29991" y="47058"/>
                  </a:lnTo>
                  <a:lnTo>
                    <a:pt x="35477" y="46125"/>
                  </a:lnTo>
                  <a:lnTo>
                    <a:pt x="42506" y="41821"/>
                  </a:lnTo>
                  <a:lnTo>
                    <a:pt x="49411" y="30453"/>
                  </a:lnTo>
                  <a:lnTo>
                    <a:pt x="53792" y="14633"/>
                  </a:lnTo>
                  <a:lnTo>
                    <a:pt x="53927" y="1951"/>
                  </a:lnTo>
                  <a:lnTo>
                    <a:pt x="48094" y="0"/>
                  </a:lnTo>
                  <a:close/>
                </a:path>
              </a:pathLst>
            </a:custGeom>
            <a:solidFill>
              <a:srgbClr val="005B3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3" name="object 1005">
              <a:extLst>
                <a:ext uri="{FF2B5EF4-FFF2-40B4-BE49-F238E27FC236}">
                  <a16:creationId xmlns:a16="http://schemas.microsoft.com/office/drawing/2014/main" id="{B476C858-CAEA-4874-B2F1-E3F02D3D301C}"/>
                </a:ext>
              </a:extLst>
            </p:cNvPr>
            <p:cNvSpPr/>
            <p:nvPr/>
          </p:nvSpPr>
          <p:spPr>
            <a:xfrm>
              <a:off x="8047367" y="6264558"/>
              <a:ext cx="53975" cy="55880"/>
            </a:xfrm>
            <a:custGeom>
              <a:avLst/>
              <a:gdLst/>
              <a:ahLst/>
              <a:cxnLst/>
              <a:rect l="l" t="t" r="r" b="b"/>
              <a:pathLst>
                <a:path w="53975" h="55879">
                  <a:moveTo>
                    <a:pt x="53594" y="1600"/>
                  </a:moveTo>
                  <a:lnTo>
                    <a:pt x="18821" y="24663"/>
                  </a:lnTo>
                  <a:lnTo>
                    <a:pt x="7708" y="42138"/>
                  </a:lnTo>
                  <a:lnTo>
                    <a:pt x="342" y="45897"/>
                  </a:lnTo>
                  <a:lnTo>
                    <a:pt x="0" y="46101"/>
                  </a:lnTo>
                  <a:lnTo>
                    <a:pt x="25" y="51701"/>
                  </a:lnTo>
                  <a:lnTo>
                    <a:pt x="1104" y="55613"/>
                  </a:lnTo>
                  <a:lnTo>
                    <a:pt x="5689" y="50558"/>
                  </a:lnTo>
                  <a:lnTo>
                    <a:pt x="15481" y="47917"/>
                  </a:lnTo>
                  <a:lnTo>
                    <a:pt x="23190" y="46189"/>
                  </a:lnTo>
                  <a:lnTo>
                    <a:pt x="28905" y="45834"/>
                  </a:lnTo>
                  <a:lnTo>
                    <a:pt x="34480" y="44640"/>
                  </a:lnTo>
                  <a:lnTo>
                    <a:pt x="41770" y="40373"/>
                  </a:lnTo>
                  <a:lnTo>
                    <a:pt x="48920" y="29387"/>
                  </a:lnTo>
                  <a:lnTo>
                    <a:pt x="53416" y="14046"/>
                  </a:lnTo>
                  <a:lnTo>
                    <a:pt x="53594" y="1778"/>
                  </a:lnTo>
                  <a:lnTo>
                    <a:pt x="53594" y="1600"/>
                  </a:lnTo>
                  <a:close/>
                </a:path>
              </a:pathLst>
            </a:custGeom>
            <a:solidFill>
              <a:srgbClr val="005A3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4" name="object 1006">
              <a:extLst>
                <a:ext uri="{FF2B5EF4-FFF2-40B4-BE49-F238E27FC236}">
                  <a16:creationId xmlns:a16="http://schemas.microsoft.com/office/drawing/2014/main" id="{7B0779D1-FCDD-481A-A7F7-91FF10665F95}"/>
                </a:ext>
              </a:extLst>
            </p:cNvPr>
            <p:cNvSpPr/>
            <p:nvPr/>
          </p:nvSpPr>
          <p:spPr>
            <a:xfrm>
              <a:off x="8047743" y="6264550"/>
              <a:ext cx="53340" cy="54610"/>
            </a:xfrm>
            <a:custGeom>
              <a:avLst/>
              <a:gdLst/>
              <a:ahLst/>
              <a:cxnLst/>
              <a:rect l="l" t="t" r="r" b="b"/>
              <a:pathLst>
                <a:path w="53340" h="54609">
                  <a:moveTo>
                    <a:pt x="47396" y="0"/>
                  </a:moveTo>
                  <a:lnTo>
                    <a:pt x="13774" y="29862"/>
                  </a:lnTo>
                  <a:lnTo>
                    <a:pt x="7340" y="42138"/>
                  </a:lnTo>
                  <a:lnTo>
                    <a:pt x="304" y="45681"/>
                  </a:lnTo>
                  <a:lnTo>
                    <a:pt x="0" y="50939"/>
                  </a:lnTo>
                  <a:lnTo>
                    <a:pt x="850" y="54356"/>
                  </a:lnTo>
                  <a:lnTo>
                    <a:pt x="5422" y="49415"/>
                  </a:lnTo>
                  <a:lnTo>
                    <a:pt x="21501" y="44461"/>
                  </a:lnTo>
                  <a:lnTo>
                    <a:pt x="52960" y="12879"/>
                  </a:lnTo>
                  <a:lnTo>
                    <a:pt x="53217" y="1428"/>
                  </a:lnTo>
                  <a:lnTo>
                    <a:pt x="47396" y="0"/>
                  </a:lnTo>
                  <a:close/>
                </a:path>
              </a:pathLst>
            </a:custGeom>
            <a:solidFill>
              <a:srgbClr val="0059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5" name="object 1007">
              <a:extLst>
                <a:ext uri="{FF2B5EF4-FFF2-40B4-BE49-F238E27FC236}">
                  <a16:creationId xmlns:a16="http://schemas.microsoft.com/office/drawing/2014/main" id="{ED3F2004-652E-4494-B319-36D1DF6171E9}"/>
                </a:ext>
              </a:extLst>
            </p:cNvPr>
            <p:cNvSpPr/>
            <p:nvPr/>
          </p:nvSpPr>
          <p:spPr>
            <a:xfrm>
              <a:off x="8047914" y="6264558"/>
              <a:ext cx="53340" cy="53975"/>
            </a:xfrm>
            <a:custGeom>
              <a:avLst/>
              <a:gdLst/>
              <a:ahLst/>
              <a:cxnLst/>
              <a:rect l="l" t="t" r="r" b="b"/>
              <a:pathLst>
                <a:path w="53340" h="53975">
                  <a:moveTo>
                    <a:pt x="53035" y="1079"/>
                  </a:moveTo>
                  <a:lnTo>
                    <a:pt x="18275" y="24663"/>
                  </a:lnTo>
                  <a:lnTo>
                    <a:pt x="7162" y="42138"/>
                  </a:lnTo>
                  <a:lnTo>
                    <a:pt x="800" y="45275"/>
                  </a:lnTo>
                  <a:lnTo>
                    <a:pt x="469" y="45478"/>
                  </a:lnTo>
                  <a:lnTo>
                    <a:pt x="0" y="50558"/>
                  </a:lnTo>
                  <a:lnTo>
                    <a:pt x="723" y="53733"/>
                  </a:lnTo>
                  <a:lnTo>
                    <a:pt x="5295" y="48844"/>
                  </a:lnTo>
                  <a:lnTo>
                    <a:pt x="20650" y="43586"/>
                  </a:lnTo>
                  <a:lnTo>
                    <a:pt x="52743" y="12293"/>
                  </a:lnTo>
                  <a:lnTo>
                    <a:pt x="53035" y="1257"/>
                  </a:lnTo>
                  <a:lnTo>
                    <a:pt x="53035" y="1079"/>
                  </a:lnTo>
                  <a:close/>
                </a:path>
              </a:pathLst>
            </a:custGeom>
            <a:solidFill>
              <a:srgbClr val="0058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6" name="object 1008">
              <a:extLst>
                <a:ext uri="{FF2B5EF4-FFF2-40B4-BE49-F238E27FC236}">
                  <a16:creationId xmlns:a16="http://schemas.microsoft.com/office/drawing/2014/main" id="{F0100E85-D87C-4E23-A906-559EABC83705}"/>
                </a:ext>
              </a:extLst>
            </p:cNvPr>
            <p:cNvSpPr/>
            <p:nvPr/>
          </p:nvSpPr>
          <p:spPr>
            <a:xfrm>
              <a:off x="8048276" y="6264550"/>
              <a:ext cx="52705" cy="52705"/>
            </a:xfrm>
            <a:custGeom>
              <a:avLst/>
              <a:gdLst/>
              <a:ahLst/>
              <a:cxnLst/>
              <a:rect l="l" t="t" r="r" b="b"/>
              <a:pathLst>
                <a:path w="52704" h="52704">
                  <a:moveTo>
                    <a:pt x="46863" y="0"/>
                  </a:moveTo>
                  <a:lnTo>
                    <a:pt x="13240" y="29862"/>
                  </a:lnTo>
                  <a:lnTo>
                    <a:pt x="6807" y="42138"/>
                  </a:lnTo>
                  <a:lnTo>
                    <a:pt x="774" y="45059"/>
                  </a:lnTo>
                  <a:lnTo>
                    <a:pt x="0" y="49796"/>
                  </a:lnTo>
                  <a:lnTo>
                    <a:pt x="482" y="52476"/>
                  </a:lnTo>
                  <a:lnTo>
                    <a:pt x="5054" y="47701"/>
                  </a:lnTo>
                  <a:lnTo>
                    <a:pt x="12560" y="44729"/>
                  </a:lnTo>
                  <a:lnTo>
                    <a:pt x="18969" y="41863"/>
                  </a:lnTo>
                  <a:lnTo>
                    <a:pt x="30226" y="37264"/>
                  </a:lnTo>
                  <a:lnTo>
                    <a:pt x="38836" y="33197"/>
                  </a:lnTo>
                  <a:lnTo>
                    <a:pt x="47193" y="24083"/>
                  </a:lnTo>
                  <a:lnTo>
                    <a:pt x="52293" y="11126"/>
                  </a:lnTo>
                  <a:lnTo>
                    <a:pt x="52672" y="906"/>
                  </a:lnTo>
                  <a:lnTo>
                    <a:pt x="46863" y="0"/>
                  </a:lnTo>
                  <a:close/>
                </a:path>
              </a:pathLst>
            </a:custGeom>
            <a:solidFill>
              <a:srgbClr val="0057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7" name="object 1009">
              <a:extLst>
                <a:ext uri="{FF2B5EF4-FFF2-40B4-BE49-F238E27FC236}">
                  <a16:creationId xmlns:a16="http://schemas.microsoft.com/office/drawing/2014/main" id="{C9BBDFB7-1160-40FD-A24F-E0670978F33C}"/>
                </a:ext>
              </a:extLst>
            </p:cNvPr>
            <p:cNvSpPr/>
            <p:nvPr/>
          </p:nvSpPr>
          <p:spPr>
            <a:xfrm>
              <a:off x="8048442" y="6264550"/>
              <a:ext cx="52705" cy="52069"/>
            </a:xfrm>
            <a:custGeom>
              <a:avLst/>
              <a:gdLst/>
              <a:ahLst/>
              <a:cxnLst/>
              <a:rect l="l" t="t" r="r" b="b"/>
              <a:pathLst>
                <a:path w="52704" h="52070">
                  <a:moveTo>
                    <a:pt x="46697" y="0"/>
                  </a:moveTo>
                  <a:lnTo>
                    <a:pt x="13075" y="29862"/>
                  </a:lnTo>
                  <a:lnTo>
                    <a:pt x="6642" y="42138"/>
                  </a:lnTo>
                  <a:lnTo>
                    <a:pt x="952" y="44856"/>
                  </a:lnTo>
                  <a:lnTo>
                    <a:pt x="0" y="49415"/>
                  </a:lnTo>
                  <a:lnTo>
                    <a:pt x="368" y="51841"/>
                  </a:lnTo>
                  <a:lnTo>
                    <a:pt x="4940" y="47129"/>
                  </a:lnTo>
                  <a:lnTo>
                    <a:pt x="11988" y="44094"/>
                  </a:lnTo>
                  <a:lnTo>
                    <a:pt x="18139" y="40994"/>
                  </a:lnTo>
                  <a:lnTo>
                    <a:pt x="38265" y="31750"/>
                  </a:lnTo>
                  <a:lnTo>
                    <a:pt x="46862" y="23017"/>
                  </a:lnTo>
                  <a:lnTo>
                    <a:pt x="52082" y="10540"/>
                  </a:lnTo>
                  <a:lnTo>
                    <a:pt x="52502" y="731"/>
                  </a:lnTo>
                  <a:lnTo>
                    <a:pt x="46697" y="0"/>
                  </a:lnTo>
                  <a:close/>
                </a:path>
              </a:pathLst>
            </a:custGeom>
            <a:solidFill>
              <a:srgbClr val="005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8" name="object 1010">
              <a:extLst>
                <a:ext uri="{FF2B5EF4-FFF2-40B4-BE49-F238E27FC236}">
                  <a16:creationId xmlns:a16="http://schemas.microsoft.com/office/drawing/2014/main" id="{09395C4E-0B80-4E63-A1FC-97258BF5ABBE}"/>
                </a:ext>
              </a:extLst>
            </p:cNvPr>
            <p:cNvSpPr/>
            <p:nvPr/>
          </p:nvSpPr>
          <p:spPr>
            <a:xfrm>
              <a:off x="8048619" y="6264550"/>
              <a:ext cx="52705" cy="51435"/>
            </a:xfrm>
            <a:custGeom>
              <a:avLst/>
              <a:gdLst/>
              <a:ahLst/>
              <a:cxnLst/>
              <a:rect l="l" t="t" r="r" b="b"/>
              <a:pathLst>
                <a:path w="52704" h="51434">
                  <a:moveTo>
                    <a:pt x="46520" y="0"/>
                  </a:moveTo>
                  <a:lnTo>
                    <a:pt x="12898" y="29862"/>
                  </a:lnTo>
                  <a:lnTo>
                    <a:pt x="6464" y="42138"/>
                  </a:lnTo>
                  <a:lnTo>
                    <a:pt x="1117" y="44640"/>
                  </a:lnTo>
                  <a:lnTo>
                    <a:pt x="0" y="49022"/>
                  </a:lnTo>
                  <a:lnTo>
                    <a:pt x="254" y="51219"/>
                  </a:lnTo>
                  <a:lnTo>
                    <a:pt x="4813" y="46558"/>
                  </a:lnTo>
                  <a:lnTo>
                    <a:pt x="11391" y="43459"/>
                  </a:lnTo>
                  <a:lnTo>
                    <a:pt x="22380" y="37330"/>
                  </a:lnTo>
                  <a:lnTo>
                    <a:pt x="28551" y="34306"/>
                  </a:lnTo>
                  <a:lnTo>
                    <a:pt x="37693" y="30314"/>
                  </a:lnTo>
                  <a:lnTo>
                    <a:pt x="46529" y="21956"/>
                  </a:lnTo>
                  <a:lnTo>
                    <a:pt x="51865" y="9956"/>
                  </a:lnTo>
                  <a:lnTo>
                    <a:pt x="52322" y="557"/>
                  </a:lnTo>
                  <a:lnTo>
                    <a:pt x="46520" y="0"/>
                  </a:lnTo>
                  <a:close/>
                </a:path>
              </a:pathLst>
            </a:custGeom>
            <a:solidFill>
              <a:srgbClr val="0056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19" name="object 1011">
              <a:extLst>
                <a:ext uri="{FF2B5EF4-FFF2-40B4-BE49-F238E27FC236}">
                  <a16:creationId xmlns:a16="http://schemas.microsoft.com/office/drawing/2014/main" id="{A85C3A0F-105A-44E9-ADE2-B8B355347565}"/>
                </a:ext>
              </a:extLst>
            </p:cNvPr>
            <p:cNvSpPr/>
            <p:nvPr/>
          </p:nvSpPr>
          <p:spPr>
            <a:xfrm>
              <a:off x="8048797" y="6264550"/>
              <a:ext cx="52705" cy="50800"/>
            </a:xfrm>
            <a:custGeom>
              <a:avLst/>
              <a:gdLst/>
              <a:ahLst/>
              <a:cxnLst/>
              <a:rect l="l" t="t" r="r" b="b"/>
              <a:pathLst>
                <a:path w="52704" h="50800">
                  <a:moveTo>
                    <a:pt x="46342" y="0"/>
                  </a:moveTo>
                  <a:lnTo>
                    <a:pt x="12720" y="29862"/>
                  </a:lnTo>
                  <a:lnTo>
                    <a:pt x="6286" y="42138"/>
                  </a:lnTo>
                  <a:lnTo>
                    <a:pt x="1270" y="44437"/>
                  </a:lnTo>
                  <a:lnTo>
                    <a:pt x="0" y="48641"/>
                  </a:lnTo>
                  <a:lnTo>
                    <a:pt x="127" y="50584"/>
                  </a:lnTo>
                  <a:lnTo>
                    <a:pt x="4673" y="45986"/>
                  </a:lnTo>
                  <a:lnTo>
                    <a:pt x="10820" y="42824"/>
                  </a:lnTo>
                  <a:lnTo>
                    <a:pt x="21450" y="36118"/>
                  </a:lnTo>
                  <a:lnTo>
                    <a:pt x="27704" y="32833"/>
                  </a:lnTo>
                  <a:lnTo>
                    <a:pt x="37109" y="28879"/>
                  </a:lnTo>
                  <a:lnTo>
                    <a:pt x="46185" y="20895"/>
                  </a:lnTo>
                  <a:lnTo>
                    <a:pt x="51641" y="9372"/>
                  </a:lnTo>
                  <a:lnTo>
                    <a:pt x="52139" y="383"/>
                  </a:lnTo>
                  <a:lnTo>
                    <a:pt x="46342" y="0"/>
                  </a:lnTo>
                  <a:close/>
                </a:path>
              </a:pathLst>
            </a:custGeom>
            <a:solidFill>
              <a:srgbClr val="0255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0" name="object 1012">
              <a:extLst>
                <a:ext uri="{FF2B5EF4-FFF2-40B4-BE49-F238E27FC236}">
                  <a16:creationId xmlns:a16="http://schemas.microsoft.com/office/drawing/2014/main" id="{488D1013-E103-47AC-946C-BAB22E6185DE}"/>
                </a:ext>
              </a:extLst>
            </p:cNvPr>
            <p:cNvSpPr/>
            <p:nvPr/>
          </p:nvSpPr>
          <p:spPr>
            <a:xfrm>
              <a:off x="8048955" y="6264558"/>
              <a:ext cx="52069" cy="50165"/>
            </a:xfrm>
            <a:custGeom>
              <a:avLst/>
              <a:gdLst/>
              <a:ahLst/>
              <a:cxnLst/>
              <a:rect l="l" t="t" r="r" b="b"/>
              <a:pathLst>
                <a:path w="52070" h="50165">
                  <a:moveTo>
                    <a:pt x="51968" y="38"/>
                  </a:moveTo>
                  <a:lnTo>
                    <a:pt x="17233" y="24663"/>
                  </a:lnTo>
                  <a:lnTo>
                    <a:pt x="6121" y="42138"/>
                  </a:lnTo>
                  <a:lnTo>
                    <a:pt x="1778" y="44018"/>
                  </a:lnTo>
                  <a:lnTo>
                    <a:pt x="1435" y="44221"/>
                  </a:lnTo>
                  <a:lnTo>
                    <a:pt x="0" y="48260"/>
                  </a:lnTo>
                  <a:lnTo>
                    <a:pt x="25" y="49949"/>
                  </a:lnTo>
                  <a:lnTo>
                    <a:pt x="4559" y="45415"/>
                  </a:lnTo>
                  <a:lnTo>
                    <a:pt x="10248" y="42189"/>
                  </a:lnTo>
                  <a:lnTo>
                    <a:pt x="20535" y="34899"/>
                  </a:lnTo>
                  <a:lnTo>
                    <a:pt x="26873" y="31356"/>
                  </a:lnTo>
                  <a:lnTo>
                    <a:pt x="36537" y="27444"/>
                  </a:lnTo>
                  <a:lnTo>
                    <a:pt x="45859" y="19837"/>
                  </a:lnTo>
                  <a:lnTo>
                    <a:pt x="51435" y="8788"/>
                  </a:lnTo>
                  <a:lnTo>
                    <a:pt x="51968" y="203"/>
                  </a:lnTo>
                  <a:lnTo>
                    <a:pt x="51968" y="38"/>
                  </a:lnTo>
                  <a:close/>
                </a:path>
              </a:pathLst>
            </a:custGeom>
            <a:solidFill>
              <a:srgbClr val="0254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1" name="object 1013">
              <a:extLst>
                <a:ext uri="{FF2B5EF4-FFF2-40B4-BE49-F238E27FC236}">
                  <a16:creationId xmlns:a16="http://schemas.microsoft.com/office/drawing/2014/main" id="{FDDA54B9-7889-46C6-B167-D16D7651BF6D}"/>
                </a:ext>
              </a:extLst>
            </p:cNvPr>
            <p:cNvSpPr/>
            <p:nvPr/>
          </p:nvSpPr>
          <p:spPr>
            <a:xfrm>
              <a:off x="8049102" y="6264413"/>
              <a:ext cx="52069" cy="48895"/>
            </a:xfrm>
            <a:custGeom>
              <a:avLst/>
              <a:gdLst/>
              <a:ahLst/>
              <a:cxnLst/>
              <a:rect l="l" t="t" r="r" b="b"/>
              <a:pathLst>
                <a:path w="52070" h="48895">
                  <a:moveTo>
                    <a:pt x="51823" y="0"/>
                  </a:moveTo>
                  <a:lnTo>
                    <a:pt x="17087" y="24802"/>
                  </a:lnTo>
                  <a:lnTo>
                    <a:pt x="5981" y="42276"/>
                  </a:lnTo>
                  <a:lnTo>
                    <a:pt x="1968" y="43952"/>
                  </a:lnTo>
                  <a:lnTo>
                    <a:pt x="215" y="47635"/>
                  </a:lnTo>
                  <a:lnTo>
                    <a:pt x="0" y="48829"/>
                  </a:lnTo>
                  <a:lnTo>
                    <a:pt x="4533" y="44409"/>
                  </a:lnTo>
                  <a:lnTo>
                    <a:pt x="9296" y="41044"/>
                  </a:lnTo>
                  <a:lnTo>
                    <a:pt x="18878" y="32601"/>
                  </a:lnTo>
                  <a:lnTo>
                    <a:pt x="25387" y="28539"/>
                  </a:lnTo>
                  <a:lnTo>
                    <a:pt x="35585" y="24712"/>
                  </a:lnTo>
                  <a:lnTo>
                    <a:pt x="45387" y="17855"/>
                  </a:lnTo>
                  <a:lnTo>
                    <a:pt x="51203" y="7762"/>
                  </a:lnTo>
                  <a:lnTo>
                    <a:pt x="51823" y="0"/>
                  </a:lnTo>
                  <a:close/>
                </a:path>
              </a:pathLst>
            </a:custGeom>
            <a:solidFill>
              <a:srgbClr val="0253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2" name="object 1014">
              <a:extLst>
                <a:ext uri="{FF2B5EF4-FFF2-40B4-BE49-F238E27FC236}">
                  <a16:creationId xmlns:a16="http://schemas.microsoft.com/office/drawing/2014/main" id="{BA2BD15E-6D18-4483-88CE-66CDF9379C5E}"/>
                </a:ext>
              </a:extLst>
            </p:cNvPr>
            <p:cNvSpPr/>
            <p:nvPr/>
          </p:nvSpPr>
          <p:spPr>
            <a:xfrm>
              <a:off x="8049166" y="6264238"/>
              <a:ext cx="52069" cy="48895"/>
            </a:xfrm>
            <a:custGeom>
              <a:avLst/>
              <a:gdLst/>
              <a:ahLst/>
              <a:cxnLst/>
              <a:rect l="l" t="t" r="r" b="b"/>
              <a:pathLst>
                <a:path w="52070" h="48895">
                  <a:moveTo>
                    <a:pt x="51755" y="0"/>
                  </a:moveTo>
                  <a:lnTo>
                    <a:pt x="17024" y="24976"/>
                  </a:lnTo>
                  <a:lnTo>
                    <a:pt x="5918" y="42450"/>
                  </a:lnTo>
                  <a:lnTo>
                    <a:pt x="2247" y="43911"/>
                  </a:lnTo>
                  <a:lnTo>
                    <a:pt x="317" y="47428"/>
                  </a:lnTo>
                  <a:lnTo>
                    <a:pt x="0" y="48381"/>
                  </a:lnTo>
                  <a:lnTo>
                    <a:pt x="4521" y="44012"/>
                  </a:lnTo>
                  <a:lnTo>
                    <a:pt x="8826" y="40583"/>
                  </a:lnTo>
                  <a:lnTo>
                    <a:pt x="18065" y="31563"/>
                  </a:lnTo>
                  <a:lnTo>
                    <a:pt x="24660" y="27235"/>
                  </a:lnTo>
                  <a:lnTo>
                    <a:pt x="35115" y="23438"/>
                  </a:lnTo>
                  <a:lnTo>
                    <a:pt x="45157" y="16964"/>
                  </a:lnTo>
                  <a:lnTo>
                    <a:pt x="51093" y="7350"/>
                  </a:lnTo>
                  <a:lnTo>
                    <a:pt x="51755" y="0"/>
                  </a:lnTo>
                  <a:close/>
                </a:path>
              </a:pathLst>
            </a:custGeom>
            <a:solidFill>
              <a:srgbClr val="0252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3" name="object 1015">
              <a:extLst>
                <a:ext uri="{FF2B5EF4-FFF2-40B4-BE49-F238E27FC236}">
                  <a16:creationId xmlns:a16="http://schemas.microsoft.com/office/drawing/2014/main" id="{3A689D8A-E3EE-42C9-B3F6-D48F52A39429}"/>
                </a:ext>
              </a:extLst>
            </p:cNvPr>
            <p:cNvSpPr/>
            <p:nvPr/>
          </p:nvSpPr>
          <p:spPr>
            <a:xfrm>
              <a:off x="8049216" y="6264064"/>
              <a:ext cx="52069" cy="48260"/>
            </a:xfrm>
            <a:custGeom>
              <a:avLst/>
              <a:gdLst/>
              <a:ahLst/>
              <a:cxnLst/>
              <a:rect l="l" t="t" r="r" b="b"/>
              <a:pathLst>
                <a:path w="52070" h="48259">
                  <a:moveTo>
                    <a:pt x="5432" y="42788"/>
                  </a:moveTo>
                  <a:lnTo>
                    <a:pt x="2527" y="43882"/>
                  </a:lnTo>
                  <a:lnTo>
                    <a:pt x="0" y="47920"/>
                  </a:lnTo>
                  <a:lnTo>
                    <a:pt x="4521" y="43615"/>
                  </a:lnTo>
                  <a:lnTo>
                    <a:pt x="5432" y="42788"/>
                  </a:lnTo>
                  <a:close/>
                </a:path>
                <a:path w="52070" h="48259">
                  <a:moveTo>
                    <a:pt x="6079" y="42200"/>
                  </a:moveTo>
                  <a:lnTo>
                    <a:pt x="5432" y="42788"/>
                  </a:lnTo>
                  <a:lnTo>
                    <a:pt x="5867" y="42624"/>
                  </a:lnTo>
                  <a:lnTo>
                    <a:pt x="6079" y="42200"/>
                  </a:lnTo>
                  <a:close/>
                </a:path>
                <a:path w="52070" h="48259">
                  <a:moveTo>
                    <a:pt x="51701" y="0"/>
                  </a:moveTo>
                  <a:lnTo>
                    <a:pt x="16973" y="25151"/>
                  </a:lnTo>
                  <a:lnTo>
                    <a:pt x="6079" y="42200"/>
                  </a:lnTo>
                  <a:lnTo>
                    <a:pt x="8369" y="40122"/>
                  </a:lnTo>
                  <a:lnTo>
                    <a:pt x="17260" y="30521"/>
                  </a:lnTo>
                  <a:lnTo>
                    <a:pt x="23937" y="25931"/>
                  </a:lnTo>
                  <a:lnTo>
                    <a:pt x="34658" y="22177"/>
                  </a:lnTo>
                  <a:lnTo>
                    <a:pt x="44946" y="16077"/>
                  </a:lnTo>
                  <a:lnTo>
                    <a:pt x="51001" y="6940"/>
                  </a:lnTo>
                  <a:lnTo>
                    <a:pt x="51701" y="0"/>
                  </a:lnTo>
                  <a:close/>
                </a:path>
              </a:pathLst>
            </a:custGeom>
            <a:solidFill>
              <a:srgbClr val="0251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4" name="object 1016">
              <a:extLst>
                <a:ext uri="{FF2B5EF4-FFF2-40B4-BE49-F238E27FC236}">
                  <a16:creationId xmlns:a16="http://schemas.microsoft.com/office/drawing/2014/main" id="{E7FB55A0-5EFA-4149-9D3A-7737B381F295}"/>
                </a:ext>
              </a:extLst>
            </p:cNvPr>
            <p:cNvSpPr/>
            <p:nvPr/>
          </p:nvSpPr>
          <p:spPr>
            <a:xfrm>
              <a:off x="8096449" y="6248994"/>
              <a:ext cx="1905" cy="1270"/>
            </a:xfrm>
            <a:custGeom>
              <a:avLst/>
              <a:gdLst/>
              <a:ahLst/>
              <a:cxnLst/>
              <a:rect l="l" t="t" r="r" b="b"/>
              <a:pathLst>
                <a:path w="1904" h="1270">
                  <a:moveTo>
                    <a:pt x="1371" y="0"/>
                  </a:moveTo>
                  <a:lnTo>
                    <a:pt x="1117" y="101"/>
                  </a:lnTo>
                  <a:lnTo>
                    <a:pt x="0" y="787"/>
                  </a:lnTo>
                  <a:lnTo>
                    <a:pt x="241" y="685"/>
                  </a:lnTo>
                  <a:lnTo>
                    <a:pt x="1371" y="0"/>
                  </a:lnTo>
                  <a:close/>
                </a:path>
              </a:pathLst>
            </a:custGeom>
            <a:solidFill>
              <a:srgbClr val="211D0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5" name="object 1017">
              <a:extLst>
                <a:ext uri="{FF2B5EF4-FFF2-40B4-BE49-F238E27FC236}">
                  <a16:creationId xmlns:a16="http://schemas.microsoft.com/office/drawing/2014/main" id="{935E48C5-FADA-4B77-8B58-1ED9DAECBDF5}"/>
                </a:ext>
              </a:extLst>
            </p:cNvPr>
            <p:cNvSpPr/>
            <p:nvPr/>
          </p:nvSpPr>
          <p:spPr>
            <a:xfrm>
              <a:off x="8098292" y="6264022"/>
              <a:ext cx="1270" cy="635"/>
            </a:xfrm>
            <a:custGeom>
              <a:avLst/>
              <a:gdLst/>
              <a:ahLst/>
              <a:cxnLst/>
              <a:rect l="l" t="t" r="r" b="b"/>
              <a:pathLst>
                <a:path w="1270" h="634">
                  <a:moveTo>
                    <a:pt x="1155" y="0"/>
                  </a:moveTo>
                  <a:lnTo>
                    <a:pt x="0" y="393"/>
                  </a:lnTo>
                  <a:lnTo>
                    <a:pt x="25" y="609"/>
                  </a:lnTo>
                  <a:lnTo>
                    <a:pt x="1193" y="228"/>
                  </a:lnTo>
                  <a:lnTo>
                    <a:pt x="1155" y="0"/>
                  </a:lnTo>
                  <a:close/>
                </a:path>
              </a:pathLst>
            </a:custGeom>
            <a:solidFill>
              <a:srgbClr val="99893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6" name="object 1018">
              <a:extLst>
                <a:ext uri="{FF2B5EF4-FFF2-40B4-BE49-F238E27FC236}">
                  <a16:creationId xmlns:a16="http://schemas.microsoft.com/office/drawing/2014/main" id="{D6726895-7833-4E8A-9473-E6DBE8640C96}"/>
                </a:ext>
              </a:extLst>
            </p:cNvPr>
            <p:cNvSpPr/>
            <p:nvPr/>
          </p:nvSpPr>
          <p:spPr>
            <a:xfrm>
              <a:off x="8098324" y="6264241"/>
              <a:ext cx="1270" cy="52705"/>
            </a:xfrm>
            <a:custGeom>
              <a:avLst/>
              <a:gdLst/>
              <a:ahLst/>
              <a:cxnLst/>
              <a:rect l="l" t="t" r="r" b="b"/>
              <a:pathLst>
                <a:path w="1270" h="52704">
                  <a:moveTo>
                    <a:pt x="1155" y="0"/>
                  </a:moveTo>
                  <a:lnTo>
                    <a:pt x="0" y="393"/>
                  </a:lnTo>
                  <a:lnTo>
                    <a:pt x="0" y="51803"/>
                  </a:lnTo>
                  <a:lnTo>
                    <a:pt x="1155" y="52451"/>
                  </a:lnTo>
                  <a:lnTo>
                    <a:pt x="1155" y="0"/>
                  </a:lnTo>
                  <a:close/>
                </a:path>
              </a:pathLst>
            </a:custGeom>
            <a:solidFill>
              <a:srgbClr val="AA99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7" name="object 1019">
              <a:extLst>
                <a:ext uri="{FF2B5EF4-FFF2-40B4-BE49-F238E27FC236}">
                  <a16:creationId xmlns:a16="http://schemas.microsoft.com/office/drawing/2014/main" id="{7ED59B02-4C95-4FA8-9627-224F787EDC13}"/>
                </a:ext>
              </a:extLst>
            </p:cNvPr>
            <p:cNvSpPr/>
            <p:nvPr/>
          </p:nvSpPr>
          <p:spPr>
            <a:xfrm>
              <a:off x="7984807" y="6249102"/>
              <a:ext cx="1270" cy="67945"/>
            </a:xfrm>
            <a:custGeom>
              <a:avLst/>
              <a:gdLst/>
              <a:ahLst/>
              <a:cxnLst/>
              <a:rect l="l" t="t" r="r" b="b"/>
              <a:pathLst>
                <a:path w="1270" h="67945">
                  <a:moveTo>
                    <a:pt x="1104" y="685"/>
                  </a:moveTo>
                  <a:lnTo>
                    <a:pt x="0" y="0"/>
                  </a:lnTo>
                  <a:lnTo>
                    <a:pt x="152" y="67678"/>
                  </a:lnTo>
                  <a:lnTo>
                    <a:pt x="1104" y="66954"/>
                  </a:lnTo>
                  <a:lnTo>
                    <a:pt x="1104" y="685"/>
                  </a:lnTo>
                  <a:close/>
                </a:path>
              </a:pathLst>
            </a:custGeom>
            <a:solidFill>
              <a:srgbClr val="39311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8" name="object 1020">
              <a:extLst>
                <a:ext uri="{FF2B5EF4-FFF2-40B4-BE49-F238E27FC236}">
                  <a16:creationId xmlns:a16="http://schemas.microsoft.com/office/drawing/2014/main" id="{DA740A29-D78E-47FC-9049-02E57E001859}"/>
                </a:ext>
              </a:extLst>
            </p:cNvPr>
            <p:cNvSpPr/>
            <p:nvPr/>
          </p:nvSpPr>
          <p:spPr>
            <a:xfrm>
              <a:off x="7985011" y="6315135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762" y="0"/>
                  </a:moveTo>
                  <a:lnTo>
                    <a:pt x="241" y="1054"/>
                  </a:lnTo>
                  <a:lnTo>
                    <a:pt x="0" y="1587"/>
                  </a:lnTo>
                  <a:lnTo>
                    <a:pt x="25" y="3949"/>
                  </a:lnTo>
                  <a:lnTo>
                    <a:pt x="304" y="3251"/>
                  </a:lnTo>
                  <a:lnTo>
                    <a:pt x="818" y="2108"/>
                  </a:lnTo>
                  <a:lnTo>
                    <a:pt x="762" y="0"/>
                  </a:lnTo>
                  <a:close/>
                </a:path>
              </a:pathLst>
            </a:custGeom>
            <a:solidFill>
              <a:srgbClr val="3C341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9" name="object 1021">
              <a:extLst>
                <a:ext uri="{FF2B5EF4-FFF2-40B4-BE49-F238E27FC236}">
                  <a16:creationId xmlns:a16="http://schemas.microsoft.com/office/drawing/2014/main" id="{A087FE57-5E47-4F48-B1B7-092FD84196E3}"/>
                </a:ext>
              </a:extLst>
            </p:cNvPr>
            <p:cNvSpPr/>
            <p:nvPr/>
          </p:nvSpPr>
          <p:spPr>
            <a:xfrm>
              <a:off x="7985041" y="6317001"/>
              <a:ext cx="1270" cy="5080"/>
            </a:xfrm>
            <a:custGeom>
              <a:avLst/>
              <a:gdLst/>
              <a:ahLst/>
              <a:cxnLst/>
              <a:rect l="l" t="t" r="r" b="b"/>
              <a:pathLst>
                <a:path w="1270" h="5079">
                  <a:moveTo>
                    <a:pt x="901" y="0"/>
                  </a:moveTo>
                  <a:lnTo>
                    <a:pt x="571" y="698"/>
                  </a:lnTo>
                  <a:lnTo>
                    <a:pt x="0" y="2082"/>
                  </a:lnTo>
                  <a:lnTo>
                    <a:pt x="12" y="2768"/>
                  </a:lnTo>
                  <a:lnTo>
                    <a:pt x="101" y="4508"/>
                  </a:lnTo>
                  <a:lnTo>
                    <a:pt x="355" y="3721"/>
                  </a:lnTo>
                  <a:lnTo>
                    <a:pt x="660" y="2933"/>
                  </a:lnTo>
                  <a:lnTo>
                    <a:pt x="1003" y="2133"/>
                  </a:lnTo>
                  <a:lnTo>
                    <a:pt x="914" y="571"/>
                  </a:lnTo>
                  <a:lnTo>
                    <a:pt x="901" y="0"/>
                  </a:lnTo>
                  <a:close/>
                </a:path>
              </a:pathLst>
            </a:custGeom>
            <a:solidFill>
              <a:srgbClr val="3E361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0" name="object 1022">
              <a:extLst>
                <a:ext uri="{FF2B5EF4-FFF2-40B4-BE49-F238E27FC236}">
                  <a16:creationId xmlns:a16="http://schemas.microsoft.com/office/drawing/2014/main" id="{1FCE5C48-3D74-4BFD-965E-6EE3B681F162}"/>
                </a:ext>
              </a:extLst>
            </p:cNvPr>
            <p:cNvSpPr/>
            <p:nvPr/>
          </p:nvSpPr>
          <p:spPr>
            <a:xfrm>
              <a:off x="7985135" y="6319138"/>
              <a:ext cx="1270" cy="5080"/>
            </a:xfrm>
            <a:custGeom>
              <a:avLst/>
              <a:gdLst/>
              <a:ahLst/>
              <a:cxnLst/>
              <a:rect l="l" t="t" r="r" b="b"/>
              <a:pathLst>
                <a:path w="1270" h="5079">
                  <a:moveTo>
                    <a:pt x="901" y="0"/>
                  </a:moveTo>
                  <a:lnTo>
                    <a:pt x="571" y="787"/>
                  </a:lnTo>
                  <a:lnTo>
                    <a:pt x="266" y="1587"/>
                  </a:lnTo>
                  <a:lnTo>
                    <a:pt x="0" y="2374"/>
                  </a:lnTo>
                  <a:lnTo>
                    <a:pt x="101" y="4000"/>
                  </a:lnTo>
                  <a:lnTo>
                    <a:pt x="177" y="4965"/>
                  </a:lnTo>
                  <a:lnTo>
                    <a:pt x="406" y="4076"/>
                  </a:lnTo>
                  <a:lnTo>
                    <a:pt x="685" y="3162"/>
                  </a:lnTo>
                  <a:lnTo>
                    <a:pt x="1028" y="2247"/>
                  </a:lnTo>
                  <a:lnTo>
                    <a:pt x="977" y="1447"/>
                  </a:lnTo>
                  <a:lnTo>
                    <a:pt x="901" y="0"/>
                  </a:lnTo>
                  <a:close/>
                </a:path>
              </a:pathLst>
            </a:custGeom>
            <a:solidFill>
              <a:srgbClr val="41391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1" name="object 1023">
              <a:extLst>
                <a:ext uri="{FF2B5EF4-FFF2-40B4-BE49-F238E27FC236}">
                  <a16:creationId xmlns:a16="http://schemas.microsoft.com/office/drawing/2014/main" id="{68FE5D20-ACCC-435E-B82F-B7A5B4E19F46}"/>
                </a:ext>
              </a:extLst>
            </p:cNvPr>
            <p:cNvSpPr/>
            <p:nvPr/>
          </p:nvSpPr>
          <p:spPr>
            <a:xfrm>
              <a:off x="7985311" y="6321393"/>
              <a:ext cx="1270" cy="5715"/>
            </a:xfrm>
            <a:custGeom>
              <a:avLst/>
              <a:gdLst/>
              <a:ahLst/>
              <a:cxnLst/>
              <a:rect l="l" t="t" r="r" b="b"/>
              <a:pathLst>
                <a:path w="1270" h="5715">
                  <a:moveTo>
                    <a:pt x="850" y="0"/>
                  </a:moveTo>
                  <a:lnTo>
                    <a:pt x="520" y="914"/>
                  </a:lnTo>
                  <a:lnTo>
                    <a:pt x="228" y="1816"/>
                  </a:lnTo>
                  <a:lnTo>
                    <a:pt x="0" y="2705"/>
                  </a:lnTo>
                  <a:lnTo>
                    <a:pt x="139" y="4597"/>
                  </a:lnTo>
                  <a:lnTo>
                    <a:pt x="241" y="5664"/>
                  </a:lnTo>
                  <a:lnTo>
                    <a:pt x="406" y="4610"/>
                  </a:lnTo>
                  <a:lnTo>
                    <a:pt x="673" y="3517"/>
                  </a:lnTo>
                  <a:lnTo>
                    <a:pt x="1016" y="2400"/>
                  </a:lnTo>
                  <a:lnTo>
                    <a:pt x="850" y="0"/>
                  </a:lnTo>
                  <a:close/>
                </a:path>
              </a:pathLst>
            </a:custGeom>
            <a:solidFill>
              <a:srgbClr val="433A1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2" name="object 1024">
              <a:extLst>
                <a:ext uri="{FF2B5EF4-FFF2-40B4-BE49-F238E27FC236}">
                  <a16:creationId xmlns:a16="http://schemas.microsoft.com/office/drawing/2014/main" id="{FDAF362C-050E-4F81-8B54-209075EF214B}"/>
                </a:ext>
              </a:extLst>
            </p:cNvPr>
            <p:cNvSpPr/>
            <p:nvPr/>
          </p:nvSpPr>
          <p:spPr>
            <a:xfrm>
              <a:off x="7985562" y="6323790"/>
              <a:ext cx="1270" cy="7620"/>
            </a:xfrm>
            <a:custGeom>
              <a:avLst/>
              <a:gdLst/>
              <a:ahLst/>
              <a:cxnLst/>
              <a:rect l="l" t="t" r="r" b="b"/>
              <a:pathLst>
                <a:path w="1270" h="7620">
                  <a:moveTo>
                    <a:pt x="761" y="0"/>
                  </a:moveTo>
                  <a:lnTo>
                    <a:pt x="419" y="1117"/>
                  </a:lnTo>
                  <a:lnTo>
                    <a:pt x="152" y="2209"/>
                  </a:lnTo>
                  <a:lnTo>
                    <a:pt x="0" y="3263"/>
                  </a:lnTo>
                  <a:lnTo>
                    <a:pt x="101" y="4419"/>
                  </a:lnTo>
                  <a:lnTo>
                    <a:pt x="380" y="7048"/>
                  </a:lnTo>
                  <a:lnTo>
                    <a:pt x="431" y="6375"/>
                  </a:lnTo>
                  <a:lnTo>
                    <a:pt x="546" y="5232"/>
                  </a:lnTo>
                  <a:lnTo>
                    <a:pt x="609" y="4394"/>
                  </a:lnTo>
                  <a:lnTo>
                    <a:pt x="774" y="3505"/>
                  </a:lnTo>
                  <a:lnTo>
                    <a:pt x="977" y="2603"/>
                  </a:lnTo>
                  <a:lnTo>
                    <a:pt x="888" y="1714"/>
                  </a:lnTo>
                  <a:lnTo>
                    <a:pt x="761" y="0"/>
                  </a:lnTo>
                  <a:close/>
                </a:path>
              </a:pathLst>
            </a:custGeom>
            <a:solidFill>
              <a:srgbClr val="463E1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3" name="object 1025">
              <a:extLst>
                <a:ext uri="{FF2B5EF4-FFF2-40B4-BE49-F238E27FC236}">
                  <a16:creationId xmlns:a16="http://schemas.microsoft.com/office/drawing/2014/main" id="{28716446-CF4A-47AC-91CF-B7B2E3E65BCE}"/>
                </a:ext>
              </a:extLst>
            </p:cNvPr>
            <p:cNvSpPr/>
            <p:nvPr/>
          </p:nvSpPr>
          <p:spPr>
            <a:xfrm>
              <a:off x="7985934" y="6326393"/>
              <a:ext cx="1270" cy="8255"/>
            </a:xfrm>
            <a:custGeom>
              <a:avLst/>
              <a:gdLst/>
              <a:ahLst/>
              <a:cxnLst/>
              <a:rect l="l" t="t" r="r" b="b"/>
              <a:pathLst>
                <a:path w="1270" h="8254">
                  <a:moveTo>
                    <a:pt x="609" y="0"/>
                  </a:moveTo>
                  <a:lnTo>
                    <a:pt x="393" y="901"/>
                  </a:lnTo>
                  <a:lnTo>
                    <a:pt x="241" y="1790"/>
                  </a:lnTo>
                  <a:lnTo>
                    <a:pt x="127" y="3162"/>
                  </a:lnTo>
                  <a:lnTo>
                    <a:pt x="0" y="4444"/>
                  </a:lnTo>
                  <a:lnTo>
                    <a:pt x="254" y="6680"/>
                  </a:lnTo>
                  <a:lnTo>
                    <a:pt x="444" y="7975"/>
                  </a:lnTo>
                  <a:lnTo>
                    <a:pt x="596" y="6197"/>
                  </a:lnTo>
                  <a:lnTo>
                    <a:pt x="749" y="4698"/>
                  </a:lnTo>
                  <a:lnTo>
                    <a:pt x="914" y="2984"/>
                  </a:lnTo>
                  <a:lnTo>
                    <a:pt x="698" y="990"/>
                  </a:lnTo>
                  <a:lnTo>
                    <a:pt x="609" y="0"/>
                  </a:lnTo>
                  <a:close/>
                </a:path>
              </a:pathLst>
            </a:custGeom>
            <a:solidFill>
              <a:srgbClr val="49401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4" name="object 1026">
              <a:extLst>
                <a:ext uri="{FF2B5EF4-FFF2-40B4-BE49-F238E27FC236}">
                  <a16:creationId xmlns:a16="http://schemas.microsoft.com/office/drawing/2014/main" id="{61023F66-46FB-43BB-9C53-3A58AE780308}"/>
                </a:ext>
              </a:extLst>
            </p:cNvPr>
            <p:cNvSpPr/>
            <p:nvPr/>
          </p:nvSpPr>
          <p:spPr>
            <a:xfrm>
              <a:off x="7986388" y="6329375"/>
              <a:ext cx="1270" cy="8255"/>
            </a:xfrm>
            <a:custGeom>
              <a:avLst/>
              <a:gdLst/>
              <a:ahLst/>
              <a:cxnLst/>
              <a:rect l="l" t="t" r="r" b="b"/>
              <a:pathLst>
                <a:path w="1270" h="8254">
                  <a:moveTo>
                    <a:pt x="457" y="0"/>
                  </a:moveTo>
                  <a:lnTo>
                    <a:pt x="406" y="381"/>
                  </a:lnTo>
                  <a:lnTo>
                    <a:pt x="292" y="1714"/>
                  </a:lnTo>
                  <a:lnTo>
                    <a:pt x="139" y="3213"/>
                  </a:lnTo>
                  <a:lnTo>
                    <a:pt x="0" y="4991"/>
                  </a:lnTo>
                  <a:lnTo>
                    <a:pt x="139" y="5905"/>
                  </a:lnTo>
                  <a:lnTo>
                    <a:pt x="304" y="6858"/>
                  </a:lnTo>
                  <a:lnTo>
                    <a:pt x="508" y="7835"/>
                  </a:lnTo>
                  <a:lnTo>
                    <a:pt x="647" y="6096"/>
                  </a:lnTo>
                  <a:lnTo>
                    <a:pt x="901" y="3276"/>
                  </a:lnTo>
                  <a:lnTo>
                    <a:pt x="774" y="2413"/>
                  </a:lnTo>
                  <a:lnTo>
                    <a:pt x="660" y="1625"/>
                  </a:lnTo>
                  <a:lnTo>
                    <a:pt x="457" y="0"/>
                  </a:lnTo>
                  <a:close/>
                </a:path>
              </a:pathLst>
            </a:custGeom>
            <a:solidFill>
              <a:srgbClr val="4C431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5" name="object 1027">
              <a:extLst>
                <a:ext uri="{FF2B5EF4-FFF2-40B4-BE49-F238E27FC236}">
                  <a16:creationId xmlns:a16="http://schemas.microsoft.com/office/drawing/2014/main" id="{6580F408-E4FB-4D27-AA23-C124AAFD6B47}"/>
                </a:ext>
              </a:extLst>
            </p:cNvPr>
            <p:cNvSpPr/>
            <p:nvPr/>
          </p:nvSpPr>
          <p:spPr>
            <a:xfrm>
              <a:off x="7986899" y="6332654"/>
              <a:ext cx="1270" cy="7620"/>
            </a:xfrm>
            <a:custGeom>
              <a:avLst/>
              <a:gdLst/>
              <a:ahLst/>
              <a:cxnLst/>
              <a:rect l="l" t="t" r="r" b="b"/>
              <a:pathLst>
                <a:path w="1270" h="7620">
                  <a:moveTo>
                    <a:pt x="393" y="0"/>
                  </a:moveTo>
                  <a:lnTo>
                    <a:pt x="126" y="2819"/>
                  </a:lnTo>
                  <a:lnTo>
                    <a:pt x="0" y="4559"/>
                  </a:lnTo>
                  <a:lnTo>
                    <a:pt x="368" y="6172"/>
                  </a:lnTo>
                  <a:lnTo>
                    <a:pt x="571" y="6997"/>
                  </a:lnTo>
                  <a:lnTo>
                    <a:pt x="673" y="5461"/>
                  </a:lnTo>
                  <a:lnTo>
                    <a:pt x="901" y="2819"/>
                  </a:lnTo>
                  <a:lnTo>
                    <a:pt x="685" y="1790"/>
                  </a:lnTo>
                  <a:lnTo>
                    <a:pt x="393" y="0"/>
                  </a:lnTo>
                  <a:close/>
                </a:path>
              </a:pathLst>
            </a:custGeom>
            <a:solidFill>
              <a:srgbClr val="4F441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6" name="object 1028">
              <a:extLst>
                <a:ext uri="{FF2B5EF4-FFF2-40B4-BE49-F238E27FC236}">
                  <a16:creationId xmlns:a16="http://schemas.microsoft.com/office/drawing/2014/main" id="{294B8FD4-D158-4D30-8C19-CBEA8DDFFE66}"/>
                </a:ext>
              </a:extLst>
            </p:cNvPr>
            <p:cNvSpPr/>
            <p:nvPr/>
          </p:nvSpPr>
          <p:spPr>
            <a:xfrm>
              <a:off x="7987478" y="6335469"/>
              <a:ext cx="1270" cy="6985"/>
            </a:xfrm>
            <a:custGeom>
              <a:avLst/>
              <a:gdLst/>
              <a:ahLst/>
              <a:cxnLst/>
              <a:rect l="l" t="t" r="r" b="b"/>
              <a:pathLst>
                <a:path w="1270" h="6984">
                  <a:moveTo>
                    <a:pt x="317" y="0"/>
                  </a:moveTo>
                  <a:lnTo>
                    <a:pt x="203" y="1244"/>
                  </a:lnTo>
                  <a:lnTo>
                    <a:pt x="88" y="2654"/>
                  </a:lnTo>
                  <a:lnTo>
                    <a:pt x="0" y="4190"/>
                  </a:lnTo>
                  <a:lnTo>
                    <a:pt x="177" y="4902"/>
                  </a:lnTo>
                  <a:lnTo>
                    <a:pt x="596" y="6362"/>
                  </a:lnTo>
                  <a:lnTo>
                    <a:pt x="673" y="4965"/>
                  </a:lnTo>
                  <a:lnTo>
                    <a:pt x="761" y="3644"/>
                  </a:lnTo>
                  <a:lnTo>
                    <a:pt x="863" y="2451"/>
                  </a:lnTo>
                  <a:lnTo>
                    <a:pt x="469" y="774"/>
                  </a:lnTo>
                  <a:lnTo>
                    <a:pt x="317" y="0"/>
                  </a:lnTo>
                  <a:close/>
                </a:path>
              </a:pathLst>
            </a:custGeom>
            <a:solidFill>
              <a:srgbClr val="52471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7" name="object 1029">
              <a:extLst>
                <a:ext uri="{FF2B5EF4-FFF2-40B4-BE49-F238E27FC236}">
                  <a16:creationId xmlns:a16="http://schemas.microsoft.com/office/drawing/2014/main" id="{496D82A7-6E95-4D5A-97FE-94E46D4F8CD2}"/>
                </a:ext>
              </a:extLst>
            </p:cNvPr>
            <p:cNvSpPr/>
            <p:nvPr/>
          </p:nvSpPr>
          <p:spPr>
            <a:xfrm>
              <a:off x="7988076" y="6337918"/>
              <a:ext cx="1270" cy="6350"/>
            </a:xfrm>
            <a:custGeom>
              <a:avLst/>
              <a:gdLst/>
              <a:ahLst/>
              <a:cxnLst/>
              <a:rect l="l" t="t" r="r" b="b"/>
              <a:pathLst>
                <a:path w="1270" h="6350">
                  <a:moveTo>
                    <a:pt x="266" y="0"/>
                  </a:moveTo>
                  <a:lnTo>
                    <a:pt x="165" y="1206"/>
                  </a:lnTo>
                  <a:lnTo>
                    <a:pt x="76" y="2514"/>
                  </a:lnTo>
                  <a:lnTo>
                    <a:pt x="0" y="3924"/>
                  </a:lnTo>
                  <a:lnTo>
                    <a:pt x="190" y="4571"/>
                  </a:lnTo>
                  <a:lnTo>
                    <a:pt x="406" y="5245"/>
                  </a:lnTo>
                  <a:lnTo>
                    <a:pt x="634" y="5905"/>
                  </a:lnTo>
                  <a:lnTo>
                    <a:pt x="685" y="4597"/>
                  </a:lnTo>
                  <a:lnTo>
                    <a:pt x="761" y="3352"/>
                  </a:lnTo>
                  <a:lnTo>
                    <a:pt x="850" y="2197"/>
                  </a:lnTo>
                  <a:lnTo>
                    <a:pt x="431" y="698"/>
                  </a:lnTo>
                  <a:lnTo>
                    <a:pt x="266" y="0"/>
                  </a:lnTo>
                  <a:close/>
                </a:path>
              </a:pathLst>
            </a:custGeom>
            <a:solidFill>
              <a:srgbClr val="544A1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8" name="object 1030">
              <a:extLst>
                <a:ext uri="{FF2B5EF4-FFF2-40B4-BE49-F238E27FC236}">
                  <a16:creationId xmlns:a16="http://schemas.microsoft.com/office/drawing/2014/main" id="{7249CCC0-B336-4DFB-B3E9-64BAE88DF717}"/>
                </a:ext>
              </a:extLst>
            </p:cNvPr>
            <p:cNvSpPr/>
            <p:nvPr/>
          </p:nvSpPr>
          <p:spPr>
            <a:xfrm>
              <a:off x="7988711" y="6340114"/>
              <a:ext cx="1270" cy="5715"/>
            </a:xfrm>
            <a:custGeom>
              <a:avLst/>
              <a:gdLst/>
              <a:ahLst/>
              <a:cxnLst/>
              <a:rect l="l" t="t" r="r" b="b"/>
              <a:pathLst>
                <a:path w="1270" h="5715">
                  <a:moveTo>
                    <a:pt x="215" y="0"/>
                  </a:moveTo>
                  <a:lnTo>
                    <a:pt x="127" y="1155"/>
                  </a:lnTo>
                  <a:lnTo>
                    <a:pt x="50" y="2400"/>
                  </a:lnTo>
                  <a:lnTo>
                    <a:pt x="0" y="3708"/>
                  </a:lnTo>
                  <a:lnTo>
                    <a:pt x="406" y="4940"/>
                  </a:lnTo>
                  <a:lnTo>
                    <a:pt x="635" y="5562"/>
                  </a:lnTo>
                  <a:lnTo>
                    <a:pt x="673" y="4305"/>
                  </a:lnTo>
                  <a:lnTo>
                    <a:pt x="812" y="1981"/>
                  </a:lnTo>
                  <a:lnTo>
                    <a:pt x="393" y="635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574C1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39" name="object 1031">
              <a:extLst>
                <a:ext uri="{FF2B5EF4-FFF2-40B4-BE49-F238E27FC236}">
                  <a16:creationId xmlns:a16="http://schemas.microsoft.com/office/drawing/2014/main" id="{C6C992A7-37E9-43EE-846B-3B898899E136}"/>
                </a:ext>
              </a:extLst>
            </p:cNvPr>
            <p:cNvSpPr/>
            <p:nvPr/>
          </p:nvSpPr>
          <p:spPr>
            <a:xfrm>
              <a:off x="7989350" y="6342095"/>
              <a:ext cx="1270" cy="5715"/>
            </a:xfrm>
            <a:custGeom>
              <a:avLst/>
              <a:gdLst/>
              <a:ahLst/>
              <a:cxnLst/>
              <a:rect l="l" t="t" r="r" b="b"/>
              <a:pathLst>
                <a:path w="1270" h="5715">
                  <a:moveTo>
                    <a:pt x="177" y="0"/>
                  </a:moveTo>
                  <a:lnTo>
                    <a:pt x="101" y="1117"/>
                  </a:lnTo>
                  <a:lnTo>
                    <a:pt x="38" y="2311"/>
                  </a:lnTo>
                  <a:lnTo>
                    <a:pt x="0" y="3581"/>
                  </a:lnTo>
                  <a:lnTo>
                    <a:pt x="419" y="4711"/>
                  </a:lnTo>
                  <a:lnTo>
                    <a:pt x="647" y="5295"/>
                  </a:lnTo>
                  <a:lnTo>
                    <a:pt x="685" y="4089"/>
                  </a:lnTo>
                  <a:lnTo>
                    <a:pt x="736" y="2920"/>
                  </a:lnTo>
                  <a:lnTo>
                    <a:pt x="800" y="1828"/>
                  </a:lnTo>
                  <a:lnTo>
                    <a:pt x="368" y="596"/>
                  </a:lnTo>
                  <a:lnTo>
                    <a:pt x="177" y="0"/>
                  </a:lnTo>
                  <a:close/>
                </a:path>
              </a:pathLst>
            </a:custGeom>
            <a:solidFill>
              <a:srgbClr val="594F2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0" name="object 1032">
              <a:extLst>
                <a:ext uri="{FF2B5EF4-FFF2-40B4-BE49-F238E27FC236}">
                  <a16:creationId xmlns:a16="http://schemas.microsoft.com/office/drawing/2014/main" id="{9000C0F4-1FE5-4A17-A68A-27513667470E}"/>
                </a:ext>
              </a:extLst>
            </p:cNvPr>
            <p:cNvSpPr/>
            <p:nvPr/>
          </p:nvSpPr>
          <p:spPr>
            <a:xfrm>
              <a:off x="7990000" y="6343923"/>
              <a:ext cx="1270" cy="5080"/>
            </a:xfrm>
            <a:custGeom>
              <a:avLst/>
              <a:gdLst/>
              <a:ahLst/>
              <a:cxnLst/>
              <a:rect l="l" t="t" r="r" b="b"/>
              <a:pathLst>
                <a:path w="1270" h="5079">
                  <a:moveTo>
                    <a:pt x="152" y="0"/>
                  </a:moveTo>
                  <a:lnTo>
                    <a:pt x="88" y="1104"/>
                  </a:lnTo>
                  <a:lnTo>
                    <a:pt x="38" y="2260"/>
                  </a:lnTo>
                  <a:lnTo>
                    <a:pt x="0" y="3467"/>
                  </a:lnTo>
                  <a:lnTo>
                    <a:pt x="431" y="4533"/>
                  </a:lnTo>
                  <a:lnTo>
                    <a:pt x="660" y="5067"/>
                  </a:lnTo>
                  <a:lnTo>
                    <a:pt x="685" y="3898"/>
                  </a:lnTo>
                  <a:lnTo>
                    <a:pt x="787" y="1701"/>
                  </a:lnTo>
                  <a:lnTo>
                    <a:pt x="558" y="1117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5C51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1" name="object 1033">
              <a:extLst>
                <a:ext uri="{FF2B5EF4-FFF2-40B4-BE49-F238E27FC236}">
                  <a16:creationId xmlns:a16="http://schemas.microsoft.com/office/drawing/2014/main" id="{162452DA-AF1D-4788-8BE5-90BEF80471E2}"/>
                </a:ext>
              </a:extLst>
            </p:cNvPr>
            <p:cNvSpPr/>
            <p:nvPr/>
          </p:nvSpPr>
          <p:spPr>
            <a:xfrm>
              <a:off x="7990661" y="6345627"/>
              <a:ext cx="1270" cy="5080"/>
            </a:xfrm>
            <a:custGeom>
              <a:avLst/>
              <a:gdLst/>
              <a:ahLst/>
              <a:cxnLst/>
              <a:rect l="l" t="t" r="r" b="b"/>
              <a:pathLst>
                <a:path w="1270" h="5079">
                  <a:moveTo>
                    <a:pt x="126" y="0"/>
                  </a:moveTo>
                  <a:lnTo>
                    <a:pt x="25" y="2197"/>
                  </a:lnTo>
                  <a:lnTo>
                    <a:pt x="0" y="3365"/>
                  </a:lnTo>
                  <a:lnTo>
                    <a:pt x="228" y="3873"/>
                  </a:lnTo>
                  <a:lnTo>
                    <a:pt x="444" y="4381"/>
                  </a:lnTo>
                  <a:lnTo>
                    <a:pt x="673" y="4889"/>
                  </a:lnTo>
                  <a:lnTo>
                    <a:pt x="723" y="2654"/>
                  </a:lnTo>
                  <a:lnTo>
                    <a:pt x="774" y="1600"/>
                  </a:lnTo>
                  <a:lnTo>
                    <a:pt x="330" y="520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5E52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2" name="object 1034">
              <a:extLst>
                <a:ext uri="{FF2B5EF4-FFF2-40B4-BE49-F238E27FC236}">
                  <a16:creationId xmlns:a16="http://schemas.microsoft.com/office/drawing/2014/main" id="{563733F8-DD3B-4922-A381-599A202393BD}"/>
                </a:ext>
              </a:extLst>
            </p:cNvPr>
            <p:cNvSpPr/>
            <p:nvPr/>
          </p:nvSpPr>
          <p:spPr>
            <a:xfrm>
              <a:off x="7991339" y="6347222"/>
              <a:ext cx="1270" cy="5080"/>
            </a:xfrm>
            <a:custGeom>
              <a:avLst/>
              <a:gdLst/>
              <a:ahLst/>
              <a:cxnLst/>
              <a:rect l="l" t="t" r="r" b="b"/>
              <a:pathLst>
                <a:path w="1270" h="5079">
                  <a:moveTo>
                    <a:pt x="101" y="0"/>
                  </a:moveTo>
                  <a:lnTo>
                    <a:pt x="50" y="1054"/>
                  </a:lnTo>
                  <a:lnTo>
                    <a:pt x="12" y="2159"/>
                  </a:lnTo>
                  <a:lnTo>
                    <a:pt x="0" y="3289"/>
                  </a:lnTo>
                  <a:lnTo>
                    <a:pt x="215" y="3784"/>
                  </a:lnTo>
                  <a:lnTo>
                    <a:pt x="673" y="4749"/>
                  </a:lnTo>
                  <a:lnTo>
                    <a:pt x="685" y="3632"/>
                  </a:lnTo>
                  <a:lnTo>
                    <a:pt x="711" y="2540"/>
                  </a:lnTo>
                  <a:lnTo>
                    <a:pt x="749" y="1498"/>
                  </a:lnTo>
                  <a:lnTo>
                    <a:pt x="304" y="495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6055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3" name="object 1035">
              <a:extLst>
                <a:ext uri="{FF2B5EF4-FFF2-40B4-BE49-F238E27FC236}">
                  <a16:creationId xmlns:a16="http://schemas.microsoft.com/office/drawing/2014/main" id="{B98E1E46-E5AC-45CB-BF13-674848498A5E}"/>
                </a:ext>
              </a:extLst>
            </p:cNvPr>
            <p:cNvSpPr/>
            <p:nvPr/>
          </p:nvSpPr>
          <p:spPr>
            <a:xfrm>
              <a:off x="7992016" y="6348717"/>
              <a:ext cx="1270" cy="5080"/>
            </a:xfrm>
            <a:custGeom>
              <a:avLst/>
              <a:gdLst/>
              <a:ahLst/>
              <a:cxnLst/>
              <a:rect l="l" t="t" r="r" b="b"/>
              <a:pathLst>
                <a:path w="1270" h="5079">
                  <a:moveTo>
                    <a:pt x="76" y="0"/>
                  </a:moveTo>
                  <a:lnTo>
                    <a:pt x="38" y="1041"/>
                  </a:lnTo>
                  <a:lnTo>
                    <a:pt x="12" y="2133"/>
                  </a:lnTo>
                  <a:lnTo>
                    <a:pt x="0" y="3251"/>
                  </a:lnTo>
                  <a:lnTo>
                    <a:pt x="215" y="3708"/>
                  </a:lnTo>
                  <a:lnTo>
                    <a:pt x="444" y="4165"/>
                  </a:lnTo>
                  <a:lnTo>
                    <a:pt x="685" y="4622"/>
                  </a:lnTo>
                  <a:lnTo>
                    <a:pt x="685" y="3517"/>
                  </a:lnTo>
                  <a:lnTo>
                    <a:pt x="736" y="1422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6357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4" name="object 1036">
              <a:extLst>
                <a:ext uri="{FF2B5EF4-FFF2-40B4-BE49-F238E27FC236}">
                  <a16:creationId xmlns:a16="http://schemas.microsoft.com/office/drawing/2014/main" id="{83864065-9BCF-4C5B-BD62-79200EF07C08}"/>
                </a:ext>
              </a:extLst>
            </p:cNvPr>
            <p:cNvSpPr/>
            <p:nvPr/>
          </p:nvSpPr>
          <p:spPr>
            <a:xfrm>
              <a:off x="7992695" y="6350137"/>
              <a:ext cx="1270" cy="5080"/>
            </a:xfrm>
            <a:custGeom>
              <a:avLst/>
              <a:gdLst/>
              <a:ahLst/>
              <a:cxnLst/>
              <a:rect l="l" t="t" r="r" b="b"/>
              <a:pathLst>
                <a:path w="1270" h="5079">
                  <a:moveTo>
                    <a:pt x="63" y="0"/>
                  </a:moveTo>
                  <a:lnTo>
                    <a:pt x="25" y="1028"/>
                  </a:lnTo>
                  <a:lnTo>
                    <a:pt x="0" y="2108"/>
                  </a:lnTo>
                  <a:lnTo>
                    <a:pt x="0" y="3213"/>
                  </a:lnTo>
                  <a:lnTo>
                    <a:pt x="228" y="3644"/>
                  </a:lnTo>
                  <a:lnTo>
                    <a:pt x="444" y="4089"/>
                  </a:lnTo>
                  <a:lnTo>
                    <a:pt x="685" y="4533"/>
                  </a:lnTo>
                  <a:lnTo>
                    <a:pt x="685" y="3428"/>
                  </a:lnTo>
                  <a:lnTo>
                    <a:pt x="698" y="2374"/>
                  </a:lnTo>
                  <a:lnTo>
                    <a:pt x="723" y="1358"/>
                  </a:lnTo>
                  <a:lnTo>
                    <a:pt x="495" y="901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6559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5" name="object 1037">
              <a:extLst>
                <a:ext uri="{FF2B5EF4-FFF2-40B4-BE49-F238E27FC236}">
                  <a16:creationId xmlns:a16="http://schemas.microsoft.com/office/drawing/2014/main" id="{4BADB2F6-9644-45D8-8E7F-F9587B21A9CA}"/>
                </a:ext>
              </a:extLst>
            </p:cNvPr>
            <p:cNvSpPr/>
            <p:nvPr/>
          </p:nvSpPr>
          <p:spPr>
            <a:xfrm>
              <a:off x="7993386" y="6351496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38" y="0"/>
                  </a:moveTo>
                  <a:lnTo>
                    <a:pt x="12" y="1016"/>
                  </a:lnTo>
                  <a:lnTo>
                    <a:pt x="0" y="2070"/>
                  </a:lnTo>
                  <a:lnTo>
                    <a:pt x="0" y="3175"/>
                  </a:lnTo>
                  <a:lnTo>
                    <a:pt x="444" y="4013"/>
                  </a:lnTo>
                  <a:lnTo>
                    <a:pt x="685" y="4419"/>
                  </a:lnTo>
                  <a:lnTo>
                    <a:pt x="673" y="3352"/>
                  </a:lnTo>
                  <a:lnTo>
                    <a:pt x="685" y="2298"/>
                  </a:lnTo>
                  <a:lnTo>
                    <a:pt x="711" y="1282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675A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6" name="object 1038">
              <a:extLst>
                <a:ext uri="{FF2B5EF4-FFF2-40B4-BE49-F238E27FC236}">
                  <a16:creationId xmlns:a16="http://schemas.microsoft.com/office/drawing/2014/main" id="{D45A9C1F-3260-4498-99C6-0C644A92F4D6}"/>
                </a:ext>
              </a:extLst>
            </p:cNvPr>
            <p:cNvSpPr/>
            <p:nvPr/>
          </p:nvSpPr>
          <p:spPr>
            <a:xfrm>
              <a:off x="7994059" y="6352781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38" y="0"/>
                  </a:moveTo>
                  <a:lnTo>
                    <a:pt x="12" y="1015"/>
                  </a:lnTo>
                  <a:lnTo>
                    <a:pt x="0" y="2057"/>
                  </a:lnTo>
                  <a:lnTo>
                    <a:pt x="12" y="3136"/>
                  </a:lnTo>
                  <a:lnTo>
                    <a:pt x="698" y="4343"/>
                  </a:lnTo>
                  <a:lnTo>
                    <a:pt x="685" y="3276"/>
                  </a:lnTo>
                  <a:lnTo>
                    <a:pt x="711" y="1231"/>
                  </a:lnTo>
                  <a:lnTo>
                    <a:pt x="254" y="406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695C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7" name="object 1039">
              <a:extLst>
                <a:ext uri="{FF2B5EF4-FFF2-40B4-BE49-F238E27FC236}">
                  <a16:creationId xmlns:a16="http://schemas.microsoft.com/office/drawing/2014/main" id="{9D02DF8A-8C58-4D8D-B271-B5B67B493399}"/>
                </a:ext>
              </a:extLst>
            </p:cNvPr>
            <p:cNvSpPr/>
            <p:nvPr/>
          </p:nvSpPr>
          <p:spPr>
            <a:xfrm>
              <a:off x="7994749" y="6354014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25" y="0"/>
                  </a:moveTo>
                  <a:lnTo>
                    <a:pt x="0" y="1003"/>
                  </a:lnTo>
                  <a:lnTo>
                    <a:pt x="0" y="2044"/>
                  </a:lnTo>
                  <a:lnTo>
                    <a:pt x="12" y="3111"/>
                  </a:lnTo>
                  <a:lnTo>
                    <a:pt x="228" y="3505"/>
                  </a:lnTo>
                  <a:lnTo>
                    <a:pt x="698" y="4279"/>
                  </a:lnTo>
                  <a:lnTo>
                    <a:pt x="685" y="3213"/>
                  </a:lnTo>
                  <a:lnTo>
                    <a:pt x="685" y="2184"/>
                  </a:lnTo>
                  <a:lnTo>
                    <a:pt x="698" y="118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6C5E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8" name="object 1040">
              <a:extLst>
                <a:ext uri="{FF2B5EF4-FFF2-40B4-BE49-F238E27FC236}">
                  <a16:creationId xmlns:a16="http://schemas.microsoft.com/office/drawing/2014/main" id="{F254A136-4BF0-4C77-AACF-D23449B91DB1}"/>
                </a:ext>
              </a:extLst>
            </p:cNvPr>
            <p:cNvSpPr/>
            <p:nvPr/>
          </p:nvSpPr>
          <p:spPr>
            <a:xfrm>
              <a:off x="7995432" y="6355191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12" y="0"/>
                  </a:moveTo>
                  <a:lnTo>
                    <a:pt x="0" y="1003"/>
                  </a:lnTo>
                  <a:lnTo>
                    <a:pt x="0" y="2044"/>
                  </a:lnTo>
                  <a:lnTo>
                    <a:pt x="12" y="3098"/>
                  </a:lnTo>
                  <a:lnTo>
                    <a:pt x="469" y="3848"/>
                  </a:lnTo>
                  <a:lnTo>
                    <a:pt x="711" y="4216"/>
                  </a:lnTo>
                  <a:lnTo>
                    <a:pt x="685" y="3162"/>
                  </a:lnTo>
                  <a:lnTo>
                    <a:pt x="685" y="2146"/>
                  </a:lnTo>
                  <a:lnTo>
                    <a:pt x="698" y="1142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6E61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49" name="object 1041">
              <a:extLst>
                <a:ext uri="{FF2B5EF4-FFF2-40B4-BE49-F238E27FC236}">
                  <a16:creationId xmlns:a16="http://schemas.microsoft.com/office/drawing/2014/main" id="{E366CA5B-4127-45A3-BA7E-BFE353DD3E59}"/>
                </a:ext>
              </a:extLst>
            </p:cNvPr>
            <p:cNvSpPr/>
            <p:nvPr/>
          </p:nvSpPr>
          <p:spPr>
            <a:xfrm>
              <a:off x="7996112" y="6356337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12" y="0"/>
                  </a:moveTo>
                  <a:lnTo>
                    <a:pt x="0" y="990"/>
                  </a:lnTo>
                  <a:lnTo>
                    <a:pt x="0" y="2019"/>
                  </a:lnTo>
                  <a:lnTo>
                    <a:pt x="25" y="3073"/>
                  </a:lnTo>
                  <a:lnTo>
                    <a:pt x="253" y="3416"/>
                  </a:lnTo>
                  <a:lnTo>
                    <a:pt x="482" y="3784"/>
                  </a:lnTo>
                  <a:lnTo>
                    <a:pt x="723" y="4140"/>
                  </a:lnTo>
                  <a:lnTo>
                    <a:pt x="685" y="3098"/>
                  </a:lnTo>
                  <a:lnTo>
                    <a:pt x="685" y="2095"/>
                  </a:lnTo>
                  <a:lnTo>
                    <a:pt x="698" y="1104"/>
                  </a:lnTo>
                  <a:lnTo>
                    <a:pt x="457" y="736"/>
                  </a:lnTo>
                  <a:lnTo>
                    <a:pt x="241" y="368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7063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0" name="object 1042">
              <a:extLst>
                <a:ext uri="{FF2B5EF4-FFF2-40B4-BE49-F238E27FC236}">
                  <a16:creationId xmlns:a16="http://schemas.microsoft.com/office/drawing/2014/main" id="{5B7F96AF-C8C1-419A-B089-C22C99DCDB38}"/>
                </a:ext>
              </a:extLst>
            </p:cNvPr>
            <p:cNvSpPr/>
            <p:nvPr/>
          </p:nvSpPr>
          <p:spPr>
            <a:xfrm>
              <a:off x="7996808" y="6357448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0" y="0"/>
                  </a:moveTo>
                  <a:lnTo>
                    <a:pt x="0" y="1993"/>
                  </a:lnTo>
                  <a:lnTo>
                    <a:pt x="25" y="3035"/>
                  </a:lnTo>
                  <a:lnTo>
                    <a:pt x="711" y="4064"/>
                  </a:lnTo>
                  <a:lnTo>
                    <a:pt x="685" y="3035"/>
                  </a:lnTo>
                  <a:lnTo>
                    <a:pt x="673" y="2032"/>
                  </a:lnTo>
                  <a:lnTo>
                    <a:pt x="685" y="10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265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1" name="object 1043">
              <a:extLst>
                <a:ext uri="{FF2B5EF4-FFF2-40B4-BE49-F238E27FC236}">
                  <a16:creationId xmlns:a16="http://schemas.microsoft.com/office/drawing/2014/main" id="{43BEE8A3-B4EE-4316-BD74-9A6AC463EC32}"/>
                </a:ext>
              </a:extLst>
            </p:cNvPr>
            <p:cNvSpPr/>
            <p:nvPr/>
          </p:nvSpPr>
          <p:spPr>
            <a:xfrm>
              <a:off x="7997479" y="6358506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12" y="0"/>
                  </a:moveTo>
                  <a:lnTo>
                    <a:pt x="0" y="977"/>
                  </a:lnTo>
                  <a:lnTo>
                    <a:pt x="12" y="1981"/>
                  </a:lnTo>
                  <a:lnTo>
                    <a:pt x="38" y="3009"/>
                  </a:lnTo>
                  <a:lnTo>
                    <a:pt x="495" y="3682"/>
                  </a:lnTo>
                  <a:lnTo>
                    <a:pt x="736" y="4025"/>
                  </a:lnTo>
                  <a:lnTo>
                    <a:pt x="685" y="1993"/>
                  </a:lnTo>
                  <a:lnTo>
                    <a:pt x="698" y="1015"/>
                  </a:lnTo>
                  <a:lnTo>
                    <a:pt x="241" y="33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7567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2" name="object 1044">
              <a:extLst>
                <a:ext uri="{FF2B5EF4-FFF2-40B4-BE49-F238E27FC236}">
                  <a16:creationId xmlns:a16="http://schemas.microsoft.com/office/drawing/2014/main" id="{778C654F-1681-42A9-A61C-62C266573662}"/>
                </a:ext>
              </a:extLst>
            </p:cNvPr>
            <p:cNvSpPr/>
            <p:nvPr/>
          </p:nvSpPr>
          <p:spPr>
            <a:xfrm>
              <a:off x="7998165" y="6359522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12" y="0"/>
                  </a:moveTo>
                  <a:lnTo>
                    <a:pt x="0" y="977"/>
                  </a:lnTo>
                  <a:lnTo>
                    <a:pt x="50" y="3009"/>
                  </a:lnTo>
                  <a:lnTo>
                    <a:pt x="507" y="3644"/>
                  </a:lnTo>
                  <a:lnTo>
                    <a:pt x="736" y="3975"/>
                  </a:lnTo>
                  <a:lnTo>
                    <a:pt x="711" y="2959"/>
                  </a:lnTo>
                  <a:lnTo>
                    <a:pt x="698" y="1968"/>
                  </a:lnTo>
                  <a:lnTo>
                    <a:pt x="698" y="990"/>
                  </a:lnTo>
                  <a:lnTo>
                    <a:pt x="457" y="660"/>
                  </a:lnTo>
                  <a:lnTo>
                    <a:pt x="241" y="317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77692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3" name="object 1045">
              <a:extLst>
                <a:ext uri="{FF2B5EF4-FFF2-40B4-BE49-F238E27FC236}">
                  <a16:creationId xmlns:a16="http://schemas.microsoft.com/office/drawing/2014/main" id="{EBD4C4C9-47D4-4754-90E5-08AE44BAEF62}"/>
                </a:ext>
              </a:extLst>
            </p:cNvPr>
            <p:cNvSpPr/>
            <p:nvPr/>
          </p:nvSpPr>
          <p:spPr>
            <a:xfrm>
              <a:off x="7998862" y="6360519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0" y="0"/>
                  </a:moveTo>
                  <a:lnTo>
                    <a:pt x="0" y="965"/>
                  </a:lnTo>
                  <a:lnTo>
                    <a:pt x="12" y="1955"/>
                  </a:lnTo>
                  <a:lnTo>
                    <a:pt x="38" y="2971"/>
                  </a:lnTo>
                  <a:lnTo>
                    <a:pt x="495" y="3606"/>
                  </a:lnTo>
                  <a:lnTo>
                    <a:pt x="736" y="3911"/>
                  </a:lnTo>
                  <a:lnTo>
                    <a:pt x="698" y="2908"/>
                  </a:lnTo>
                  <a:lnTo>
                    <a:pt x="685" y="1930"/>
                  </a:lnTo>
                  <a:lnTo>
                    <a:pt x="685" y="965"/>
                  </a:lnTo>
                  <a:lnTo>
                    <a:pt x="444" y="634"/>
                  </a:lnTo>
                  <a:lnTo>
                    <a:pt x="228" y="31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96A2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4" name="object 1046">
              <a:extLst>
                <a:ext uri="{FF2B5EF4-FFF2-40B4-BE49-F238E27FC236}">
                  <a16:creationId xmlns:a16="http://schemas.microsoft.com/office/drawing/2014/main" id="{10722927-F00D-4084-A152-6B6645F63B3C}"/>
                </a:ext>
              </a:extLst>
            </p:cNvPr>
            <p:cNvSpPr/>
            <p:nvPr/>
          </p:nvSpPr>
          <p:spPr>
            <a:xfrm>
              <a:off x="7999547" y="6361488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0" y="0"/>
                  </a:moveTo>
                  <a:lnTo>
                    <a:pt x="0" y="952"/>
                  </a:lnTo>
                  <a:lnTo>
                    <a:pt x="12" y="1943"/>
                  </a:lnTo>
                  <a:lnTo>
                    <a:pt x="50" y="2946"/>
                  </a:lnTo>
                  <a:lnTo>
                    <a:pt x="736" y="3860"/>
                  </a:lnTo>
                  <a:lnTo>
                    <a:pt x="698" y="2870"/>
                  </a:lnTo>
                  <a:lnTo>
                    <a:pt x="685" y="1892"/>
                  </a:lnTo>
                  <a:lnTo>
                    <a:pt x="685" y="927"/>
                  </a:lnTo>
                  <a:lnTo>
                    <a:pt x="215" y="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6B2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5" name="object 1047">
              <a:extLst>
                <a:ext uri="{FF2B5EF4-FFF2-40B4-BE49-F238E27FC236}">
                  <a16:creationId xmlns:a16="http://schemas.microsoft.com/office/drawing/2014/main" id="{EF0049F3-CAE0-48FD-9403-388890445AD9}"/>
                </a:ext>
              </a:extLst>
            </p:cNvPr>
            <p:cNvSpPr/>
            <p:nvPr/>
          </p:nvSpPr>
          <p:spPr>
            <a:xfrm>
              <a:off x="8000235" y="6362418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0" y="965"/>
                  </a:lnTo>
                  <a:lnTo>
                    <a:pt x="12" y="1930"/>
                  </a:lnTo>
                  <a:lnTo>
                    <a:pt x="50" y="2921"/>
                  </a:lnTo>
                  <a:lnTo>
                    <a:pt x="279" y="3213"/>
                  </a:lnTo>
                  <a:lnTo>
                    <a:pt x="508" y="3517"/>
                  </a:lnTo>
                  <a:lnTo>
                    <a:pt x="736" y="3810"/>
                  </a:lnTo>
                  <a:lnTo>
                    <a:pt x="698" y="2819"/>
                  </a:lnTo>
                  <a:lnTo>
                    <a:pt x="685" y="1866"/>
                  </a:lnTo>
                  <a:lnTo>
                    <a:pt x="685" y="914"/>
                  </a:lnTo>
                  <a:lnTo>
                    <a:pt x="444" y="609"/>
                  </a:lnTo>
                  <a:lnTo>
                    <a:pt x="215" y="30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D6E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6" name="object 1048">
              <a:extLst>
                <a:ext uri="{FF2B5EF4-FFF2-40B4-BE49-F238E27FC236}">
                  <a16:creationId xmlns:a16="http://schemas.microsoft.com/office/drawing/2014/main" id="{CB3046DC-5319-4F9A-BD60-7419EE5444FC}"/>
                </a:ext>
              </a:extLst>
            </p:cNvPr>
            <p:cNvSpPr/>
            <p:nvPr/>
          </p:nvSpPr>
          <p:spPr>
            <a:xfrm>
              <a:off x="8000914" y="6363336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0" y="952"/>
                  </a:lnTo>
                  <a:lnTo>
                    <a:pt x="25" y="1904"/>
                  </a:lnTo>
                  <a:lnTo>
                    <a:pt x="63" y="2882"/>
                  </a:lnTo>
                  <a:lnTo>
                    <a:pt x="749" y="3759"/>
                  </a:lnTo>
                  <a:lnTo>
                    <a:pt x="711" y="2781"/>
                  </a:lnTo>
                  <a:lnTo>
                    <a:pt x="685" y="888"/>
                  </a:lnTo>
                  <a:lnTo>
                    <a:pt x="457" y="596"/>
                  </a:lnTo>
                  <a:lnTo>
                    <a:pt x="228" y="2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F70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7" name="object 1049">
              <a:extLst>
                <a:ext uri="{FF2B5EF4-FFF2-40B4-BE49-F238E27FC236}">
                  <a16:creationId xmlns:a16="http://schemas.microsoft.com/office/drawing/2014/main" id="{6D5F933F-D189-4928-9A50-1C011FC8925D}"/>
                </a:ext>
              </a:extLst>
            </p:cNvPr>
            <p:cNvSpPr/>
            <p:nvPr/>
          </p:nvSpPr>
          <p:spPr>
            <a:xfrm>
              <a:off x="8001602" y="6364221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25" y="1892"/>
                  </a:lnTo>
                  <a:lnTo>
                    <a:pt x="63" y="2882"/>
                  </a:lnTo>
                  <a:lnTo>
                    <a:pt x="292" y="3149"/>
                  </a:lnTo>
                  <a:lnTo>
                    <a:pt x="520" y="3428"/>
                  </a:lnTo>
                  <a:lnTo>
                    <a:pt x="749" y="3695"/>
                  </a:lnTo>
                  <a:lnTo>
                    <a:pt x="711" y="2743"/>
                  </a:lnTo>
                  <a:lnTo>
                    <a:pt x="685" y="1790"/>
                  </a:lnTo>
                  <a:lnTo>
                    <a:pt x="685" y="863"/>
                  </a:lnTo>
                  <a:lnTo>
                    <a:pt x="457" y="584"/>
                  </a:lnTo>
                  <a:lnTo>
                    <a:pt x="228" y="2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072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8" name="object 1050">
              <a:extLst>
                <a:ext uri="{FF2B5EF4-FFF2-40B4-BE49-F238E27FC236}">
                  <a16:creationId xmlns:a16="http://schemas.microsoft.com/office/drawing/2014/main" id="{45FF3CA3-AD32-4D1A-B8EF-10D21005B62F}"/>
                </a:ext>
              </a:extLst>
            </p:cNvPr>
            <p:cNvSpPr/>
            <p:nvPr/>
          </p:nvSpPr>
          <p:spPr>
            <a:xfrm>
              <a:off x="8002291" y="6365083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0" y="927"/>
                  </a:lnTo>
                  <a:lnTo>
                    <a:pt x="25" y="1879"/>
                  </a:lnTo>
                  <a:lnTo>
                    <a:pt x="63" y="2832"/>
                  </a:lnTo>
                  <a:lnTo>
                    <a:pt x="292" y="3111"/>
                  </a:lnTo>
                  <a:lnTo>
                    <a:pt x="749" y="3644"/>
                  </a:lnTo>
                  <a:lnTo>
                    <a:pt x="711" y="2705"/>
                  </a:lnTo>
                  <a:lnTo>
                    <a:pt x="685" y="1765"/>
                  </a:lnTo>
                  <a:lnTo>
                    <a:pt x="685" y="850"/>
                  </a:lnTo>
                  <a:lnTo>
                    <a:pt x="228" y="29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27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59" name="object 1051">
              <a:extLst>
                <a:ext uri="{FF2B5EF4-FFF2-40B4-BE49-F238E27FC236}">
                  <a16:creationId xmlns:a16="http://schemas.microsoft.com/office/drawing/2014/main" id="{95C917E7-09FB-413E-B592-7F3420439F26}"/>
                </a:ext>
              </a:extLst>
            </p:cNvPr>
            <p:cNvSpPr/>
            <p:nvPr/>
          </p:nvSpPr>
          <p:spPr>
            <a:xfrm>
              <a:off x="8002971" y="6365934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25" y="1854"/>
                  </a:lnTo>
                  <a:lnTo>
                    <a:pt x="63" y="2806"/>
                  </a:lnTo>
                  <a:lnTo>
                    <a:pt x="292" y="3060"/>
                  </a:lnTo>
                  <a:lnTo>
                    <a:pt x="749" y="3594"/>
                  </a:lnTo>
                  <a:lnTo>
                    <a:pt x="698" y="1727"/>
                  </a:lnTo>
                  <a:lnTo>
                    <a:pt x="685" y="825"/>
                  </a:lnTo>
                  <a:lnTo>
                    <a:pt x="457" y="546"/>
                  </a:lnTo>
                  <a:lnTo>
                    <a:pt x="228" y="27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576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0" name="object 1052">
              <a:extLst>
                <a:ext uri="{FF2B5EF4-FFF2-40B4-BE49-F238E27FC236}">
                  <a16:creationId xmlns:a16="http://schemas.microsoft.com/office/drawing/2014/main" id="{76340760-CFA0-4781-822A-C78AFB7DFFC7}"/>
                </a:ext>
              </a:extLst>
            </p:cNvPr>
            <p:cNvSpPr/>
            <p:nvPr/>
          </p:nvSpPr>
          <p:spPr>
            <a:xfrm>
              <a:off x="8003659" y="6366757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12" y="901"/>
                  </a:lnTo>
                  <a:lnTo>
                    <a:pt x="63" y="2768"/>
                  </a:lnTo>
                  <a:lnTo>
                    <a:pt x="520" y="3276"/>
                  </a:lnTo>
                  <a:lnTo>
                    <a:pt x="749" y="3543"/>
                  </a:lnTo>
                  <a:lnTo>
                    <a:pt x="698" y="1701"/>
                  </a:lnTo>
                  <a:lnTo>
                    <a:pt x="685" y="812"/>
                  </a:lnTo>
                  <a:lnTo>
                    <a:pt x="457" y="5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778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1" name="object 1053">
              <a:extLst>
                <a:ext uri="{FF2B5EF4-FFF2-40B4-BE49-F238E27FC236}">
                  <a16:creationId xmlns:a16="http://schemas.microsoft.com/office/drawing/2014/main" id="{E94953B9-C3A5-479F-9D2F-CE745B7B8E34}"/>
                </a:ext>
              </a:extLst>
            </p:cNvPr>
            <p:cNvSpPr/>
            <p:nvPr/>
          </p:nvSpPr>
          <p:spPr>
            <a:xfrm>
              <a:off x="8004345" y="6367567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25" y="1790"/>
                  </a:lnTo>
                  <a:lnTo>
                    <a:pt x="63" y="2730"/>
                  </a:lnTo>
                  <a:lnTo>
                    <a:pt x="292" y="2971"/>
                  </a:lnTo>
                  <a:lnTo>
                    <a:pt x="749" y="3479"/>
                  </a:lnTo>
                  <a:lnTo>
                    <a:pt x="711" y="2565"/>
                  </a:lnTo>
                  <a:lnTo>
                    <a:pt x="685" y="787"/>
                  </a:lnTo>
                  <a:lnTo>
                    <a:pt x="457" y="520"/>
                  </a:lnTo>
                  <a:lnTo>
                    <a:pt x="228" y="26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878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2" name="object 1054">
              <a:extLst>
                <a:ext uri="{FF2B5EF4-FFF2-40B4-BE49-F238E27FC236}">
                  <a16:creationId xmlns:a16="http://schemas.microsoft.com/office/drawing/2014/main" id="{09BE87F2-8192-467D-89E8-87DD2D51F44B}"/>
                </a:ext>
              </a:extLst>
            </p:cNvPr>
            <p:cNvSpPr/>
            <p:nvPr/>
          </p:nvSpPr>
          <p:spPr>
            <a:xfrm>
              <a:off x="8005034" y="6368356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0" y="876"/>
                  </a:lnTo>
                  <a:lnTo>
                    <a:pt x="25" y="1778"/>
                  </a:lnTo>
                  <a:lnTo>
                    <a:pt x="63" y="2692"/>
                  </a:lnTo>
                  <a:lnTo>
                    <a:pt x="749" y="3416"/>
                  </a:lnTo>
                  <a:lnTo>
                    <a:pt x="711" y="2514"/>
                  </a:lnTo>
                  <a:lnTo>
                    <a:pt x="685" y="1638"/>
                  </a:lnTo>
                  <a:lnTo>
                    <a:pt x="685" y="774"/>
                  </a:lnTo>
                  <a:lnTo>
                    <a:pt x="571" y="64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A7A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3" name="object 1055">
              <a:extLst>
                <a:ext uri="{FF2B5EF4-FFF2-40B4-BE49-F238E27FC236}">
                  <a16:creationId xmlns:a16="http://schemas.microsoft.com/office/drawing/2014/main" id="{A519D687-38F8-48AE-B307-5C33B7B67774}"/>
                </a:ext>
              </a:extLst>
            </p:cNvPr>
            <p:cNvSpPr/>
            <p:nvPr/>
          </p:nvSpPr>
          <p:spPr>
            <a:xfrm>
              <a:off x="8005718" y="6369126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25" y="1752"/>
                  </a:lnTo>
                  <a:lnTo>
                    <a:pt x="63" y="2654"/>
                  </a:lnTo>
                  <a:lnTo>
                    <a:pt x="292" y="2882"/>
                  </a:lnTo>
                  <a:lnTo>
                    <a:pt x="749" y="3365"/>
                  </a:lnTo>
                  <a:lnTo>
                    <a:pt x="711" y="2489"/>
                  </a:lnTo>
                  <a:lnTo>
                    <a:pt x="685" y="1612"/>
                  </a:lnTo>
                  <a:lnTo>
                    <a:pt x="685" y="749"/>
                  </a:lnTo>
                  <a:lnTo>
                    <a:pt x="444" y="508"/>
                  </a:lnTo>
                  <a:lnTo>
                    <a:pt x="228" y="25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D7C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4" name="object 1056">
              <a:extLst>
                <a:ext uri="{FF2B5EF4-FFF2-40B4-BE49-F238E27FC236}">
                  <a16:creationId xmlns:a16="http://schemas.microsoft.com/office/drawing/2014/main" id="{80F98099-334C-4083-B8EF-C75AF969C307}"/>
                </a:ext>
              </a:extLst>
            </p:cNvPr>
            <p:cNvSpPr/>
            <p:nvPr/>
          </p:nvSpPr>
          <p:spPr>
            <a:xfrm>
              <a:off x="8006397" y="6369881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25" y="1727"/>
                  </a:lnTo>
                  <a:lnTo>
                    <a:pt x="63" y="2616"/>
                  </a:lnTo>
                  <a:lnTo>
                    <a:pt x="749" y="3301"/>
                  </a:lnTo>
                  <a:lnTo>
                    <a:pt x="711" y="2425"/>
                  </a:lnTo>
                  <a:lnTo>
                    <a:pt x="685" y="1574"/>
                  </a:lnTo>
                  <a:lnTo>
                    <a:pt x="685" y="736"/>
                  </a:lnTo>
                  <a:lnTo>
                    <a:pt x="228" y="25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8F7D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5" name="object 1057">
              <a:extLst>
                <a:ext uri="{FF2B5EF4-FFF2-40B4-BE49-F238E27FC236}">
                  <a16:creationId xmlns:a16="http://schemas.microsoft.com/office/drawing/2014/main" id="{33DC2A65-133F-4D38-900E-6F8731D2AA71}"/>
                </a:ext>
              </a:extLst>
            </p:cNvPr>
            <p:cNvSpPr/>
            <p:nvPr/>
          </p:nvSpPr>
          <p:spPr>
            <a:xfrm>
              <a:off x="8007085" y="6370617"/>
              <a:ext cx="1270" cy="3810"/>
            </a:xfrm>
            <a:custGeom>
              <a:avLst/>
              <a:gdLst/>
              <a:ahLst/>
              <a:cxnLst/>
              <a:rect l="l" t="t" r="r" b="b"/>
              <a:pathLst>
                <a:path w="1270" h="3809">
                  <a:moveTo>
                    <a:pt x="0" y="0"/>
                  </a:moveTo>
                  <a:lnTo>
                    <a:pt x="0" y="838"/>
                  </a:lnTo>
                  <a:lnTo>
                    <a:pt x="25" y="1701"/>
                  </a:lnTo>
                  <a:lnTo>
                    <a:pt x="63" y="2565"/>
                  </a:lnTo>
                  <a:lnTo>
                    <a:pt x="292" y="2793"/>
                  </a:lnTo>
                  <a:lnTo>
                    <a:pt x="508" y="3022"/>
                  </a:lnTo>
                  <a:lnTo>
                    <a:pt x="749" y="3251"/>
                  </a:lnTo>
                  <a:lnTo>
                    <a:pt x="711" y="2400"/>
                  </a:lnTo>
                  <a:lnTo>
                    <a:pt x="685" y="1549"/>
                  </a:lnTo>
                  <a:lnTo>
                    <a:pt x="685" y="736"/>
                  </a:lnTo>
                  <a:lnTo>
                    <a:pt x="457" y="48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081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6" name="object 1058">
              <a:extLst>
                <a:ext uri="{FF2B5EF4-FFF2-40B4-BE49-F238E27FC236}">
                  <a16:creationId xmlns:a16="http://schemas.microsoft.com/office/drawing/2014/main" id="{64636D22-1F67-4F2A-9DC0-8CEA4398E7DF}"/>
                </a:ext>
              </a:extLst>
            </p:cNvPr>
            <p:cNvSpPr/>
            <p:nvPr/>
          </p:nvSpPr>
          <p:spPr>
            <a:xfrm>
              <a:off x="8007767" y="6371348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25" y="1663"/>
                  </a:lnTo>
                  <a:lnTo>
                    <a:pt x="63" y="2514"/>
                  </a:lnTo>
                  <a:lnTo>
                    <a:pt x="508" y="2959"/>
                  </a:lnTo>
                  <a:lnTo>
                    <a:pt x="736" y="3174"/>
                  </a:lnTo>
                  <a:lnTo>
                    <a:pt x="711" y="2349"/>
                  </a:lnTo>
                  <a:lnTo>
                    <a:pt x="685" y="711"/>
                  </a:lnTo>
                  <a:lnTo>
                    <a:pt x="228" y="2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281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7" name="object 1059">
              <a:extLst>
                <a:ext uri="{FF2B5EF4-FFF2-40B4-BE49-F238E27FC236}">
                  <a16:creationId xmlns:a16="http://schemas.microsoft.com/office/drawing/2014/main" id="{0FC010A1-5F64-4826-97E4-9C8E0638D086}"/>
                </a:ext>
              </a:extLst>
            </p:cNvPr>
            <p:cNvSpPr/>
            <p:nvPr/>
          </p:nvSpPr>
          <p:spPr>
            <a:xfrm>
              <a:off x="8008454" y="6372057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812"/>
                  </a:lnTo>
                  <a:lnTo>
                    <a:pt x="50" y="2476"/>
                  </a:lnTo>
                  <a:lnTo>
                    <a:pt x="749" y="3136"/>
                  </a:lnTo>
                  <a:lnTo>
                    <a:pt x="711" y="2311"/>
                  </a:lnTo>
                  <a:lnTo>
                    <a:pt x="685" y="698"/>
                  </a:lnTo>
                  <a:lnTo>
                    <a:pt x="457" y="469"/>
                  </a:lnTo>
                  <a:lnTo>
                    <a:pt x="228" y="2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583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8" name="object 1060">
              <a:extLst>
                <a:ext uri="{FF2B5EF4-FFF2-40B4-BE49-F238E27FC236}">
                  <a16:creationId xmlns:a16="http://schemas.microsoft.com/office/drawing/2014/main" id="{FDF8E4F7-F7A4-48A7-A740-1FBA1FB44D33}"/>
                </a:ext>
              </a:extLst>
            </p:cNvPr>
            <p:cNvSpPr/>
            <p:nvPr/>
          </p:nvSpPr>
          <p:spPr>
            <a:xfrm>
              <a:off x="8009140" y="6372760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25" y="1600"/>
                  </a:lnTo>
                  <a:lnTo>
                    <a:pt x="63" y="2425"/>
                  </a:lnTo>
                  <a:lnTo>
                    <a:pt x="444" y="2806"/>
                  </a:lnTo>
                  <a:lnTo>
                    <a:pt x="596" y="2921"/>
                  </a:lnTo>
                  <a:lnTo>
                    <a:pt x="736" y="3060"/>
                  </a:lnTo>
                  <a:lnTo>
                    <a:pt x="685" y="1473"/>
                  </a:lnTo>
                  <a:lnTo>
                    <a:pt x="685" y="685"/>
                  </a:lnTo>
                  <a:lnTo>
                    <a:pt x="457" y="457"/>
                  </a:lnTo>
                  <a:lnTo>
                    <a:pt x="228" y="2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785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69" name="object 1061">
              <a:extLst>
                <a:ext uri="{FF2B5EF4-FFF2-40B4-BE49-F238E27FC236}">
                  <a16:creationId xmlns:a16="http://schemas.microsoft.com/office/drawing/2014/main" id="{F758873C-4D7D-491D-9785-21D6A7A42978}"/>
                </a:ext>
              </a:extLst>
            </p:cNvPr>
            <p:cNvSpPr/>
            <p:nvPr/>
          </p:nvSpPr>
          <p:spPr>
            <a:xfrm>
              <a:off x="8009828" y="6373445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787"/>
                  </a:lnTo>
                  <a:lnTo>
                    <a:pt x="12" y="1574"/>
                  </a:lnTo>
                  <a:lnTo>
                    <a:pt x="50" y="2387"/>
                  </a:lnTo>
                  <a:lnTo>
                    <a:pt x="279" y="2590"/>
                  </a:lnTo>
                  <a:lnTo>
                    <a:pt x="495" y="2806"/>
                  </a:lnTo>
                  <a:lnTo>
                    <a:pt x="723" y="3009"/>
                  </a:lnTo>
                  <a:lnTo>
                    <a:pt x="698" y="2222"/>
                  </a:lnTo>
                  <a:lnTo>
                    <a:pt x="685" y="1435"/>
                  </a:lnTo>
                  <a:lnTo>
                    <a:pt x="685" y="673"/>
                  </a:lnTo>
                  <a:lnTo>
                    <a:pt x="457" y="444"/>
                  </a:lnTo>
                  <a:lnTo>
                    <a:pt x="228" y="22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986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0" name="object 1062">
              <a:extLst>
                <a:ext uri="{FF2B5EF4-FFF2-40B4-BE49-F238E27FC236}">
                  <a16:creationId xmlns:a16="http://schemas.microsoft.com/office/drawing/2014/main" id="{4DF88298-15CB-47FE-AB80-93D43175CC9B}"/>
                </a:ext>
              </a:extLst>
            </p:cNvPr>
            <p:cNvSpPr/>
            <p:nvPr/>
          </p:nvSpPr>
          <p:spPr>
            <a:xfrm>
              <a:off x="8010507" y="6374122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761"/>
                  </a:lnTo>
                  <a:lnTo>
                    <a:pt x="12" y="1536"/>
                  </a:lnTo>
                  <a:lnTo>
                    <a:pt x="50" y="2336"/>
                  </a:lnTo>
                  <a:lnTo>
                    <a:pt x="495" y="2755"/>
                  </a:lnTo>
                  <a:lnTo>
                    <a:pt x="723" y="2959"/>
                  </a:lnTo>
                  <a:lnTo>
                    <a:pt x="698" y="2184"/>
                  </a:lnTo>
                  <a:lnTo>
                    <a:pt x="685" y="1409"/>
                  </a:lnTo>
                  <a:lnTo>
                    <a:pt x="685" y="660"/>
                  </a:lnTo>
                  <a:lnTo>
                    <a:pt x="457" y="444"/>
                  </a:lnTo>
                  <a:lnTo>
                    <a:pt x="228" y="2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B88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1" name="object 1063">
              <a:extLst>
                <a:ext uri="{FF2B5EF4-FFF2-40B4-BE49-F238E27FC236}">
                  <a16:creationId xmlns:a16="http://schemas.microsoft.com/office/drawing/2014/main" id="{3D2E88DA-DFF6-4894-B1F8-B12A6A645143}"/>
                </a:ext>
              </a:extLst>
            </p:cNvPr>
            <p:cNvSpPr/>
            <p:nvPr/>
          </p:nvSpPr>
          <p:spPr>
            <a:xfrm>
              <a:off x="8011193" y="6374782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749"/>
                  </a:lnTo>
                  <a:lnTo>
                    <a:pt x="12" y="1523"/>
                  </a:lnTo>
                  <a:lnTo>
                    <a:pt x="38" y="2298"/>
                  </a:lnTo>
                  <a:lnTo>
                    <a:pt x="723" y="2908"/>
                  </a:lnTo>
                  <a:lnTo>
                    <a:pt x="698" y="2158"/>
                  </a:lnTo>
                  <a:lnTo>
                    <a:pt x="685" y="1396"/>
                  </a:lnTo>
                  <a:lnTo>
                    <a:pt x="685" y="660"/>
                  </a:lnTo>
                  <a:lnTo>
                    <a:pt x="457" y="444"/>
                  </a:lnTo>
                  <a:lnTo>
                    <a:pt x="228" y="2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D8A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2" name="object 1064">
              <a:extLst>
                <a:ext uri="{FF2B5EF4-FFF2-40B4-BE49-F238E27FC236}">
                  <a16:creationId xmlns:a16="http://schemas.microsoft.com/office/drawing/2014/main" id="{BECFEE8B-CFF8-4224-8CF1-82DC832F9A71}"/>
                </a:ext>
              </a:extLst>
            </p:cNvPr>
            <p:cNvSpPr/>
            <p:nvPr/>
          </p:nvSpPr>
          <p:spPr>
            <a:xfrm>
              <a:off x="8011879" y="6375439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749"/>
                  </a:lnTo>
                  <a:lnTo>
                    <a:pt x="12" y="1498"/>
                  </a:lnTo>
                  <a:lnTo>
                    <a:pt x="38" y="2247"/>
                  </a:lnTo>
                  <a:lnTo>
                    <a:pt x="482" y="2666"/>
                  </a:lnTo>
                  <a:lnTo>
                    <a:pt x="711" y="2870"/>
                  </a:lnTo>
                  <a:lnTo>
                    <a:pt x="685" y="2120"/>
                  </a:lnTo>
                  <a:lnTo>
                    <a:pt x="685" y="647"/>
                  </a:lnTo>
                  <a:lnTo>
                    <a:pt x="444" y="431"/>
                  </a:lnTo>
                  <a:lnTo>
                    <a:pt x="228" y="2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9F8C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3" name="object 1065">
              <a:extLst>
                <a:ext uri="{FF2B5EF4-FFF2-40B4-BE49-F238E27FC236}">
                  <a16:creationId xmlns:a16="http://schemas.microsoft.com/office/drawing/2014/main" id="{6E3D6558-1DE8-40E8-9F29-04878C27AD45}"/>
                </a:ext>
              </a:extLst>
            </p:cNvPr>
            <p:cNvSpPr/>
            <p:nvPr/>
          </p:nvSpPr>
          <p:spPr>
            <a:xfrm>
              <a:off x="8012560" y="6376089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723"/>
                  </a:lnTo>
                  <a:lnTo>
                    <a:pt x="12" y="1473"/>
                  </a:lnTo>
                  <a:lnTo>
                    <a:pt x="38" y="2222"/>
                  </a:lnTo>
                  <a:lnTo>
                    <a:pt x="253" y="2425"/>
                  </a:lnTo>
                  <a:lnTo>
                    <a:pt x="711" y="2832"/>
                  </a:lnTo>
                  <a:lnTo>
                    <a:pt x="685" y="1358"/>
                  </a:lnTo>
                  <a:lnTo>
                    <a:pt x="685" y="634"/>
                  </a:lnTo>
                  <a:lnTo>
                    <a:pt x="457" y="419"/>
                  </a:lnTo>
                  <a:lnTo>
                    <a:pt x="228" y="2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18E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4" name="object 1066">
              <a:extLst>
                <a:ext uri="{FF2B5EF4-FFF2-40B4-BE49-F238E27FC236}">
                  <a16:creationId xmlns:a16="http://schemas.microsoft.com/office/drawing/2014/main" id="{61497B1F-B182-483B-ADBF-AFE3D04B3DDA}"/>
                </a:ext>
              </a:extLst>
            </p:cNvPr>
            <p:cNvSpPr/>
            <p:nvPr/>
          </p:nvSpPr>
          <p:spPr>
            <a:xfrm>
              <a:off x="8013246" y="6376727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711"/>
                  </a:lnTo>
                  <a:lnTo>
                    <a:pt x="25" y="2184"/>
                  </a:lnTo>
                  <a:lnTo>
                    <a:pt x="711" y="2793"/>
                  </a:lnTo>
                  <a:lnTo>
                    <a:pt x="685" y="2057"/>
                  </a:lnTo>
                  <a:lnTo>
                    <a:pt x="685" y="622"/>
                  </a:lnTo>
                  <a:lnTo>
                    <a:pt x="457" y="419"/>
                  </a:lnTo>
                  <a:lnTo>
                    <a:pt x="228" y="20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590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5" name="object 1067">
              <a:extLst>
                <a:ext uri="{FF2B5EF4-FFF2-40B4-BE49-F238E27FC236}">
                  <a16:creationId xmlns:a16="http://schemas.microsoft.com/office/drawing/2014/main" id="{8579F8C8-AA3A-48C1-8432-6EDC1D1A0FFE}"/>
                </a:ext>
              </a:extLst>
            </p:cNvPr>
            <p:cNvSpPr/>
            <p:nvPr/>
          </p:nvSpPr>
          <p:spPr>
            <a:xfrm>
              <a:off x="8013930" y="6377351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1435"/>
                  </a:lnTo>
                  <a:lnTo>
                    <a:pt x="25" y="2159"/>
                  </a:lnTo>
                  <a:lnTo>
                    <a:pt x="482" y="2565"/>
                  </a:lnTo>
                  <a:lnTo>
                    <a:pt x="711" y="2755"/>
                  </a:lnTo>
                  <a:lnTo>
                    <a:pt x="685" y="2032"/>
                  </a:lnTo>
                  <a:lnTo>
                    <a:pt x="685" y="622"/>
                  </a:lnTo>
                  <a:lnTo>
                    <a:pt x="457" y="406"/>
                  </a:lnTo>
                  <a:lnTo>
                    <a:pt x="228" y="215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692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6" name="object 1068">
              <a:extLst>
                <a:ext uri="{FF2B5EF4-FFF2-40B4-BE49-F238E27FC236}">
                  <a16:creationId xmlns:a16="http://schemas.microsoft.com/office/drawing/2014/main" id="{1E889B9C-3004-4E43-8D5B-B845950ABB08}"/>
                </a:ext>
              </a:extLst>
            </p:cNvPr>
            <p:cNvSpPr/>
            <p:nvPr/>
          </p:nvSpPr>
          <p:spPr>
            <a:xfrm>
              <a:off x="8014616" y="6377974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1422"/>
                  </a:lnTo>
                  <a:lnTo>
                    <a:pt x="25" y="2133"/>
                  </a:lnTo>
                  <a:lnTo>
                    <a:pt x="241" y="2336"/>
                  </a:lnTo>
                  <a:lnTo>
                    <a:pt x="469" y="2527"/>
                  </a:lnTo>
                  <a:lnTo>
                    <a:pt x="698" y="2730"/>
                  </a:lnTo>
                  <a:lnTo>
                    <a:pt x="673" y="2019"/>
                  </a:lnTo>
                  <a:lnTo>
                    <a:pt x="673" y="1308"/>
                  </a:lnTo>
                  <a:lnTo>
                    <a:pt x="685" y="6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892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7" name="object 1069">
              <a:extLst>
                <a:ext uri="{FF2B5EF4-FFF2-40B4-BE49-F238E27FC236}">
                  <a16:creationId xmlns:a16="http://schemas.microsoft.com/office/drawing/2014/main" id="{B91DF68C-BB74-4982-BFBF-82D10561E6AA}"/>
                </a:ext>
              </a:extLst>
            </p:cNvPr>
            <p:cNvSpPr/>
            <p:nvPr/>
          </p:nvSpPr>
          <p:spPr>
            <a:xfrm>
              <a:off x="8015299" y="6378587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0" y="0"/>
                  </a:moveTo>
                  <a:lnTo>
                    <a:pt x="0" y="1409"/>
                  </a:lnTo>
                  <a:lnTo>
                    <a:pt x="12" y="2120"/>
                  </a:lnTo>
                  <a:lnTo>
                    <a:pt x="241" y="2311"/>
                  </a:lnTo>
                  <a:lnTo>
                    <a:pt x="469" y="2514"/>
                  </a:lnTo>
                  <a:lnTo>
                    <a:pt x="698" y="2705"/>
                  </a:lnTo>
                  <a:lnTo>
                    <a:pt x="673" y="1993"/>
                  </a:lnTo>
                  <a:lnTo>
                    <a:pt x="673" y="1295"/>
                  </a:lnTo>
                  <a:lnTo>
                    <a:pt x="685" y="609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AB95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8" name="object 1070">
              <a:extLst>
                <a:ext uri="{FF2B5EF4-FFF2-40B4-BE49-F238E27FC236}">
                  <a16:creationId xmlns:a16="http://schemas.microsoft.com/office/drawing/2014/main" id="{0BC72B75-4456-4875-B6A5-C73285ACE67A}"/>
                </a:ext>
              </a:extLst>
            </p:cNvPr>
            <p:cNvSpPr/>
            <p:nvPr/>
          </p:nvSpPr>
          <p:spPr>
            <a:xfrm>
              <a:off x="8015977" y="6379201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12" y="0"/>
                  </a:moveTo>
                  <a:lnTo>
                    <a:pt x="0" y="685"/>
                  </a:lnTo>
                  <a:lnTo>
                    <a:pt x="0" y="1384"/>
                  </a:lnTo>
                  <a:lnTo>
                    <a:pt x="12" y="2082"/>
                  </a:lnTo>
                  <a:lnTo>
                    <a:pt x="241" y="2273"/>
                  </a:lnTo>
                  <a:lnTo>
                    <a:pt x="698" y="2679"/>
                  </a:lnTo>
                  <a:lnTo>
                    <a:pt x="685" y="1968"/>
                  </a:lnTo>
                  <a:lnTo>
                    <a:pt x="685" y="1282"/>
                  </a:lnTo>
                  <a:lnTo>
                    <a:pt x="698" y="596"/>
                  </a:lnTo>
                  <a:lnTo>
                    <a:pt x="241" y="19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AD97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79" name="object 1071">
              <a:extLst>
                <a:ext uri="{FF2B5EF4-FFF2-40B4-BE49-F238E27FC236}">
                  <a16:creationId xmlns:a16="http://schemas.microsoft.com/office/drawing/2014/main" id="{7C0599E0-5F1C-4DB5-A429-6D0E2900D075}"/>
                </a:ext>
              </a:extLst>
            </p:cNvPr>
            <p:cNvSpPr/>
            <p:nvPr/>
          </p:nvSpPr>
          <p:spPr>
            <a:xfrm>
              <a:off x="8016662" y="6379803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12" y="0"/>
                  </a:moveTo>
                  <a:lnTo>
                    <a:pt x="0" y="685"/>
                  </a:lnTo>
                  <a:lnTo>
                    <a:pt x="0" y="1371"/>
                  </a:lnTo>
                  <a:lnTo>
                    <a:pt x="12" y="2070"/>
                  </a:lnTo>
                  <a:lnTo>
                    <a:pt x="469" y="2451"/>
                  </a:lnTo>
                  <a:lnTo>
                    <a:pt x="698" y="2654"/>
                  </a:lnTo>
                  <a:lnTo>
                    <a:pt x="685" y="1943"/>
                  </a:lnTo>
                  <a:lnTo>
                    <a:pt x="685" y="1269"/>
                  </a:lnTo>
                  <a:lnTo>
                    <a:pt x="698" y="584"/>
                  </a:lnTo>
                  <a:lnTo>
                    <a:pt x="469" y="38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09A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0" name="object 1072">
              <a:extLst>
                <a:ext uri="{FF2B5EF4-FFF2-40B4-BE49-F238E27FC236}">
                  <a16:creationId xmlns:a16="http://schemas.microsoft.com/office/drawing/2014/main" id="{FF9BDAB5-E086-4E34-A71B-C163219EC185}"/>
                </a:ext>
              </a:extLst>
            </p:cNvPr>
            <p:cNvSpPr/>
            <p:nvPr/>
          </p:nvSpPr>
          <p:spPr>
            <a:xfrm>
              <a:off x="8017354" y="6380388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12" y="0"/>
                  </a:moveTo>
                  <a:lnTo>
                    <a:pt x="0" y="673"/>
                  </a:lnTo>
                  <a:lnTo>
                    <a:pt x="0" y="1358"/>
                  </a:lnTo>
                  <a:lnTo>
                    <a:pt x="12" y="2070"/>
                  </a:lnTo>
                  <a:lnTo>
                    <a:pt x="241" y="2247"/>
                  </a:lnTo>
                  <a:lnTo>
                    <a:pt x="469" y="2438"/>
                  </a:lnTo>
                  <a:lnTo>
                    <a:pt x="685" y="2628"/>
                  </a:lnTo>
                  <a:lnTo>
                    <a:pt x="685" y="1257"/>
                  </a:lnTo>
                  <a:lnTo>
                    <a:pt x="698" y="584"/>
                  </a:lnTo>
                  <a:lnTo>
                    <a:pt x="469" y="393"/>
                  </a:lnTo>
                  <a:lnTo>
                    <a:pt x="241" y="19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29B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1" name="object 1073">
              <a:extLst>
                <a:ext uri="{FF2B5EF4-FFF2-40B4-BE49-F238E27FC236}">
                  <a16:creationId xmlns:a16="http://schemas.microsoft.com/office/drawing/2014/main" id="{29CA5823-5A33-43B3-A72B-46B623906C12}"/>
                </a:ext>
              </a:extLst>
            </p:cNvPr>
            <p:cNvSpPr/>
            <p:nvPr/>
          </p:nvSpPr>
          <p:spPr>
            <a:xfrm>
              <a:off x="8018039" y="6380974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12" y="0"/>
                  </a:moveTo>
                  <a:lnTo>
                    <a:pt x="0" y="673"/>
                  </a:lnTo>
                  <a:lnTo>
                    <a:pt x="0" y="2044"/>
                  </a:lnTo>
                  <a:lnTo>
                    <a:pt x="685" y="2616"/>
                  </a:lnTo>
                  <a:lnTo>
                    <a:pt x="685" y="1257"/>
                  </a:lnTo>
                  <a:lnTo>
                    <a:pt x="698" y="584"/>
                  </a:lnTo>
                  <a:lnTo>
                    <a:pt x="469" y="393"/>
                  </a:lnTo>
                  <a:lnTo>
                    <a:pt x="241" y="190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49C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2" name="object 1074">
              <a:extLst>
                <a:ext uri="{FF2B5EF4-FFF2-40B4-BE49-F238E27FC236}">
                  <a16:creationId xmlns:a16="http://schemas.microsoft.com/office/drawing/2014/main" id="{08904A58-E667-45AF-877D-09024DAD001C}"/>
                </a:ext>
              </a:extLst>
            </p:cNvPr>
            <p:cNvSpPr/>
            <p:nvPr/>
          </p:nvSpPr>
          <p:spPr>
            <a:xfrm>
              <a:off x="8018725" y="6381558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12" y="0"/>
                  </a:moveTo>
                  <a:lnTo>
                    <a:pt x="0" y="673"/>
                  </a:lnTo>
                  <a:lnTo>
                    <a:pt x="0" y="2031"/>
                  </a:lnTo>
                  <a:lnTo>
                    <a:pt x="228" y="2222"/>
                  </a:lnTo>
                  <a:lnTo>
                    <a:pt x="457" y="2400"/>
                  </a:lnTo>
                  <a:lnTo>
                    <a:pt x="673" y="2590"/>
                  </a:lnTo>
                  <a:lnTo>
                    <a:pt x="673" y="1904"/>
                  </a:lnTo>
                  <a:lnTo>
                    <a:pt x="698" y="571"/>
                  </a:lnTo>
                  <a:lnTo>
                    <a:pt x="12" y="0"/>
                  </a:lnTo>
                  <a:close/>
                </a:path>
              </a:pathLst>
            </a:custGeom>
            <a:solidFill>
              <a:srgbClr val="B69F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3" name="object 1075">
              <a:extLst>
                <a:ext uri="{FF2B5EF4-FFF2-40B4-BE49-F238E27FC236}">
                  <a16:creationId xmlns:a16="http://schemas.microsoft.com/office/drawing/2014/main" id="{8A6E6AD6-3805-4D28-B2F4-30790B98D2A4}"/>
                </a:ext>
              </a:extLst>
            </p:cNvPr>
            <p:cNvSpPr/>
            <p:nvPr/>
          </p:nvSpPr>
          <p:spPr>
            <a:xfrm>
              <a:off x="8019398" y="6382130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25" y="0"/>
                  </a:moveTo>
                  <a:lnTo>
                    <a:pt x="0" y="1333"/>
                  </a:lnTo>
                  <a:lnTo>
                    <a:pt x="0" y="2019"/>
                  </a:lnTo>
                  <a:lnTo>
                    <a:pt x="228" y="2209"/>
                  </a:lnTo>
                  <a:lnTo>
                    <a:pt x="457" y="2387"/>
                  </a:lnTo>
                  <a:lnTo>
                    <a:pt x="685" y="2578"/>
                  </a:lnTo>
                  <a:lnTo>
                    <a:pt x="685" y="1905"/>
                  </a:lnTo>
                  <a:lnTo>
                    <a:pt x="711" y="584"/>
                  </a:lnTo>
                  <a:lnTo>
                    <a:pt x="482" y="381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B9A1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4" name="object 1076">
              <a:extLst>
                <a:ext uri="{FF2B5EF4-FFF2-40B4-BE49-F238E27FC236}">
                  <a16:creationId xmlns:a16="http://schemas.microsoft.com/office/drawing/2014/main" id="{5ADE617D-8E25-4643-801A-A1179EA3E6E4}"/>
                </a:ext>
              </a:extLst>
            </p:cNvPr>
            <p:cNvSpPr/>
            <p:nvPr/>
          </p:nvSpPr>
          <p:spPr>
            <a:xfrm>
              <a:off x="8020089" y="6382708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25" y="0"/>
                  </a:moveTo>
                  <a:lnTo>
                    <a:pt x="0" y="1333"/>
                  </a:lnTo>
                  <a:lnTo>
                    <a:pt x="0" y="2006"/>
                  </a:lnTo>
                  <a:lnTo>
                    <a:pt x="228" y="2197"/>
                  </a:lnTo>
                  <a:lnTo>
                    <a:pt x="457" y="2374"/>
                  </a:lnTo>
                  <a:lnTo>
                    <a:pt x="685" y="2565"/>
                  </a:lnTo>
                  <a:lnTo>
                    <a:pt x="685" y="1892"/>
                  </a:lnTo>
                  <a:lnTo>
                    <a:pt x="711" y="558"/>
                  </a:lnTo>
                  <a:lnTo>
                    <a:pt x="482" y="38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BCA3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5" name="object 1077">
              <a:extLst>
                <a:ext uri="{FF2B5EF4-FFF2-40B4-BE49-F238E27FC236}">
                  <a16:creationId xmlns:a16="http://schemas.microsoft.com/office/drawing/2014/main" id="{F4E38511-93AC-4506-848B-8ABCBFCC98B4}"/>
                </a:ext>
              </a:extLst>
            </p:cNvPr>
            <p:cNvSpPr/>
            <p:nvPr/>
          </p:nvSpPr>
          <p:spPr>
            <a:xfrm>
              <a:off x="8020773" y="6383266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25" y="0"/>
                  </a:moveTo>
                  <a:lnTo>
                    <a:pt x="0" y="1333"/>
                  </a:lnTo>
                  <a:lnTo>
                    <a:pt x="0" y="2006"/>
                  </a:lnTo>
                  <a:lnTo>
                    <a:pt x="228" y="2184"/>
                  </a:lnTo>
                  <a:lnTo>
                    <a:pt x="457" y="2374"/>
                  </a:lnTo>
                  <a:lnTo>
                    <a:pt x="685" y="2552"/>
                  </a:lnTo>
                  <a:lnTo>
                    <a:pt x="685" y="1892"/>
                  </a:lnTo>
                  <a:lnTo>
                    <a:pt x="698" y="1231"/>
                  </a:lnTo>
                  <a:lnTo>
                    <a:pt x="723" y="558"/>
                  </a:lnTo>
                  <a:lnTo>
                    <a:pt x="495" y="380"/>
                  </a:lnTo>
                  <a:lnTo>
                    <a:pt x="266" y="190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BEA6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6" name="object 1078">
              <a:extLst>
                <a:ext uri="{FF2B5EF4-FFF2-40B4-BE49-F238E27FC236}">
                  <a16:creationId xmlns:a16="http://schemas.microsoft.com/office/drawing/2014/main" id="{49026052-FF21-4DD9-B373-87CB60586924}"/>
                </a:ext>
              </a:extLst>
            </p:cNvPr>
            <p:cNvSpPr/>
            <p:nvPr/>
          </p:nvSpPr>
          <p:spPr>
            <a:xfrm>
              <a:off x="8021459" y="6383825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38" y="0"/>
                  </a:moveTo>
                  <a:lnTo>
                    <a:pt x="12" y="673"/>
                  </a:lnTo>
                  <a:lnTo>
                    <a:pt x="0" y="1333"/>
                  </a:lnTo>
                  <a:lnTo>
                    <a:pt x="0" y="1993"/>
                  </a:lnTo>
                  <a:lnTo>
                    <a:pt x="228" y="2184"/>
                  </a:lnTo>
                  <a:lnTo>
                    <a:pt x="457" y="2362"/>
                  </a:lnTo>
                  <a:lnTo>
                    <a:pt x="685" y="2552"/>
                  </a:lnTo>
                  <a:lnTo>
                    <a:pt x="711" y="1219"/>
                  </a:lnTo>
                  <a:lnTo>
                    <a:pt x="736" y="558"/>
                  </a:lnTo>
                  <a:lnTo>
                    <a:pt x="495" y="380"/>
                  </a:lnTo>
                  <a:lnTo>
                    <a:pt x="38" y="0"/>
                  </a:lnTo>
                  <a:close/>
                </a:path>
              </a:pathLst>
            </a:custGeom>
            <a:solidFill>
              <a:srgbClr val="C1A7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7" name="object 1079">
              <a:extLst>
                <a:ext uri="{FF2B5EF4-FFF2-40B4-BE49-F238E27FC236}">
                  <a16:creationId xmlns:a16="http://schemas.microsoft.com/office/drawing/2014/main" id="{2A606447-2BEB-4790-AFD9-04CA022F06CB}"/>
                </a:ext>
              </a:extLst>
            </p:cNvPr>
            <p:cNvSpPr/>
            <p:nvPr/>
          </p:nvSpPr>
          <p:spPr>
            <a:xfrm>
              <a:off x="8022142" y="6384386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50" y="0"/>
                  </a:moveTo>
                  <a:lnTo>
                    <a:pt x="25" y="660"/>
                  </a:lnTo>
                  <a:lnTo>
                    <a:pt x="0" y="1981"/>
                  </a:lnTo>
                  <a:lnTo>
                    <a:pt x="228" y="2159"/>
                  </a:lnTo>
                  <a:lnTo>
                    <a:pt x="457" y="2349"/>
                  </a:lnTo>
                  <a:lnTo>
                    <a:pt x="685" y="2527"/>
                  </a:lnTo>
                  <a:lnTo>
                    <a:pt x="711" y="1206"/>
                  </a:lnTo>
                  <a:lnTo>
                    <a:pt x="736" y="546"/>
                  </a:lnTo>
                  <a:lnTo>
                    <a:pt x="279" y="19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C3AA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8" name="object 1080">
              <a:extLst>
                <a:ext uri="{FF2B5EF4-FFF2-40B4-BE49-F238E27FC236}">
                  <a16:creationId xmlns:a16="http://schemas.microsoft.com/office/drawing/2014/main" id="{BC45C3DF-698D-4D16-8F22-6064E738F295}"/>
                </a:ext>
              </a:extLst>
            </p:cNvPr>
            <p:cNvSpPr/>
            <p:nvPr/>
          </p:nvSpPr>
          <p:spPr>
            <a:xfrm>
              <a:off x="8022832" y="6384936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50" y="0"/>
                  </a:moveTo>
                  <a:lnTo>
                    <a:pt x="0" y="1320"/>
                  </a:lnTo>
                  <a:lnTo>
                    <a:pt x="0" y="1981"/>
                  </a:lnTo>
                  <a:lnTo>
                    <a:pt x="685" y="2514"/>
                  </a:lnTo>
                  <a:lnTo>
                    <a:pt x="711" y="1206"/>
                  </a:lnTo>
                  <a:lnTo>
                    <a:pt x="749" y="546"/>
                  </a:lnTo>
                  <a:lnTo>
                    <a:pt x="508" y="368"/>
                  </a:lnTo>
                  <a:lnTo>
                    <a:pt x="279" y="190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C5AB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89" name="object 1081">
              <a:extLst>
                <a:ext uri="{FF2B5EF4-FFF2-40B4-BE49-F238E27FC236}">
                  <a16:creationId xmlns:a16="http://schemas.microsoft.com/office/drawing/2014/main" id="{BE384107-0449-4442-AE7E-7F3A4FC0721A}"/>
                </a:ext>
              </a:extLst>
            </p:cNvPr>
            <p:cNvSpPr/>
            <p:nvPr/>
          </p:nvSpPr>
          <p:spPr>
            <a:xfrm>
              <a:off x="8023514" y="6385486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63" y="0"/>
                  </a:moveTo>
                  <a:lnTo>
                    <a:pt x="12" y="1308"/>
                  </a:lnTo>
                  <a:lnTo>
                    <a:pt x="0" y="1968"/>
                  </a:lnTo>
                  <a:lnTo>
                    <a:pt x="685" y="2501"/>
                  </a:lnTo>
                  <a:lnTo>
                    <a:pt x="711" y="1854"/>
                  </a:lnTo>
                  <a:lnTo>
                    <a:pt x="723" y="1206"/>
                  </a:lnTo>
                  <a:lnTo>
                    <a:pt x="761" y="546"/>
                  </a:lnTo>
                  <a:lnTo>
                    <a:pt x="533" y="368"/>
                  </a:lnTo>
                  <a:lnTo>
                    <a:pt x="292" y="190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C9AE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0" name="object 1082">
              <a:extLst>
                <a:ext uri="{FF2B5EF4-FFF2-40B4-BE49-F238E27FC236}">
                  <a16:creationId xmlns:a16="http://schemas.microsoft.com/office/drawing/2014/main" id="{C02182FB-BD13-4017-93D0-95118B4F96C2}"/>
                </a:ext>
              </a:extLst>
            </p:cNvPr>
            <p:cNvSpPr/>
            <p:nvPr/>
          </p:nvSpPr>
          <p:spPr>
            <a:xfrm>
              <a:off x="8024213" y="6386031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63" y="0"/>
                  </a:moveTo>
                  <a:lnTo>
                    <a:pt x="25" y="660"/>
                  </a:lnTo>
                  <a:lnTo>
                    <a:pt x="0" y="1968"/>
                  </a:lnTo>
                  <a:lnTo>
                    <a:pt x="685" y="2501"/>
                  </a:lnTo>
                  <a:lnTo>
                    <a:pt x="698" y="1854"/>
                  </a:lnTo>
                  <a:lnTo>
                    <a:pt x="723" y="1193"/>
                  </a:lnTo>
                  <a:lnTo>
                    <a:pt x="761" y="533"/>
                  </a:lnTo>
                  <a:lnTo>
                    <a:pt x="520" y="355"/>
                  </a:lnTo>
                  <a:lnTo>
                    <a:pt x="63" y="0"/>
                  </a:lnTo>
                  <a:close/>
                </a:path>
              </a:pathLst>
            </a:custGeom>
            <a:solidFill>
              <a:srgbClr val="CBAF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1" name="object 1083">
              <a:extLst>
                <a:ext uri="{FF2B5EF4-FFF2-40B4-BE49-F238E27FC236}">
                  <a16:creationId xmlns:a16="http://schemas.microsoft.com/office/drawing/2014/main" id="{F4458371-0A20-4ADC-AB3A-EE78015F3626}"/>
                </a:ext>
              </a:extLst>
            </p:cNvPr>
            <p:cNvSpPr/>
            <p:nvPr/>
          </p:nvSpPr>
          <p:spPr>
            <a:xfrm>
              <a:off x="8024893" y="6386569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76" y="0"/>
                  </a:moveTo>
                  <a:lnTo>
                    <a:pt x="38" y="660"/>
                  </a:lnTo>
                  <a:lnTo>
                    <a:pt x="12" y="1308"/>
                  </a:lnTo>
                  <a:lnTo>
                    <a:pt x="0" y="1968"/>
                  </a:lnTo>
                  <a:lnTo>
                    <a:pt x="228" y="2146"/>
                  </a:lnTo>
                  <a:lnTo>
                    <a:pt x="457" y="2311"/>
                  </a:lnTo>
                  <a:lnTo>
                    <a:pt x="698" y="2501"/>
                  </a:lnTo>
                  <a:lnTo>
                    <a:pt x="711" y="1841"/>
                  </a:lnTo>
                  <a:lnTo>
                    <a:pt x="736" y="1193"/>
                  </a:lnTo>
                  <a:lnTo>
                    <a:pt x="774" y="533"/>
                  </a:lnTo>
                  <a:lnTo>
                    <a:pt x="533" y="355"/>
                  </a:lnTo>
                  <a:lnTo>
                    <a:pt x="76" y="0"/>
                  </a:lnTo>
                  <a:close/>
                </a:path>
              </a:pathLst>
            </a:custGeom>
            <a:solidFill>
              <a:srgbClr val="CDB1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2" name="object 1084">
              <a:extLst>
                <a:ext uri="{FF2B5EF4-FFF2-40B4-BE49-F238E27FC236}">
                  <a16:creationId xmlns:a16="http://schemas.microsoft.com/office/drawing/2014/main" id="{AA219D3A-21F3-473B-9836-A7BE862FD593}"/>
                </a:ext>
              </a:extLst>
            </p:cNvPr>
            <p:cNvSpPr/>
            <p:nvPr/>
          </p:nvSpPr>
          <p:spPr>
            <a:xfrm>
              <a:off x="8025582" y="6387104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88" y="0"/>
                  </a:moveTo>
                  <a:lnTo>
                    <a:pt x="50" y="660"/>
                  </a:lnTo>
                  <a:lnTo>
                    <a:pt x="0" y="1955"/>
                  </a:lnTo>
                  <a:lnTo>
                    <a:pt x="228" y="2133"/>
                  </a:lnTo>
                  <a:lnTo>
                    <a:pt x="469" y="2311"/>
                  </a:lnTo>
                  <a:lnTo>
                    <a:pt x="698" y="2489"/>
                  </a:lnTo>
                  <a:lnTo>
                    <a:pt x="711" y="1841"/>
                  </a:lnTo>
                  <a:lnTo>
                    <a:pt x="787" y="533"/>
                  </a:lnTo>
                  <a:lnTo>
                    <a:pt x="546" y="355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CFB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3" name="object 1085">
              <a:extLst>
                <a:ext uri="{FF2B5EF4-FFF2-40B4-BE49-F238E27FC236}">
                  <a16:creationId xmlns:a16="http://schemas.microsoft.com/office/drawing/2014/main" id="{F43A6A39-1C75-4F9B-8AD0-0659B9BC3A20}"/>
                </a:ext>
              </a:extLst>
            </p:cNvPr>
            <p:cNvSpPr/>
            <p:nvPr/>
          </p:nvSpPr>
          <p:spPr>
            <a:xfrm>
              <a:off x="8026276" y="6387637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88" y="0"/>
                  </a:moveTo>
                  <a:lnTo>
                    <a:pt x="50" y="660"/>
                  </a:lnTo>
                  <a:lnTo>
                    <a:pt x="0" y="1955"/>
                  </a:lnTo>
                  <a:lnTo>
                    <a:pt x="228" y="2133"/>
                  </a:lnTo>
                  <a:lnTo>
                    <a:pt x="469" y="2311"/>
                  </a:lnTo>
                  <a:lnTo>
                    <a:pt x="698" y="2489"/>
                  </a:lnTo>
                  <a:lnTo>
                    <a:pt x="711" y="1841"/>
                  </a:lnTo>
                  <a:lnTo>
                    <a:pt x="787" y="533"/>
                  </a:lnTo>
                  <a:lnTo>
                    <a:pt x="330" y="177"/>
                  </a:lnTo>
                  <a:lnTo>
                    <a:pt x="88" y="0"/>
                  </a:lnTo>
                  <a:close/>
                </a:path>
              </a:pathLst>
            </a:custGeom>
            <a:solidFill>
              <a:srgbClr val="D2B63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4" name="object 1086">
              <a:extLst>
                <a:ext uri="{FF2B5EF4-FFF2-40B4-BE49-F238E27FC236}">
                  <a16:creationId xmlns:a16="http://schemas.microsoft.com/office/drawing/2014/main" id="{8BB067EF-1117-4505-A4C3-0F19F190887D}"/>
                </a:ext>
              </a:extLst>
            </p:cNvPr>
            <p:cNvSpPr/>
            <p:nvPr/>
          </p:nvSpPr>
          <p:spPr>
            <a:xfrm>
              <a:off x="8026966" y="6388167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01" y="0"/>
                  </a:moveTo>
                  <a:lnTo>
                    <a:pt x="25" y="1320"/>
                  </a:lnTo>
                  <a:lnTo>
                    <a:pt x="0" y="1955"/>
                  </a:lnTo>
                  <a:lnTo>
                    <a:pt x="241" y="2133"/>
                  </a:lnTo>
                  <a:lnTo>
                    <a:pt x="698" y="2489"/>
                  </a:lnTo>
                  <a:lnTo>
                    <a:pt x="723" y="1841"/>
                  </a:lnTo>
                  <a:lnTo>
                    <a:pt x="800" y="520"/>
                  </a:lnTo>
                  <a:lnTo>
                    <a:pt x="571" y="342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D4B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5" name="object 1087">
              <a:extLst>
                <a:ext uri="{FF2B5EF4-FFF2-40B4-BE49-F238E27FC236}">
                  <a16:creationId xmlns:a16="http://schemas.microsoft.com/office/drawing/2014/main" id="{8F967E0D-7815-49DA-A3E7-F702C4E9E03F}"/>
                </a:ext>
              </a:extLst>
            </p:cNvPr>
            <p:cNvSpPr/>
            <p:nvPr/>
          </p:nvSpPr>
          <p:spPr>
            <a:xfrm>
              <a:off x="8027665" y="6388685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01" y="0"/>
                  </a:moveTo>
                  <a:lnTo>
                    <a:pt x="25" y="1320"/>
                  </a:lnTo>
                  <a:lnTo>
                    <a:pt x="0" y="1968"/>
                  </a:lnTo>
                  <a:lnTo>
                    <a:pt x="469" y="2311"/>
                  </a:lnTo>
                  <a:lnTo>
                    <a:pt x="698" y="2489"/>
                  </a:lnTo>
                  <a:lnTo>
                    <a:pt x="723" y="1841"/>
                  </a:lnTo>
                  <a:lnTo>
                    <a:pt x="800" y="520"/>
                  </a:lnTo>
                  <a:lnTo>
                    <a:pt x="571" y="355"/>
                  </a:lnTo>
                  <a:lnTo>
                    <a:pt x="342" y="177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D6B93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6" name="object 1088">
              <a:extLst>
                <a:ext uri="{FF2B5EF4-FFF2-40B4-BE49-F238E27FC236}">
                  <a16:creationId xmlns:a16="http://schemas.microsoft.com/office/drawing/2014/main" id="{0C268D46-3F68-4495-B348-DAB81045F661}"/>
                </a:ext>
              </a:extLst>
            </p:cNvPr>
            <p:cNvSpPr/>
            <p:nvPr/>
          </p:nvSpPr>
          <p:spPr>
            <a:xfrm>
              <a:off x="8028355" y="6389212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14" y="0"/>
                  </a:moveTo>
                  <a:lnTo>
                    <a:pt x="63" y="660"/>
                  </a:lnTo>
                  <a:lnTo>
                    <a:pt x="25" y="1320"/>
                  </a:lnTo>
                  <a:lnTo>
                    <a:pt x="0" y="1955"/>
                  </a:lnTo>
                  <a:lnTo>
                    <a:pt x="241" y="2133"/>
                  </a:lnTo>
                  <a:lnTo>
                    <a:pt x="469" y="2311"/>
                  </a:lnTo>
                  <a:lnTo>
                    <a:pt x="698" y="2476"/>
                  </a:lnTo>
                  <a:lnTo>
                    <a:pt x="723" y="1841"/>
                  </a:lnTo>
                  <a:lnTo>
                    <a:pt x="774" y="1181"/>
                  </a:lnTo>
                  <a:lnTo>
                    <a:pt x="812" y="508"/>
                  </a:lnTo>
                  <a:lnTo>
                    <a:pt x="584" y="342"/>
                  </a:lnTo>
                  <a:lnTo>
                    <a:pt x="355" y="165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D8BA3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7" name="object 1089">
              <a:extLst>
                <a:ext uri="{FF2B5EF4-FFF2-40B4-BE49-F238E27FC236}">
                  <a16:creationId xmlns:a16="http://schemas.microsoft.com/office/drawing/2014/main" id="{6ADC65C8-49B9-45DC-8AC8-331CC1BA69BD}"/>
                </a:ext>
              </a:extLst>
            </p:cNvPr>
            <p:cNvSpPr/>
            <p:nvPr/>
          </p:nvSpPr>
          <p:spPr>
            <a:xfrm>
              <a:off x="8029057" y="6389721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14" y="0"/>
                  </a:moveTo>
                  <a:lnTo>
                    <a:pt x="63" y="673"/>
                  </a:lnTo>
                  <a:lnTo>
                    <a:pt x="25" y="1333"/>
                  </a:lnTo>
                  <a:lnTo>
                    <a:pt x="0" y="1968"/>
                  </a:lnTo>
                  <a:lnTo>
                    <a:pt x="698" y="2476"/>
                  </a:lnTo>
                  <a:lnTo>
                    <a:pt x="774" y="1193"/>
                  </a:lnTo>
                  <a:lnTo>
                    <a:pt x="825" y="520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DABC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8" name="object 1090">
              <a:extLst>
                <a:ext uri="{FF2B5EF4-FFF2-40B4-BE49-F238E27FC236}">
                  <a16:creationId xmlns:a16="http://schemas.microsoft.com/office/drawing/2014/main" id="{AFCD669B-27B5-4A60-A61A-4B24A4D296F8}"/>
                </a:ext>
              </a:extLst>
            </p:cNvPr>
            <p:cNvSpPr/>
            <p:nvPr/>
          </p:nvSpPr>
          <p:spPr>
            <a:xfrm>
              <a:off x="8029751" y="6390239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26" y="0"/>
                  </a:moveTo>
                  <a:lnTo>
                    <a:pt x="76" y="673"/>
                  </a:lnTo>
                  <a:lnTo>
                    <a:pt x="0" y="1955"/>
                  </a:lnTo>
                  <a:lnTo>
                    <a:pt x="241" y="2133"/>
                  </a:lnTo>
                  <a:lnTo>
                    <a:pt x="469" y="2311"/>
                  </a:lnTo>
                  <a:lnTo>
                    <a:pt x="711" y="2489"/>
                  </a:lnTo>
                  <a:lnTo>
                    <a:pt x="736" y="1841"/>
                  </a:lnTo>
                  <a:lnTo>
                    <a:pt x="838" y="508"/>
                  </a:lnTo>
                  <a:lnTo>
                    <a:pt x="596" y="342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DDBF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99" name="object 1091">
              <a:extLst>
                <a:ext uri="{FF2B5EF4-FFF2-40B4-BE49-F238E27FC236}">
                  <a16:creationId xmlns:a16="http://schemas.microsoft.com/office/drawing/2014/main" id="{7C11A38A-8D2F-4A7A-BC9B-48A34E8AB95E}"/>
                </a:ext>
              </a:extLst>
            </p:cNvPr>
            <p:cNvSpPr/>
            <p:nvPr/>
          </p:nvSpPr>
          <p:spPr>
            <a:xfrm>
              <a:off x="8030452" y="6390754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39" y="0"/>
                  </a:moveTo>
                  <a:lnTo>
                    <a:pt x="38" y="1333"/>
                  </a:lnTo>
                  <a:lnTo>
                    <a:pt x="0" y="1968"/>
                  </a:lnTo>
                  <a:lnTo>
                    <a:pt x="241" y="2133"/>
                  </a:lnTo>
                  <a:lnTo>
                    <a:pt x="469" y="2311"/>
                  </a:lnTo>
                  <a:lnTo>
                    <a:pt x="698" y="2476"/>
                  </a:lnTo>
                  <a:lnTo>
                    <a:pt x="736" y="1841"/>
                  </a:lnTo>
                  <a:lnTo>
                    <a:pt x="838" y="507"/>
                  </a:lnTo>
                  <a:lnTo>
                    <a:pt x="609" y="342"/>
                  </a:lnTo>
                  <a:lnTo>
                    <a:pt x="368" y="177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DFC13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0" name="object 1092">
              <a:extLst>
                <a:ext uri="{FF2B5EF4-FFF2-40B4-BE49-F238E27FC236}">
                  <a16:creationId xmlns:a16="http://schemas.microsoft.com/office/drawing/2014/main" id="{92F1868B-9BB7-4CDA-9E1F-172E459314C8}"/>
                </a:ext>
              </a:extLst>
            </p:cNvPr>
            <p:cNvSpPr/>
            <p:nvPr/>
          </p:nvSpPr>
          <p:spPr>
            <a:xfrm>
              <a:off x="8031154" y="6391261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39" y="0"/>
                  </a:moveTo>
                  <a:lnTo>
                    <a:pt x="38" y="1333"/>
                  </a:lnTo>
                  <a:lnTo>
                    <a:pt x="0" y="1968"/>
                  </a:lnTo>
                  <a:lnTo>
                    <a:pt x="228" y="2146"/>
                  </a:lnTo>
                  <a:lnTo>
                    <a:pt x="469" y="2311"/>
                  </a:lnTo>
                  <a:lnTo>
                    <a:pt x="698" y="2476"/>
                  </a:lnTo>
                  <a:lnTo>
                    <a:pt x="736" y="1841"/>
                  </a:lnTo>
                  <a:lnTo>
                    <a:pt x="787" y="1181"/>
                  </a:lnTo>
                  <a:lnTo>
                    <a:pt x="850" y="507"/>
                  </a:lnTo>
                  <a:lnTo>
                    <a:pt x="380" y="165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E1C23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1" name="object 1093">
              <a:extLst>
                <a:ext uri="{FF2B5EF4-FFF2-40B4-BE49-F238E27FC236}">
                  <a16:creationId xmlns:a16="http://schemas.microsoft.com/office/drawing/2014/main" id="{E240978E-22EC-469D-80AE-4EFA1F8FC3A8}"/>
                </a:ext>
              </a:extLst>
            </p:cNvPr>
            <p:cNvSpPr/>
            <p:nvPr/>
          </p:nvSpPr>
          <p:spPr>
            <a:xfrm>
              <a:off x="8031853" y="6391761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52" y="0"/>
                  </a:moveTo>
                  <a:lnTo>
                    <a:pt x="88" y="685"/>
                  </a:lnTo>
                  <a:lnTo>
                    <a:pt x="38" y="1346"/>
                  </a:lnTo>
                  <a:lnTo>
                    <a:pt x="0" y="1981"/>
                  </a:lnTo>
                  <a:lnTo>
                    <a:pt x="241" y="2146"/>
                  </a:lnTo>
                  <a:lnTo>
                    <a:pt x="469" y="2324"/>
                  </a:lnTo>
                  <a:lnTo>
                    <a:pt x="711" y="2489"/>
                  </a:lnTo>
                  <a:lnTo>
                    <a:pt x="736" y="1968"/>
                  </a:lnTo>
                  <a:lnTo>
                    <a:pt x="838" y="863"/>
                  </a:lnTo>
                  <a:lnTo>
                    <a:pt x="863" y="507"/>
                  </a:lnTo>
                  <a:lnTo>
                    <a:pt x="622" y="342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E4C43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2" name="object 1094">
              <a:extLst>
                <a:ext uri="{FF2B5EF4-FFF2-40B4-BE49-F238E27FC236}">
                  <a16:creationId xmlns:a16="http://schemas.microsoft.com/office/drawing/2014/main" id="{D49DBB80-A948-498D-88E3-E23624549A6D}"/>
                </a:ext>
              </a:extLst>
            </p:cNvPr>
            <p:cNvSpPr/>
            <p:nvPr/>
          </p:nvSpPr>
          <p:spPr>
            <a:xfrm>
              <a:off x="8032560" y="6392264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52" y="0"/>
                  </a:moveTo>
                  <a:lnTo>
                    <a:pt x="139" y="241"/>
                  </a:lnTo>
                  <a:lnTo>
                    <a:pt x="76" y="927"/>
                  </a:lnTo>
                  <a:lnTo>
                    <a:pt x="0" y="1981"/>
                  </a:lnTo>
                  <a:lnTo>
                    <a:pt x="698" y="2489"/>
                  </a:lnTo>
                  <a:lnTo>
                    <a:pt x="736" y="2095"/>
                  </a:lnTo>
                  <a:lnTo>
                    <a:pt x="761" y="1701"/>
                  </a:lnTo>
                  <a:lnTo>
                    <a:pt x="825" y="1028"/>
                  </a:lnTo>
                  <a:lnTo>
                    <a:pt x="838" y="762"/>
                  </a:lnTo>
                  <a:lnTo>
                    <a:pt x="863" y="495"/>
                  </a:lnTo>
                  <a:lnTo>
                    <a:pt x="634" y="330"/>
                  </a:lnTo>
                  <a:lnTo>
                    <a:pt x="393" y="177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E6C63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3" name="object 1095">
              <a:extLst>
                <a:ext uri="{FF2B5EF4-FFF2-40B4-BE49-F238E27FC236}">
                  <a16:creationId xmlns:a16="http://schemas.microsoft.com/office/drawing/2014/main" id="{18CD6C8E-C1EA-4833-8C81-D3EB0B519131}"/>
                </a:ext>
              </a:extLst>
            </p:cNvPr>
            <p:cNvSpPr/>
            <p:nvPr/>
          </p:nvSpPr>
          <p:spPr>
            <a:xfrm>
              <a:off x="8033261" y="6392754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65" y="0"/>
                  </a:moveTo>
                  <a:lnTo>
                    <a:pt x="139" y="279"/>
                  </a:lnTo>
                  <a:lnTo>
                    <a:pt x="126" y="546"/>
                  </a:lnTo>
                  <a:lnTo>
                    <a:pt x="63" y="1206"/>
                  </a:lnTo>
                  <a:lnTo>
                    <a:pt x="38" y="1600"/>
                  </a:lnTo>
                  <a:lnTo>
                    <a:pt x="0" y="1993"/>
                  </a:lnTo>
                  <a:lnTo>
                    <a:pt x="241" y="2159"/>
                  </a:lnTo>
                  <a:lnTo>
                    <a:pt x="711" y="2501"/>
                  </a:lnTo>
                  <a:lnTo>
                    <a:pt x="736" y="2247"/>
                  </a:lnTo>
                  <a:lnTo>
                    <a:pt x="749" y="1981"/>
                  </a:lnTo>
                  <a:lnTo>
                    <a:pt x="774" y="1714"/>
                  </a:lnTo>
                  <a:lnTo>
                    <a:pt x="800" y="1333"/>
                  </a:lnTo>
                  <a:lnTo>
                    <a:pt x="838" y="927"/>
                  </a:lnTo>
                  <a:lnTo>
                    <a:pt x="863" y="495"/>
                  </a:lnTo>
                  <a:lnTo>
                    <a:pt x="393" y="177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E8C83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4" name="object 1096">
              <a:extLst>
                <a:ext uri="{FF2B5EF4-FFF2-40B4-BE49-F238E27FC236}">
                  <a16:creationId xmlns:a16="http://schemas.microsoft.com/office/drawing/2014/main" id="{3969182C-F73E-4E64-B4EB-A686E27FF2F5}"/>
                </a:ext>
              </a:extLst>
            </p:cNvPr>
            <p:cNvSpPr/>
            <p:nvPr/>
          </p:nvSpPr>
          <p:spPr>
            <a:xfrm>
              <a:off x="8033969" y="6393253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52" y="0"/>
                  </a:moveTo>
                  <a:lnTo>
                    <a:pt x="101" y="838"/>
                  </a:lnTo>
                  <a:lnTo>
                    <a:pt x="63" y="1219"/>
                  </a:lnTo>
                  <a:lnTo>
                    <a:pt x="50" y="1485"/>
                  </a:lnTo>
                  <a:lnTo>
                    <a:pt x="0" y="1993"/>
                  </a:lnTo>
                  <a:lnTo>
                    <a:pt x="241" y="2171"/>
                  </a:lnTo>
                  <a:lnTo>
                    <a:pt x="482" y="2336"/>
                  </a:lnTo>
                  <a:lnTo>
                    <a:pt x="711" y="2501"/>
                  </a:lnTo>
                  <a:lnTo>
                    <a:pt x="736" y="2260"/>
                  </a:lnTo>
                  <a:lnTo>
                    <a:pt x="736" y="2133"/>
                  </a:lnTo>
                  <a:lnTo>
                    <a:pt x="787" y="1625"/>
                  </a:lnTo>
                  <a:lnTo>
                    <a:pt x="863" y="482"/>
                  </a:lnTo>
                  <a:lnTo>
                    <a:pt x="634" y="317"/>
                  </a:lnTo>
                  <a:lnTo>
                    <a:pt x="393" y="165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E9CA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5" name="object 1097">
              <a:extLst>
                <a:ext uri="{FF2B5EF4-FFF2-40B4-BE49-F238E27FC236}">
                  <a16:creationId xmlns:a16="http://schemas.microsoft.com/office/drawing/2014/main" id="{CE96A8FD-FAA8-4B60-B4B3-F929DA0A8C66}"/>
                </a:ext>
              </a:extLst>
            </p:cNvPr>
            <p:cNvSpPr/>
            <p:nvPr/>
          </p:nvSpPr>
          <p:spPr>
            <a:xfrm>
              <a:off x="8034680" y="6393736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52" y="0"/>
                  </a:moveTo>
                  <a:lnTo>
                    <a:pt x="76" y="1143"/>
                  </a:lnTo>
                  <a:lnTo>
                    <a:pt x="25" y="1651"/>
                  </a:lnTo>
                  <a:lnTo>
                    <a:pt x="25" y="1778"/>
                  </a:lnTo>
                  <a:lnTo>
                    <a:pt x="0" y="2019"/>
                  </a:lnTo>
                  <a:lnTo>
                    <a:pt x="241" y="2184"/>
                  </a:lnTo>
                  <a:lnTo>
                    <a:pt x="469" y="2349"/>
                  </a:lnTo>
                  <a:lnTo>
                    <a:pt x="711" y="2514"/>
                  </a:lnTo>
                  <a:lnTo>
                    <a:pt x="761" y="1892"/>
                  </a:lnTo>
                  <a:lnTo>
                    <a:pt x="800" y="1219"/>
                  </a:lnTo>
                  <a:lnTo>
                    <a:pt x="850" y="469"/>
                  </a:lnTo>
                  <a:lnTo>
                    <a:pt x="609" y="317"/>
                  </a:lnTo>
                  <a:lnTo>
                    <a:pt x="380" y="152"/>
                  </a:lnTo>
                  <a:lnTo>
                    <a:pt x="152" y="0"/>
                  </a:lnTo>
                  <a:close/>
                </a:path>
              </a:pathLst>
            </a:custGeom>
            <a:solidFill>
              <a:srgbClr val="EECD4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6" name="object 1098">
              <a:extLst>
                <a:ext uri="{FF2B5EF4-FFF2-40B4-BE49-F238E27FC236}">
                  <a16:creationId xmlns:a16="http://schemas.microsoft.com/office/drawing/2014/main" id="{CC892DC0-BBCD-4302-9817-0D7B155AB63C}"/>
                </a:ext>
              </a:extLst>
            </p:cNvPr>
            <p:cNvSpPr/>
            <p:nvPr/>
          </p:nvSpPr>
          <p:spPr>
            <a:xfrm>
              <a:off x="8035389" y="6394207"/>
              <a:ext cx="1270" cy="2540"/>
            </a:xfrm>
            <a:custGeom>
              <a:avLst/>
              <a:gdLst/>
              <a:ahLst/>
              <a:cxnLst/>
              <a:rect l="l" t="t" r="r" b="b"/>
              <a:pathLst>
                <a:path w="1270" h="2540">
                  <a:moveTo>
                    <a:pt x="139" y="0"/>
                  </a:moveTo>
                  <a:lnTo>
                    <a:pt x="101" y="749"/>
                  </a:lnTo>
                  <a:lnTo>
                    <a:pt x="0" y="2044"/>
                  </a:lnTo>
                  <a:lnTo>
                    <a:pt x="482" y="2374"/>
                  </a:lnTo>
                  <a:lnTo>
                    <a:pt x="711" y="2539"/>
                  </a:lnTo>
                  <a:lnTo>
                    <a:pt x="761" y="1917"/>
                  </a:lnTo>
                  <a:lnTo>
                    <a:pt x="838" y="469"/>
                  </a:lnTo>
                  <a:lnTo>
                    <a:pt x="139" y="0"/>
                  </a:lnTo>
                  <a:close/>
                </a:path>
              </a:pathLst>
            </a:custGeom>
            <a:solidFill>
              <a:srgbClr val="F0CE4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7" name="object 1099">
              <a:extLst>
                <a:ext uri="{FF2B5EF4-FFF2-40B4-BE49-F238E27FC236}">
                  <a16:creationId xmlns:a16="http://schemas.microsoft.com/office/drawing/2014/main" id="{F1CC79EC-F898-4DCD-B433-BF5F20E32B77}"/>
                </a:ext>
              </a:extLst>
            </p:cNvPr>
            <p:cNvSpPr/>
            <p:nvPr/>
          </p:nvSpPr>
          <p:spPr>
            <a:xfrm>
              <a:off x="8036097" y="6394674"/>
              <a:ext cx="1270" cy="3175"/>
            </a:xfrm>
            <a:custGeom>
              <a:avLst/>
              <a:gdLst/>
              <a:ahLst/>
              <a:cxnLst/>
              <a:rect l="l" t="t" r="r" b="b"/>
              <a:pathLst>
                <a:path w="1270" h="3175">
                  <a:moveTo>
                    <a:pt x="126" y="0"/>
                  </a:moveTo>
                  <a:lnTo>
                    <a:pt x="50" y="1447"/>
                  </a:lnTo>
                  <a:lnTo>
                    <a:pt x="0" y="2070"/>
                  </a:lnTo>
                  <a:lnTo>
                    <a:pt x="711" y="2552"/>
                  </a:lnTo>
                  <a:lnTo>
                    <a:pt x="787" y="1219"/>
                  </a:lnTo>
                  <a:lnTo>
                    <a:pt x="812" y="469"/>
                  </a:lnTo>
                  <a:lnTo>
                    <a:pt x="355" y="165"/>
                  </a:lnTo>
                  <a:lnTo>
                    <a:pt x="126" y="0"/>
                  </a:lnTo>
                  <a:close/>
                </a:path>
              </a:pathLst>
            </a:custGeom>
            <a:solidFill>
              <a:srgbClr val="F1CF4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8" name="object 1100">
              <a:extLst>
                <a:ext uri="{FF2B5EF4-FFF2-40B4-BE49-F238E27FC236}">
                  <a16:creationId xmlns:a16="http://schemas.microsoft.com/office/drawing/2014/main" id="{E712F950-D01B-475C-A71F-EACF90F2CB9E}"/>
                </a:ext>
              </a:extLst>
            </p:cNvPr>
            <p:cNvSpPr/>
            <p:nvPr/>
          </p:nvSpPr>
          <p:spPr>
            <a:xfrm>
              <a:off x="8036879" y="6395143"/>
              <a:ext cx="5715" cy="5715"/>
            </a:xfrm>
            <a:custGeom>
              <a:avLst/>
              <a:gdLst/>
              <a:ahLst/>
              <a:cxnLst/>
              <a:rect l="l" t="t" r="r" b="b"/>
              <a:pathLst>
                <a:path w="5715" h="5715">
                  <a:moveTo>
                    <a:pt x="40" y="0"/>
                  </a:moveTo>
                  <a:lnTo>
                    <a:pt x="0" y="2133"/>
                  </a:lnTo>
                  <a:lnTo>
                    <a:pt x="3215" y="4343"/>
                  </a:lnTo>
                  <a:lnTo>
                    <a:pt x="5234" y="5600"/>
                  </a:lnTo>
                  <a:lnTo>
                    <a:pt x="5234" y="3340"/>
                  </a:lnTo>
                  <a:lnTo>
                    <a:pt x="3152" y="2082"/>
                  </a:lnTo>
                  <a:lnTo>
                    <a:pt x="40" y="0"/>
                  </a:lnTo>
                  <a:close/>
                </a:path>
              </a:pathLst>
            </a:custGeom>
            <a:solidFill>
              <a:srgbClr val="F4D24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09" name="object 1101">
              <a:extLst>
                <a:ext uri="{FF2B5EF4-FFF2-40B4-BE49-F238E27FC236}">
                  <a16:creationId xmlns:a16="http://schemas.microsoft.com/office/drawing/2014/main" id="{82CED2A2-D58B-47D8-9ABF-516A51CCBC7A}"/>
                </a:ext>
              </a:extLst>
            </p:cNvPr>
            <p:cNvSpPr/>
            <p:nvPr/>
          </p:nvSpPr>
          <p:spPr>
            <a:xfrm>
              <a:off x="7984810" y="6249095"/>
              <a:ext cx="113030" cy="1270"/>
            </a:xfrm>
            <a:custGeom>
              <a:avLst/>
              <a:gdLst/>
              <a:ahLst/>
              <a:cxnLst/>
              <a:rect l="l" t="t" r="r" b="b"/>
              <a:pathLst>
                <a:path w="113029" h="1270">
                  <a:moveTo>
                    <a:pt x="112750" y="0"/>
                  </a:moveTo>
                  <a:lnTo>
                    <a:pt x="0" y="0"/>
                  </a:lnTo>
                  <a:lnTo>
                    <a:pt x="1104" y="685"/>
                  </a:lnTo>
                  <a:lnTo>
                    <a:pt x="111645" y="685"/>
                  </a:lnTo>
                  <a:lnTo>
                    <a:pt x="112750" y="0"/>
                  </a:lnTo>
                  <a:close/>
                </a:path>
              </a:pathLst>
            </a:custGeom>
            <a:solidFill>
              <a:srgbClr val="39311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0" name="object 1102">
              <a:extLst>
                <a:ext uri="{FF2B5EF4-FFF2-40B4-BE49-F238E27FC236}">
                  <a16:creationId xmlns:a16="http://schemas.microsoft.com/office/drawing/2014/main" id="{25743335-D32E-444A-85A5-BB0A186187FF}"/>
                </a:ext>
              </a:extLst>
            </p:cNvPr>
            <p:cNvSpPr/>
            <p:nvPr/>
          </p:nvSpPr>
          <p:spPr>
            <a:xfrm>
              <a:off x="8026489" y="6303952"/>
              <a:ext cx="20955" cy="27305"/>
            </a:xfrm>
            <a:custGeom>
              <a:avLst/>
              <a:gdLst/>
              <a:ahLst/>
              <a:cxnLst/>
              <a:rect l="l" t="t" r="r" b="b"/>
              <a:pathLst>
                <a:path w="20954" h="27304">
                  <a:moveTo>
                    <a:pt x="20421" y="0"/>
                  </a:moveTo>
                  <a:lnTo>
                    <a:pt x="279" y="25806"/>
                  </a:lnTo>
                  <a:lnTo>
                    <a:pt x="0" y="26720"/>
                  </a:lnTo>
                  <a:lnTo>
                    <a:pt x="20523" y="419"/>
                  </a:lnTo>
                  <a:lnTo>
                    <a:pt x="20421" y="0"/>
                  </a:lnTo>
                  <a:close/>
                </a:path>
              </a:pathLst>
            </a:custGeom>
            <a:solidFill>
              <a:srgbClr val="FFF1B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1" name="object 1103">
              <a:extLst>
                <a:ext uri="{FF2B5EF4-FFF2-40B4-BE49-F238E27FC236}">
                  <a16:creationId xmlns:a16="http://schemas.microsoft.com/office/drawing/2014/main" id="{13DA46A6-C501-4B04-B876-E54E6F86608D}"/>
                </a:ext>
              </a:extLst>
            </p:cNvPr>
            <p:cNvSpPr/>
            <p:nvPr/>
          </p:nvSpPr>
          <p:spPr>
            <a:xfrm>
              <a:off x="8067297" y="6293496"/>
              <a:ext cx="5080" cy="1905"/>
            </a:xfrm>
            <a:custGeom>
              <a:avLst/>
              <a:gdLst/>
              <a:ahLst/>
              <a:cxnLst/>
              <a:rect l="l" t="t" r="r" b="b"/>
              <a:pathLst>
                <a:path w="5079" h="1904">
                  <a:moveTo>
                    <a:pt x="0" y="0"/>
                  </a:moveTo>
                  <a:lnTo>
                    <a:pt x="215" y="571"/>
                  </a:lnTo>
                  <a:lnTo>
                    <a:pt x="5003" y="1777"/>
                  </a:lnTo>
                  <a:lnTo>
                    <a:pt x="4699" y="116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D8C15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2" name="object 1104">
              <a:extLst>
                <a:ext uri="{FF2B5EF4-FFF2-40B4-BE49-F238E27FC236}">
                  <a16:creationId xmlns:a16="http://schemas.microsoft.com/office/drawing/2014/main" id="{82D15531-CC54-4141-9F13-55F7CE877D78}"/>
                </a:ext>
              </a:extLst>
            </p:cNvPr>
            <p:cNvSpPr/>
            <p:nvPr/>
          </p:nvSpPr>
          <p:spPr>
            <a:xfrm>
              <a:off x="8009725" y="6249000"/>
              <a:ext cx="88265" cy="118745"/>
            </a:xfrm>
            <a:custGeom>
              <a:avLst/>
              <a:gdLst/>
              <a:ahLst/>
              <a:cxnLst/>
              <a:rect l="l" t="t" r="r" b="b"/>
              <a:pathLst>
                <a:path w="88265" h="118745">
                  <a:moveTo>
                    <a:pt x="24676" y="81343"/>
                  </a:moveTo>
                  <a:lnTo>
                    <a:pt x="609" y="116560"/>
                  </a:lnTo>
                  <a:lnTo>
                    <a:pt x="0" y="118198"/>
                  </a:lnTo>
                  <a:lnTo>
                    <a:pt x="24549" y="82270"/>
                  </a:lnTo>
                  <a:lnTo>
                    <a:pt x="24676" y="81343"/>
                  </a:lnTo>
                  <a:close/>
                </a:path>
                <a:path w="88265" h="118745">
                  <a:moveTo>
                    <a:pt x="88087" y="0"/>
                  </a:moveTo>
                  <a:lnTo>
                    <a:pt x="86969" y="685"/>
                  </a:lnTo>
                  <a:lnTo>
                    <a:pt x="31127" y="53174"/>
                  </a:lnTo>
                  <a:lnTo>
                    <a:pt x="31127" y="53543"/>
                  </a:lnTo>
                  <a:lnTo>
                    <a:pt x="88087" y="0"/>
                  </a:lnTo>
                  <a:close/>
                </a:path>
              </a:pathLst>
            </a:custGeom>
            <a:solidFill>
              <a:srgbClr val="FFF1B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3" name="object 1105">
              <a:extLst>
                <a:ext uri="{FF2B5EF4-FFF2-40B4-BE49-F238E27FC236}">
                  <a16:creationId xmlns:a16="http://schemas.microsoft.com/office/drawing/2014/main" id="{817967F3-E110-482C-9A12-7539C1E29C62}"/>
                </a:ext>
              </a:extLst>
            </p:cNvPr>
            <p:cNvSpPr/>
            <p:nvPr/>
          </p:nvSpPr>
          <p:spPr>
            <a:xfrm>
              <a:off x="8059883" y="6352028"/>
              <a:ext cx="40005" cy="43815"/>
            </a:xfrm>
            <a:custGeom>
              <a:avLst/>
              <a:gdLst/>
              <a:ahLst/>
              <a:cxnLst/>
              <a:rect l="l" t="t" r="r" b="b"/>
              <a:pathLst>
                <a:path w="40004" h="43815">
                  <a:moveTo>
                    <a:pt x="39789" y="0"/>
                  </a:moveTo>
                  <a:lnTo>
                    <a:pt x="11295" y="32023"/>
                  </a:lnTo>
                  <a:lnTo>
                    <a:pt x="0" y="43687"/>
                  </a:lnTo>
                  <a:lnTo>
                    <a:pt x="13910" y="33118"/>
                  </a:lnTo>
                  <a:lnTo>
                    <a:pt x="25038" y="22453"/>
                  </a:lnTo>
                  <a:lnTo>
                    <a:pt x="33593" y="11483"/>
                  </a:lnTo>
                  <a:lnTo>
                    <a:pt x="39789" y="0"/>
                  </a:lnTo>
                  <a:close/>
                </a:path>
              </a:pathLst>
            </a:custGeom>
            <a:solidFill>
              <a:srgbClr val="EBC4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4" name="object 1106">
              <a:extLst>
                <a:ext uri="{FF2B5EF4-FFF2-40B4-BE49-F238E27FC236}">
                  <a16:creationId xmlns:a16="http://schemas.microsoft.com/office/drawing/2014/main" id="{F0235361-47B6-4B16-AA24-EE0C40DEEAEB}"/>
                </a:ext>
              </a:extLst>
            </p:cNvPr>
            <p:cNvSpPr/>
            <p:nvPr/>
          </p:nvSpPr>
          <p:spPr>
            <a:xfrm>
              <a:off x="8041488" y="6337989"/>
              <a:ext cx="62865" cy="69215"/>
            </a:xfrm>
            <a:custGeom>
              <a:avLst/>
              <a:gdLst/>
              <a:ahLst/>
              <a:cxnLst/>
              <a:rect l="l" t="t" r="r" b="b"/>
              <a:pathLst>
                <a:path w="62865" h="69215">
                  <a:moveTo>
                    <a:pt x="62649" y="0"/>
                  </a:moveTo>
                  <a:lnTo>
                    <a:pt x="53936" y="10668"/>
                  </a:lnTo>
                  <a:lnTo>
                    <a:pt x="49390" y="16002"/>
                  </a:lnTo>
                  <a:lnTo>
                    <a:pt x="43764" y="25107"/>
                  </a:lnTo>
                  <a:lnTo>
                    <a:pt x="36525" y="33997"/>
                  </a:lnTo>
                  <a:lnTo>
                    <a:pt x="27520" y="42799"/>
                  </a:lnTo>
                  <a:lnTo>
                    <a:pt x="16675" y="51663"/>
                  </a:lnTo>
                  <a:lnTo>
                    <a:pt x="6159" y="62255"/>
                  </a:lnTo>
                  <a:lnTo>
                    <a:pt x="889" y="67322"/>
                  </a:lnTo>
                  <a:lnTo>
                    <a:pt x="0" y="68173"/>
                  </a:lnTo>
                  <a:lnTo>
                    <a:pt x="304" y="68338"/>
                  </a:lnTo>
                  <a:lnTo>
                    <a:pt x="596" y="68516"/>
                  </a:lnTo>
                  <a:lnTo>
                    <a:pt x="889" y="68681"/>
                  </a:lnTo>
                  <a:lnTo>
                    <a:pt x="40932" y="33909"/>
                  </a:lnTo>
                  <a:lnTo>
                    <a:pt x="61595" y="4876"/>
                  </a:lnTo>
                  <a:lnTo>
                    <a:pt x="62649" y="0"/>
                  </a:lnTo>
                  <a:close/>
                </a:path>
              </a:pathLst>
            </a:custGeom>
            <a:solidFill>
              <a:srgbClr val="ECC63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5" name="object 1107">
              <a:extLst>
                <a:ext uri="{FF2B5EF4-FFF2-40B4-BE49-F238E27FC236}">
                  <a16:creationId xmlns:a16="http://schemas.microsoft.com/office/drawing/2014/main" id="{32FDF216-07DE-4F81-803B-54CE76F92A3B}"/>
                </a:ext>
              </a:extLst>
            </p:cNvPr>
            <p:cNvSpPr/>
            <p:nvPr/>
          </p:nvSpPr>
          <p:spPr>
            <a:xfrm>
              <a:off x="8036598" y="6327270"/>
              <a:ext cx="69215" cy="79375"/>
            </a:xfrm>
            <a:custGeom>
              <a:avLst/>
              <a:gdLst/>
              <a:ahLst/>
              <a:cxnLst/>
              <a:rect l="l" t="t" r="r" b="b"/>
              <a:pathLst>
                <a:path w="69215" h="79375">
                  <a:moveTo>
                    <a:pt x="21564" y="62382"/>
                  </a:moveTo>
                  <a:lnTo>
                    <a:pt x="16738" y="66027"/>
                  </a:lnTo>
                  <a:lnTo>
                    <a:pt x="11430" y="69723"/>
                  </a:lnTo>
                  <a:lnTo>
                    <a:pt x="5588" y="73494"/>
                  </a:lnTo>
                  <a:lnTo>
                    <a:pt x="4991" y="73152"/>
                  </a:lnTo>
                  <a:lnTo>
                    <a:pt x="3835" y="72351"/>
                  </a:lnTo>
                  <a:lnTo>
                    <a:pt x="0" y="76060"/>
                  </a:lnTo>
                  <a:lnTo>
                    <a:pt x="1587" y="77000"/>
                  </a:lnTo>
                  <a:lnTo>
                    <a:pt x="3213" y="77939"/>
                  </a:lnTo>
                  <a:lnTo>
                    <a:pt x="4889" y="78879"/>
                  </a:lnTo>
                  <a:lnTo>
                    <a:pt x="5740" y="78066"/>
                  </a:lnTo>
                  <a:lnTo>
                    <a:pt x="11036" y="72974"/>
                  </a:lnTo>
                  <a:lnTo>
                    <a:pt x="16306" y="67754"/>
                  </a:lnTo>
                  <a:lnTo>
                    <a:pt x="21564" y="62382"/>
                  </a:lnTo>
                  <a:close/>
                </a:path>
                <a:path w="69215" h="79375">
                  <a:moveTo>
                    <a:pt x="69189" y="0"/>
                  </a:moveTo>
                  <a:lnTo>
                    <a:pt x="63284" y="7416"/>
                  </a:lnTo>
                  <a:lnTo>
                    <a:pt x="60236" y="11125"/>
                  </a:lnTo>
                  <a:lnTo>
                    <a:pt x="58864" y="16535"/>
                  </a:lnTo>
                  <a:lnTo>
                    <a:pt x="56896" y="21704"/>
                  </a:lnTo>
                  <a:lnTo>
                    <a:pt x="54279" y="26720"/>
                  </a:lnTo>
                  <a:lnTo>
                    <a:pt x="58839" y="21399"/>
                  </a:lnTo>
                  <a:lnTo>
                    <a:pt x="63258" y="16065"/>
                  </a:lnTo>
                  <a:lnTo>
                    <a:pt x="67551" y="10718"/>
                  </a:lnTo>
                  <a:lnTo>
                    <a:pt x="68300" y="7251"/>
                  </a:lnTo>
                  <a:lnTo>
                    <a:pt x="68834" y="3683"/>
                  </a:lnTo>
                  <a:lnTo>
                    <a:pt x="69189" y="0"/>
                  </a:lnTo>
                  <a:close/>
                </a:path>
              </a:pathLst>
            </a:custGeom>
            <a:solidFill>
              <a:srgbClr val="ECC7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6" name="object 1108">
              <a:extLst>
                <a:ext uri="{FF2B5EF4-FFF2-40B4-BE49-F238E27FC236}">
                  <a16:creationId xmlns:a16="http://schemas.microsoft.com/office/drawing/2014/main" id="{B1D5A7CE-0F97-405C-998D-332E9195B832}"/>
                </a:ext>
              </a:extLst>
            </p:cNvPr>
            <p:cNvSpPr/>
            <p:nvPr/>
          </p:nvSpPr>
          <p:spPr>
            <a:xfrm>
              <a:off x="8031784" y="6317910"/>
              <a:ext cx="74930" cy="85725"/>
            </a:xfrm>
            <a:custGeom>
              <a:avLst/>
              <a:gdLst/>
              <a:ahLst/>
              <a:cxnLst/>
              <a:rect l="l" t="t" r="r" b="b"/>
              <a:pathLst>
                <a:path w="74929" h="85725">
                  <a:moveTo>
                    <a:pt x="8636" y="81711"/>
                  </a:moveTo>
                  <a:lnTo>
                    <a:pt x="5562" y="79616"/>
                  </a:lnTo>
                  <a:lnTo>
                    <a:pt x="4076" y="78574"/>
                  </a:lnTo>
                  <a:lnTo>
                    <a:pt x="2717" y="79908"/>
                  </a:lnTo>
                  <a:lnTo>
                    <a:pt x="0" y="82524"/>
                  </a:lnTo>
                  <a:lnTo>
                    <a:pt x="1562" y="83489"/>
                  </a:lnTo>
                  <a:lnTo>
                    <a:pt x="4813" y="85407"/>
                  </a:lnTo>
                  <a:lnTo>
                    <a:pt x="7366" y="82956"/>
                  </a:lnTo>
                  <a:lnTo>
                    <a:pt x="8636" y="81711"/>
                  </a:lnTo>
                  <a:close/>
                </a:path>
                <a:path w="74929" h="85725">
                  <a:moveTo>
                    <a:pt x="74485" y="0"/>
                  </a:moveTo>
                  <a:lnTo>
                    <a:pt x="69570" y="6286"/>
                  </a:lnTo>
                  <a:lnTo>
                    <a:pt x="67043" y="9423"/>
                  </a:lnTo>
                  <a:lnTo>
                    <a:pt x="66624" y="13233"/>
                  </a:lnTo>
                  <a:lnTo>
                    <a:pt x="65963" y="16903"/>
                  </a:lnTo>
                  <a:lnTo>
                    <a:pt x="65049" y="20472"/>
                  </a:lnTo>
                  <a:lnTo>
                    <a:pt x="71081" y="13055"/>
                  </a:lnTo>
                  <a:lnTo>
                    <a:pt x="73990" y="9347"/>
                  </a:lnTo>
                  <a:lnTo>
                    <a:pt x="74282" y="6324"/>
                  </a:lnTo>
                  <a:lnTo>
                    <a:pt x="74447" y="3213"/>
                  </a:lnTo>
                  <a:lnTo>
                    <a:pt x="74485" y="0"/>
                  </a:lnTo>
                  <a:close/>
                </a:path>
              </a:pathLst>
            </a:custGeom>
            <a:solidFill>
              <a:srgbClr val="EDC83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7" name="object 1109">
              <a:extLst>
                <a:ext uri="{FF2B5EF4-FFF2-40B4-BE49-F238E27FC236}">
                  <a16:creationId xmlns:a16="http://schemas.microsoft.com/office/drawing/2014/main" id="{82A25472-19FC-453C-98DB-57E94D4E48F1}"/>
                </a:ext>
              </a:extLst>
            </p:cNvPr>
            <p:cNvSpPr/>
            <p:nvPr/>
          </p:nvSpPr>
          <p:spPr>
            <a:xfrm>
              <a:off x="8027060" y="6309185"/>
              <a:ext cx="79375" cy="91440"/>
            </a:xfrm>
            <a:custGeom>
              <a:avLst/>
              <a:gdLst/>
              <a:ahLst/>
              <a:cxnLst/>
              <a:rect l="l" t="t" r="r" b="b"/>
              <a:pathLst>
                <a:path w="79375" h="91440">
                  <a:moveTo>
                    <a:pt x="8801" y="87299"/>
                  </a:moveTo>
                  <a:lnTo>
                    <a:pt x="7264" y="86233"/>
                  </a:lnTo>
                  <a:lnTo>
                    <a:pt x="4305" y="84112"/>
                  </a:lnTo>
                  <a:lnTo>
                    <a:pt x="2870" y="85521"/>
                  </a:lnTo>
                  <a:lnTo>
                    <a:pt x="0" y="88290"/>
                  </a:lnTo>
                  <a:lnTo>
                    <a:pt x="3111" y="90258"/>
                  </a:lnTo>
                  <a:lnTo>
                    <a:pt x="4737" y="91249"/>
                  </a:lnTo>
                  <a:lnTo>
                    <a:pt x="7454" y="88633"/>
                  </a:lnTo>
                  <a:lnTo>
                    <a:pt x="8801" y="87299"/>
                  </a:lnTo>
                  <a:close/>
                </a:path>
                <a:path w="79375" h="91440">
                  <a:moveTo>
                    <a:pt x="79222" y="0"/>
                  </a:moveTo>
                  <a:lnTo>
                    <a:pt x="74701" y="5842"/>
                  </a:lnTo>
                  <a:lnTo>
                    <a:pt x="72377" y="8763"/>
                  </a:lnTo>
                  <a:lnTo>
                    <a:pt x="72313" y="11988"/>
                  </a:lnTo>
                  <a:lnTo>
                    <a:pt x="72123" y="15113"/>
                  </a:lnTo>
                  <a:lnTo>
                    <a:pt x="71780" y="18148"/>
                  </a:lnTo>
                  <a:lnTo>
                    <a:pt x="74307" y="15011"/>
                  </a:lnTo>
                  <a:lnTo>
                    <a:pt x="79222" y="8724"/>
                  </a:lnTo>
                  <a:lnTo>
                    <a:pt x="79222" y="0"/>
                  </a:lnTo>
                  <a:close/>
                </a:path>
              </a:pathLst>
            </a:custGeom>
            <a:solidFill>
              <a:srgbClr val="EDC8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8" name="object 1110">
              <a:extLst>
                <a:ext uri="{FF2B5EF4-FFF2-40B4-BE49-F238E27FC236}">
                  <a16:creationId xmlns:a16="http://schemas.microsoft.com/office/drawing/2014/main" id="{B86CF90B-0622-4B62-9DD3-0E7320D128FC}"/>
                </a:ext>
              </a:extLst>
            </p:cNvPr>
            <p:cNvSpPr/>
            <p:nvPr/>
          </p:nvSpPr>
          <p:spPr>
            <a:xfrm>
              <a:off x="8022450" y="6300473"/>
              <a:ext cx="84455" cy="97155"/>
            </a:xfrm>
            <a:custGeom>
              <a:avLst/>
              <a:gdLst/>
              <a:ahLst/>
              <a:cxnLst/>
              <a:rect l="l" t="t" r="r" b="b"/>
              <a:pathLst>
                <a:path w="84454" h="97154">
                  <a:moveTo>
                    <a:pt x="8915" y="92824"/>
                  </a:moveTo>
                  <a:lnTo>
                    <a:pt x="7404" y="91732"/>
                  </a:lnTo>
                  <a:lnTo>
                    <a:pt x="4495" y="89573"/>
                  </a:lnTo>
                  <a:lnTo>
                    <a:pt x="1498" y="92519"/>
                  </a:lnTo>
                  <a:lnTo>
                    <a:pt x="0" y="93967"/>
                  </a:lnTo>
                  <a:lnTo>
                    <a:pt x="1498" y="94983"/>
                  </a:lnTo>
                  <a:lnTo>
                    <a:pt x="4622" y="97002"/>
                  </a:lnTo>
                  <a:lnTo>
                    <a:pt x="7480" y="94234"/>
                  </a:lnTo>
                  <a:lnTo>
                    <a:pt x="8915" y="92824"/>
                  </a:lnTo>
                  <a:close/>
                </a:path>
                <a:path w="84454" h="97154">
                  <a:moveTo>
                    <a:pt x="83832" y="0"/>
                  </a:moveTo>
                  <a:lnTo>
                    <a:pt x="79324" y="5880"/>
                  </a:lnTo>
                  <a:lnTo>
                    <a:pt x="77012" y="8826"/>
                  </a:lnTo>
                  <a:lnTo>
                    <a:pt x="77012" y="15976"/>
                  </a:lnTo>
                  <a:lnTo>
                    <a:pt x="76987" y="17487"/>
                  </a:lnTo>
                  <a:lnTo>
                    <a:pt x="81597" y="11633"/>
                  </a:lnTo>
                  <a:lnTo>
                    <a:pt x="83832" y="8712"/>
                  </a:lnTo>
                  <a:lnTo>
                    <a:pt x="83832" y="0"/>
                  </a:lnTo>
                  <a:close/>
                </a:path>
              </a:pathLst>
            </a:custGeom>
            <a:solidFill>
              <a:srgbClr val="EECA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19" name="object 1111">
              <a:extLst>
                <a:ext uri="{FF2B5EF4-FFF2-40B4-BE49-F238E27FC236}">
                  <a16:creationId xmlns:a16="http://schemas.microsoft.com/office/drawing/2014/main" id="{012FC1A8-694D-4720-9E3E-F681B14A982A}"/>
                </a:ext>
              </a:extLst>
            </p:cNvPr>
            <p:cNvSpPr/>
            <p:nvPr/>
          </p:nvSpPr>
          <p:spPr>
            <a:xfrm>
              <a:off x="8017929" y="6291761"/>
              <a:ext cx="88900" cy="102870"/>
            </a:xfrm>
            <a:custGeom>
              <a:avLst/>
              <a:gdLst/>
              <a:ahLst/>
              <a:cxnLst/>
              <a:rect l="l" t="t" r="r" b="b"/>
              <a:pathLst>
                <a:path w="88900" h="102870">
                  <a:moveTo>
                    <a:pt x="9017" y="98285"/>
                  </a:moveTo>
                  <a:lnTo>
                    <a:pt x="7518" y="97167"/>
                  </a:lnTo>
                  <a:lnTo>
                    <a:pt x="6070" y="96062"/>
                  </a:lnTo>
                  <a:lnTo>
                    <a:pt x="4673" y="94957"/>
                  </a:lnTo>
                  <a:lnTo>
                    <a:pt x="0" y="99542"/>
                  </a:lnTo>
                  <a:lnTo>
                    <a:pt x="1460" y="100596"/>
                  </a:lnTo>
                  <a:lnTo>
                    <a:pt x="2959" y="101638"/>
                  </a:lnTo>
                  <a:lnTo>
                    <a:pt x="4521" y="102692"/>
                  </a:lnTo>
                  <a:lnTo>
                    <a:pt x="7518" y="99771"/>
                  </a:lnTo>
                  <a:lnTo>
                    <a:pt x="9017" y="98285"/>
                  </a:lnTo>
                  <a:close/>
                </a:path>
                <a:path w="88900" h="102870">
                  <a:moveTo>
                    <a:pt x="88353" y="0"/>
                  </a:moveTo>
                  <a:lnTo>
                    <a:pt x="83845" y="5930"/>
                  </a:lnTo>
                  <a:lnTo>
                    <a:pt x="81534" y="8890"/>
                  </a:lnTo>
                  <a:lnTo>
                    <a:pt x="81534" y="17538"/>
                  </a:lnTo>
                  <a:lnTo>
                    <a:pt x="86118" y="11645"/>
                  </a:lnTo>
                  <a:lnTo>
                    <a:pt x="88353" y="8712"/>
                  </a:lnTo>
                  <a:lnTo>
                    <a:pt x="88353" y="0"/>
                  </a:lnTo>
                  <a:close/>
                </a:path>
              </a:pathLst>
            </a:custGeom>
            <a:solidFill>
              <a:srgbClr val="EFCC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0" name="object 1112">
              <a:extLst>
                <a:ext uri="{FF2B5EF4-FFF2-40B4-BE49-F238E27FC236}">
                  <a16:creationId xmlns:a16="http://schemas.microsoft.com/office/drawing/2014/main" id="{4BCC98B2-684F-406E-B18D-6403FBB3394A}"/>
                </a:ext>
              </a:extLst>
            </p:cNvPr>
            <p:cNvSpPr/>
            <p:nvPr/>
          </p:nvSpPr>
          <p:spPr>
            <a:xfrm>
              <a:off x="8013522" y="6283112"/>
              <a:ext cx="93345" cy="108585"/>
            </a:xfrm>
            <a:custGeom>
              <a:avLst/>
              <a:gdLst/>
              <a:ahLst/>
              <a:cxnLst/>
              <a:rect l="l" t="t" r="r" b="b"/>
              <a:pathLst>
                <a:path w="93345" h="108584">
                  <a:moveTo>
                    <a:pt x="9067" y="103606"/>
                  </a:moveTo>
                  <a:lnTo>
                    <a:pt x="6197" y="101320"/>
                  </a:lnTo>
                  <a:lnTo>
                    <a:pt x="4838" y="100177"/>
                  </a:lnTo>
                  <a:lnTo>
                    <a:pt x="1612" y="103378"/>
                  </a:lnTo>
                  <a:lnTo>
                    <a:pt x="0" y="104952"/>
                  </a:lnTo>
                  <a:lnTo>
                    <a:pt x="1422" y="106032"/>
                  </a:lnTo>
                  <a:lnTo>
                    <a:pt x="2882" y="107111"/>
                  </a:lnTo>
                  <a:lnTo>
                    <a:pt x="4394" y="108191"/>
                  </a:lnTo>
                  <a:lnTo>
                    <a:pt x="5956" y="106680"/>
                  </a:lnTo>
                  <a:lnTo>
                    <a:pt x="9067" y="103606"/>
                  </a:lnTo>
                  <a:close/>
                </a:path>
                <a:path w="93345" h="108584">
                  <a:moveTo>
                    <a:pt x="92760" y="0"/>
                  </a:moveTo>
                  <a:lnTo>
                    <a:pt x="88252" y="5930"/>
                  </a:lnTo>
                  <a:lnTo>
                    <a:pt x="85940" y="8915"/>
                  </a:lnTo>
                  <a:lnTo>
                    <a:pt x="85940" y="17538"/>
                  </a:lnTo>
                  <a:lnTo>
                    <a:pt x="88252" y="14579"/>
                  </a:lnTo>
                  <a:lnTo>
                    <a:pt x="92760" y="8648"/>
                  </a:lnTo>
                  <a:lnTo>
                    <a:pt x="92760" y="0"/>
                  </a:lnTo>
                  <a:close/>
                </a:path>
              </a:pathLst>
            </a:custGeom>
            <a:solidFill>
              <a:srgbClr val="EFCB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1" name="object 1113">
              <a:extLst>
                <a:ext uri="{FF2B5EF4-FFF2-40B4-BE49-F238E27FC236}">
                  <a16:creationId xmlns:a16="http://schemas.microsoft.com/office/drawing/2014/main" id="{04E382D6-BE05-4FF6-99C9-D2C3E7F827EF}"/>
                </a:ext>
              </a:extLst>
            </p:cNvPr>
            <p:cNvSpPr/>
            <p:nvPr/>
          </p:nvSpPr>
          <p:spPr>
            <a:xfrm>
              <a:off x="8009280" y="6274502"/>
              <a:ext cx="97155" cy="113664"/>
            </a:xfrm>
            <a:custGeom>
              <a:avLst/>
              <a:gdLst/>
              <a:ahLst/>
              <a:cxnLst/>
              <a:rect l="l" t="t" r="r" b="b"/>
              <a:pathLst>
                <a:path w="97154" h="113665">
                  <a:moveTo>
                    <a:pt x="9080" y="108788"/>
                  </a:moveTo>
                  <a:lnTo>
                    <a:pt x="7658" y="107607"/>
                  </a:lnTo>
                  <a:lnTo>
                    <a:pt x="6286" y="106438"/>
                  </a:lnTo>
                  <a:lnTo>
                    <a:pt x="4965" y="105257"/>
                  </a:lnTo>
                  <a:lnTo>
                    <a:pt x="3314" y="106921"/>
                  </a:lnTo>
                  <a:lnTo>
                    <a:pt x="0" y="110197"/>
                  </a:lnTo>
                  <a:lnTo>
                    <a:pt x="2781" y="112445"/>
                  </a:lnTo>
                  <a:lnTo>
                    <a:pt x="4241" y="113563"/>
                  </a:lnTo>
                  <a:lnTo>
                    <a:pt x="7467" y="110401"/>
                  </a:lnTo>
                  <a:lnTo>
                    <a:pt x="9080" y="108788"/>
                  </a:lnTo>
                  <a:close/>
                </a:path>
                <a:path w="97154" h="113665">
                  <a:moveTo>
                    <a:pt x="97002" y="0"/>
                  </a:moveTo>
                  <a:lnTo>
                    <a:pt x="92494" y="5956"/>
                  </a:lnTo>
                  <a:lnTo>
                    <a:pt x="90182" y="8940"/>
                  </a:lnTo>
                  <a:lnTo>
                    <a:pt x="90182" y="17526"/>
                  </a:lnTo>
                  <a:lnTo>
                    <a:pt x="94767" y="11569"/>
                  </a:lnTo>
                  <a:lnTo>
                    <a:pt x="97002" y="8610"/>
                  </a:lnTo>
                  <a:lnTo>
                    <a:pt x="97002" y="0"/>
                  </a:lnTo>
                  <a:close/>
                </a:path>
              </a:pathLst>
            </a:custGeom>
            <a:solidFill>
              <a:srgbClr val="F0CD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2" name="object 1114">
              <a:extLst>
                <a:ext uri="{FF2B5EF4-FFF2-40B4-BE49-F238E27FC236}">
                  <a16:creationId xmlns:a16="http://schemas.microsoft.com/office/drawing/2014/main" id="{285F3FF6-7FF3-428A-B132-7A1450DF97E8}"/>
                </a:ext>
              </a:extLst>
            </p:cNvPr>
            <p:cNvSpPr/>
            <p:nvPr/>
          </p:nvSpPr>
          <p:spPr>
            <a:xfrm>
              <a:off x="8005191" y="6265967"/>
              <a:ext cx="101600" cy="118745"/>
            </a:xfrm>
            <a:custGeom>
              <a:avLst/>
              <a:gdLst/>
              <a:ahLst/>
              <a:cxnLst/>
              <a:rect l="l" t="t" r="r" b="b"/>
              <a:pathLst>
                <a:path w="101600" h="118745">
                  <a:moveTo>
                    <a:pt x="9055" y="113779"/>
                  </a:moveTo>
                  <a:lnTo>
                    <a:pt x="7670" y="112560"/>
                  </a:lnTo>
                  <a:lnTo>
                    <a:pt x="6350" y="111340"/>
                  </a:lnTo>
                  <a:lnTo>
                    <a:pt x="5080" y="110121"/>
                  </a:lnTo>
                  <a:lnTo>
                    <a:pt x="0" y="115201"/>
                  </a:lnTo>
                  <a:lnTo>
                    <a:pt x="2679" y="117551"/>
                  </a:lnTo>
                  <a:lnTo>
                    <a:pt x="4089" y="118719"/>
                  </a:lnTo>
                  <a:lnTo>
                    <a:pt x="7404" y="115443"/>
                  </a:lnTo>
                  <a:lnTo>
                    <a:pt x="9055" y="113779"/>
                  </a:lnTo>
                  <a:close/>
                </a:path>
                <a:path w="101600" h="118745">
                  <a:moveTo>
                    <a:pt x="101092" y="0"/>
                  </a:moveTo>
                  <a:lnTo>
                    <a:pt x="96583" y="5956"/>
                  </a:lnTo>
                  <a:lnTo>
                    <a:pt x="94272" y="8940"/>
                  </a:lnTo>
                  <a:lnTo>
                    <a:pt x="94272" y="17475"/>
                  </a:lnTo>
                  <a:lnTo>
                    <a:pt x="98856" y="11506"/>
                  </a:lnTo>
                  <a:lnTo>
                    <a:pt x="101092" y="8534"/>
                  </a:lnTo>
                  <a:lnTo>
                    <a:pt x="101092" y="0"/>
                  </a:lnTo>
                  <a:close/>
                </a:path>
              </a:pathLst>
            </a:custGeom>
            <a:solidFill>
              <a:srgbClr val="F2CD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3" name="object 1115">
              <a:extLst>
                <a:ext uri="{FF2B5EF4-FFF2-40B4-BE49-F238E27FC236}">
                  <a16:creationId xmlns:a16="http://schemas.microsoft.com/office/drawing/2014/main" id="{1930B176-9BE2-42B9-94AA-74CB3C11A2EA}"/>
                </a:ext>
              </a:extLst>
            </p:cNvPr>
            <p:cNvSpPr/>
            <p:nvPr/>
          </p:nvSpPr>
          <p:spPr>
            <a:xfrm>
              <a:off x="8001292" y="6257496"/>
              <a:ext cx="105410" cy="123825"/>
            </a:xfrm>
            <a:custGeom>
              <a:avLst/>
              <a:gdLst/>
              <a:ahLst/>
              <a:cxnLst/>
              <a:rect l="l" t="t" r="r" b="b"/>
              <a:pathLst>
                <a:path w="105409" h="123825">
                  <a:moveTo>
                    <a:pt x="8978" y="118592"/>
                  </a:moveTo>
                  <a:lnTo>
                    <a:pt x="7645" y="117309"/>
                  </a:lnTo>
                  <a:lnTo>
                    <a:pt x="6388" y="116039"/>
                  </a:lnTo>
                  <a:lnTo>
                    <a:pt x="5168" y="114757"/>
                  </a:lnTo>
                  <a:lnTo>
                    <a:pt x="0" y="119976"/>
                  </a:lnTo>
                  <a:lnTo>
                    <a:pt x="1244" y="121208"/>
                  </a:lnTo>
                  <a:lnTo>
                    <a:pt x="2552" y="122440"/>
                  </a:lnTo>
                  <a:lnTo>
                    <a:pt x="3898" y="123672"/>
                  </a:lnTo>
                  <a:lnTo>
                    <a:pt x="7277" y="120307"/>
                  </a:lnTo>
                  <a:lnTo>
                    <a:pt x="8978" y="118592"/>
                  </a:lnTo>
                  <a:close/>
                </a:path>
                <a:path w="105409" h="123825">
                  <a:moveTo>
                    <a:pt x="50546" y="68389"/>
                  </a:moveTo>
                  <a:lnTo>
                    <a:pt x="48856" y="68148"/>
                  </a:lnTo>
                  <a:lnTo>
                    <a:pt x="39585" y="78435"/>
                  </a:lnTo>
                  <a:lnTo>
                    <a:pt x="35737" y="82638"/>
                  </a:lnTo>
                  <a:lnTo>
                    <a:pt x="31889" y="86779"/>
                  </a:lnTo>
                  <a:lnTo>
                    <a:pt x="50546" y="68389"/>
                  </a:lnTo>
                  <a:close/>
                </a:path>
                <a:path w="105409" h="123825">
                  <a:moveTo>
                    <a:pt x="104990" y="0"/>
                  </a:moveTo>
                  <a:lnTo>
                    <a:pt x="100482" y="5956"/>
                  </a:lnTo>
                  <a:lnTo>
                    <a:pt x="98171" y="8953"/>
                  </a:lnTo>
                  <a:lnTo>
                    <a:pt x="98171" y="17411"/>
                  </a:lnTo>
                  <a:lnTo>
                    <a:pt x="102755" y="11442"/>
                  </a:lnTo>
                  <a:lnTo>
                    <a:pt x="104990" y="8470"/>
                  </a:lnTo>
                  <a:lnTo>
                    <a:pt x="104990" y="0"/>
                  </a:lnTo>
                  <a:close/>
                </a:path>
              </a:pathLst>
            </a:custGeom>
            <a:solidFill>
              <a:srgbClr val="F2CF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4" name="object 1116">
              <a:extLst>
                <a:ext uri="{FF2B5EF4-FFF2-40B4-BE49-F238E27FC236}">
                  <a16:creationId xmlns:a16="http://schemas.microsoft.com/office/drawing/2014/main" id="{475C8BE1-91DB-4380-A316-C7B8CE8B6D65}"/>
                </a:ext>
              </a:extLst>
            </p:cNvPr>
            <p:cNvSpPr/>
            <p:nvPr/>
          </p:nvSpPr>
          <p:spPr>
            <a:xfrm>
              <a:off x="7997609" y="6249127"/>
              <a:ext cx="109220" cy="128905"/>
            </a:xfrm>
            <a:custGeom>
              <a:avLst/>
              <a:gdLst/>
              <a:ahLst/>
              <a:cxnLst/>
              <a:rect l="l" t="t" r="r" b="b"/>
              <a:pathLst>
                <a:path w="109220" h="128904">
                  <a:moveTo>
                    <a:pt x="8864" y="123126"/>
                  </a:moveTo>
                  <a:lnTo>
                    <a:pt x="7594" y="121793"/>
                  </a:lnTo>
                  <a:lnTo>
                    <a:pt x="6388" y="120446"/>
                  </a:lnTo>
                  <a:lnTo>
                    <a:pt x="5245" y="119100"/>
                  </a:lnTo>
                  <a:lnTo>
                    <a:pt x="0" y="124434"/>
                  </a:lnTo>
                  <a:lnTo>
                    <a:pt x="1168" y="125742"/>
                  </a:lnTo>
                  <a:lnTo>
                    <a:pt x="2400" y="127050"/>
                  </a:lnTo>
                  <a:lnTo>
                    <a:pt x="3695" y="128333"/>
                  </a:lnTo>
                  <a:lnTo>
                    <a:pt x="8864" y="123126"/>
                  </a:lnTo>
                  <a:close/>
                </a:path>
                <a:path w="109220" h="128904">
                  <a:moveTo>
                    <a:pt x="52539" y="76517"/>
                  </a:moveTo>
                  <a:lnTo>
                    <a:pt x="46012" y="75577"/>
                  </a:lnTo>
                  <a:lnTo>
                    <a:pt x="32842" y="90055"/>
                  </a:lnTo>
                  <a:lnTo>
                    <a:pt x="27609" y="95656"/>
                  </a:lnTo>
                  <a:lnTo>
                    <a:pt x="12255" y="118135"/>
                  </a:lnTo>
                  <a:lnTo>
                    <a:pt x="35572" y="95148"/>
                  </a:lnTo>
                  <a:lnTo>
                    <a:pt x="52539" y="76517"/>
                  </a:lnTo>
                  <a:close/>
                </a:path>
                <a:path w="109220" h="128904">
                  <a:moveTo>
                    <a:pt x="74625" y="46177"/>
                  </a:moveTo>
                  <a:lnTo>
                    <a:pt x="72186" y="45567"/>
                  </a:lnTo>
                  <a:lnTo>
                    <a:pt x="66319" y="52463"/>
                  </a:lnTo>
                  <a:lnTo>
                    <a:pt x="60350" y="59385"/>
                  </a:lnTo>
                  <a:lnTo>
                    <a:pt x="54267" y="66306"/>
                  </a:lnTo>
                  <a:lnTo>
                    <a:pt x="48094" y="73253"/>
                  </a:lnTo>
                  <a:lnTo>
                    <a:pt x="74625" y="46177"/>
                  </a:lnTo>
                  <a:close/>
                </a:path>
                <a:path w="109220" h="128904">
                  <a:moveTo>
                    <a:pt x="108673" y="0"/>
                  </a:moveTo>
                  <a:lnTo>
                    <a:pt x="102590" y="7962"/>
                  </a:lnTo>
                  <a:lnTo>
                    <a:pt x="96354" y="15963"/>
                  </a:lnTo>
                  <a:lnTo>
                    <a:pt x="89941" y="24015"/>
                  </a:lnTo>
                  <a:lnTo>
                    <a:pt x="83375" y="32118"/>
                  </a:lnTo>
                  <a:lnTo>
                    <a:pt x="101053" y="15328"/>
                  </a:lnTo>
                  <a:lnTo>
                    <a:pt x="101854" y="14782"/>
                  </a:lnTo>
                  <a:lnTo>
                    <a:pt x="101854" y="17310"/>
                  </a:lnTo>
                  <a:lnTo>
                    <a:pt x="108673" y="8369"/>
                  </a:lnTo>
                  <a:lnTo>
                    <a:pt x="108673" y="0"/>
                  </a:lnTo>
                  <a:close/>
                </a:path>
              </a:pathLst>
            </a:custGeom>
            <a:solidFill>
              <a:srgbClr val="F2D0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5" name="object 1117">
              <a:extLst>
                <a:ext uri="{FF2B5EF4-FFF2-40B4-BE49-F238E27FC236}">
                  <a16:creationId xmlns:a16="http://schemas.microsoft.com/office/drawing/2014/main" id="{424D927D-3A51-47F1-86CF-11D1A1D48B2B}"/>
                </a:ext>
              </a:extLst>
            </p:cNvPr>
            <p:cNvSpPr/>
            <p:nvPr/>
          </p:nvSpPr>
          <p:spPr>
            <a:xfrm>
              <a:off x="7994142" y="6243006"/>
              <a:ext cx="112395" cy="130810"/>
            </a:xfrm>
            <a:custGeom>
              <a:avLst/>
              <a:gdLst/>
              <a:ahLst/>
              <a:cxnLst/>
              <a:rect l="l" t="t" r="r" b="b"/>
              <a:pathLst>
                <a:path w="112395" h="130809">
                  <a:moveTo>
                    <a:pt x="8712" y="125222"/>
                  </a:moveTo>
                  <a:lnTo>
                    <a:pt x="7518" y="123825"/>
                  </a:lnTo>
                  <a:lnTo>
                    <a:pt x="6388" y="122402"/>
                  </a:lnTo>
                  <a:lnTo>
                    <a:pt x="5321" y="120980"/>
                  </a:lnTo>
                  <a:lnTo>
                    <a:pt x="0" y="126441"/>
                  </a:lnTo>
                  <a:lnTo>
                    <a:pt x="1092" y="127838"/>
                  </a:lnTo>
                  <a:lnTo>
                    <a:pt x="2247" y="129209"/>
                  </a:lnTo>
                  <a:lnTo>
                    <a:pt x="3467" y="130568"/>
                  </a:lnTo>
                  <a:lnTo>
                    <a:pt x="6959" y="127025"/>
                  </a:lnTo>
                  <a:lnTo>
                    <a:pt x="8712" y="125222"/>
                  </a:lnTo>
                  <a:close/>
                </a:path>
                <a:path w="112395" h="130809">
                  <a:moveTo>
                    <a:pt x="112141" y="0"/>
                  </a:moveTo>
                  <a:lnTo>
                    <a:pt x="110502" y="0"/>
                  </a:lnTo>
                  <a:lnTo>
                    <a:pt x="95034" y="19761"/>
                  </a:lnTo>
                  <a:lnTo>
                    <a:pt x="78587" y="39839"/>
                  </a:lnTo>
                  <a:lnTo>
                    <a:pt x="61239" y="60147"/>
                  </a:lnTo>
                  <a:lnTo>
                    <a:pt x="36360" y="87972"/>
                  </a:lnTo>
                  <a:lnTo>
                    <a:pt x="40309" y="88277"/>
                  </a:lnTo>
                  <a:lnTo>
                    <a:pt x="31076" y="101777"/>
                  </a:lnTo>
                  <a:lnTo>
                    <a:pt x="49479" y="81699"/>
                  </a:lnTo>
                  <a:lnTo>
                    <a:pt x="49301" y="81673"/>
                  </a:lnTo>
                  <a:lnTo>
                    <a:pt x="51562" y="79362"/>
                  </a:lnTo>
                  <a:lnTo>
                    <a:pt x="69786" y="58585"/>
                  </a:lnTo>
                  <a:lnTo>
                    <a:pt x="75653" y="51676"/>
                  </a:lnTo>
                  <a:lnTo>
                    <a:pt x="73304" y="51092"/>
                  </a:lnTo>
                  <a:lnTo>
                    <a:pt x="86842" y="38239"/>
                  </a:lnTo>
                  <a:lnTo>
                    <a:pt x="106070" y="14084"/>
                  </a:lnTo>
                  <a:lnTo>
                    <a:pt x="112141" y="6121"/>
                  </a:lnTo>
                  <a:lnTo>
                    <a:pt x="112141" y="0"/>
                  </a:lnTo>
                  <a:close/>
                </a:path>
              </a:pathLst>
            </a:custGeom>
            <a:solidFill>
              <a:srgbClr val="F3D0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6" name="object 1118">
              <a:extLst>
                <a:ext uri="{FF2B5EF4-FFF2-40B4-BE49-F238E27FC236}">
                  <a16:creationId xmlns:a16="http://schemas.microsoft.com/office/drawing/2014/main" id="{E514CC3D-8445-425A-AD73-BFB2AEAF2454}"/>
                </a:ext>
              </a:extLst>
            </p:cNvPr>
            <p:cNvSpPr/>
            <p:nvPr/>
          </p:nvSpPr>
          <p:spPr>
            <a:xfrm>
              <a:off x="7990916" y="6243018"/>
              <a:ext cx="114300" cy="127000"/>
            </a:xfrm>
            <a:custGeom>
              <a:avLst/>
              <a:gdLst/>
              <a:ahLst/>
              <a:cxnLst/>
              <a:rect l="l" t="t" r="r" b="b"/>
              <a:pathLst>
                <a:path w="114300" h="127000">
                  <a:moveTo>
                    <a:pt x="8547" y="120967"/>
                  </a:moveTo>
                  <a:lnTo>
                    <a:pt x="7429" y="119468"/>
                  </a:lnTo>
                  <a:lnTo>
                    <a:pt x="6375" y="117957"/>
                  </a:lnTo>
                  <a:lnTo>
                    <a:pt x="5410" y="116433"/>
                  </a:lnTo>
                  <a:lnTo>
                    <a:pt x="1803" y="120192"/>
                  </a:lnTo>
                  <a:lnTo>
                    <a:pt x="0" y="122034"/>
                  </a:lnTo>
                  <a:lnTo>
                    <a:pt x="1003" y="123520"/>
                  </a:lnTo>
                  <a:lnTo>
                    <a:pt x="2082" y="124993"/>
                  </a:lnTo>
                  <a:lnTo>
                    <a:pt x="3213" y="126428"/>
                  </a:lnTo>
                  <a:lnTo>
                    <a:pt x="8547" y="120967"/>
                  </a:lnTo>
                  <a:close/>
                </a:path>
                <a:path w="114300" h="127000">
                  <a:moveTo>
                    <a:pt x="113741" y="0"/>
                  </a:moveTo>
                  <a:lnTo>
                    <a:pt x="107403" y="0"/>
                  </a:lnTo>
                  <a:lnTo>
                    <a:pt x="102781" y="5854"/>
                  </a:lnTo>
                  <a:lnTo>
                    <a:pt x="107188" y="5854"/>
                  </a:lnTo>
                  <a:lnTo>
                    <a:pt x="88722" y="23215"/>
                  </a:lnTo>
                  <a:lnTo>
                    <a:pt x="72529" y="42481"/>
                  </a:lnTo>
                  <a:lnTo>
                    <a:pt x="55575" y="61988"/>
                  </a:lnTo>
                  <a:lnTo>
                    <a:pt x="35737" y="87668"/>
                  </a:lnTo>
                  <a:lnTo>
                    <a:pt x="64477" y="60134"/>
                  </a:lnTo>
                  <a:lnTo>
                    <a:pt x="98272" y="19761"/>
                  </a:lnTo>
                  <a:lnTo>
                    <a:pt x="113741" y="0"/>
                  </a:lnTo>
                  <a:close/>
                </a:path>
              </a:pathLst>
            </a:custGeom>
            <a:solidFill>
              <a:srgbClr val="F4D24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7" name="object 1119">
              <a:extLst>
                <a:ext uri="{FF2B5EF4-FFF2-40B4-BE49-F238E27FC236}">
                  <a16:creationId xmlns:a16="http://schemas.microsoft.com/office/drawing/2014/main" id="{2B267A49-1D7C-40DD-BA25-9BB0F5081224}"/>
                </a:ext>
              </a:extLst>
            </p:cNvPr>
            <p:cNvSpPr/>
            <p:nvPr/>
          </p:nvSpPr>
          <p:spPr>
            <a:xfrm>
              <a:off x="7987995" y="6243018"/>
              <a:ext cx="110489" cy="122555"/>
            </a:xfrm>
            <a:custGeom>
              <a:avLst/>
              <a:gdLst/>
              <a:ahLst/>
              <a:cxnLst/>
              <a:rect l="l" t="t" r="r" b="b"/>
              <a:pathLst>
                <a:path w="110490" h="122554">
                  <a:moveTo>
                    <a:pt x="8331" y="116433"/>
                  </a:moveTo>
                  <a:lnTo>
                    <a:pt x="7315" y="114846"/>
                  </a:lnTo>
                  <a:lnTo>
                    <a:pt x="6375" y="113233"/>
                  </a:lnTo>
                  <a:lnTo>
                    <a:pt x="5499" y="111594"/>
                  </a:lnTo>
                  <a:lnTo>
                    <a:pt x="0" y="117348"/>
                  </a:lnTo>
                  <a:lnTo>
                    <a:pt x="901" y="118935"/>
                  </a:lnTo>
                  <a:lnTo>
                    <a:pt x="1879" y="120510"/>
                  </a:lnTo>
                  <a:lnTo>
                    <a:pt x="2921" y="122047"/>
                  </a:lnTo>
                  <a:lnTo>
                    <a:pt x="6527" y="118325"/>
                  </a:lnTo>
                  <a:lnTo>
                    <a:pt x="8331" y="116433"/>
                  </a:lnTo>
                  <a:close/>
                </a:path>
                <a:path w="110490" h="122554">
                  <a:moveTo>
                    <a:pt x="91643" y="23202"/>
                  </a:moveTo>
                  <a:lnTo>
                    <a:pt x="55168" y="57492"/>
                  </a:lnTo>
                  <a:lnTo>
                    <a:pt x="53327" y="59563"/>
                  </a:lnTo>
                  <a:lnTo>
                    <a:pt x="59067" y="61252"/>
                  </a:lnTo>
                  <a:lnTo>
                    <a:pt x="58496" y="61988"/>
                  </a:lnTo>
                  <a:lnTo>
                    <a:pt x="67068" y="52209"/>
                  </a:lnTo>
                  <a:lnTo>
                    <a:pt x="75450" y="42494"/>
                  </a:lnTo>
                  <a:lnTo>
                    <a:pt x="83654" y="32816"/>
                  </a:lnTo>
                  <a:lnTo>
                    <a:pt x="91643" y="23202"/>
                  </a:lnTo>
                  <a:close/>
                </a:path>
                <a:path w="110490" h="122554">
                  <a:moveTo>
                    <a:pt x="110337" y="0"/>
                  </a:moveTo>
                  <a:lnTo>
                    <a:pt x="103886" y="0"/>
                  </a:lnTo>
                  <a:lnTo>
                    <a:pt x="99136" y="5854"/>
                  </a:lnTo>
                  <a:lnTo>
                    <a:pt x="105702" y="5854"/>
                  </a:lnTo>
                  <a:lnTo>
                    <a:pt x="110337" y="0"/>
                  </a:lnTo>
                  <a:close/>
                </a:path>
              </a:pathLst>
            </a:custGeom>
            <a:solidFill>
              <a:srgbClr val="F6D2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8" name="object 1120">
              <a:extLst>
                <a:ext uri="{FF2B5EF4-FFF2-40B4-BE49-F238E27FC236}">
                  <a16:creationId xmlns:a16="http://schemas.microsoft.com/office/drawing/2014/main" id="{805DB2B3-D08E-41E9-9AB0-9E7DADB0B2B2}"/>
                </a:ext>
              </a:extLst>
            </p:cNvPr>
            <p:cNvSpPr/>
            <p:nvPr/>
          </p:nvSpPr>
          <p:spPr>
            <a:xfrm>
              <a:off x="7985379" y="6243018"/>
              <a:ext cx="106680" cy="117475"/>
            </a:xfrm>
            <a:custGeom>
              <a:avLst/>
              <a:gdLst/>
              <a:ahLst/>
              <a:cxnLst/>
              <a:rect l="l" t="t" r="r" b="b"/>
              <a:pathLst>
                <a:path w="106679" h="117475">
                  <a:moveTo>
                    <a:pt x="8115" y="111582"/>
                  </a:moveTo>
                  <a:lnTo>
                    <a:pt x="7213" y="109867"/>
                  </a:lnTo>
                  <a:lnTo>
                    <a:pt x="6375" y="108127"/>
                  </a:lnTo>
                  <a:lnTo>
                    <a:pt x="5626" y="106362"/>
                  </a:lnTo>
                  <a:lnTo>
                    <a:pt x="0" y="112306"/>
                  </a:lnTo>
                  <a:lnTo>
                    <a:pt x="800" y="114020"/>
                  </a:lnTo>
                  <a:lnTo>
                    <a:pt x="1676" y="115697"/>
                  </a:lnTo>
                  <a:lnTo>
                    <a:pt x="2616" y="117335"/>
                  </a:lnTo>
                  <a:lnTo>
                    <a:pt x="8115" y="111582"/>
                  </a:lnTo>
                  <a:close/>
                </a:path>
                <a:path w="106679" h="117475">
                  <a:moveTo>
                    <a:pt x="57797" y="57480"/>
                  </a:moveTo>
                  <a:lnTo>
                    <a:pt x="55676" y="59474"/>
                  </a:lnTo>
                  <a:lnTo>
                    <a:pt x="55956" y="59550"/>
                  </a:lnTo>
                  <a:lnTo>
                    <a:pt x="57797" y="57480"/>
                  </a:lnTo>
                  <a:close/>
                </a:path>
                <a:path w="106679" h="117475">
                  <a:moveTo>
                    <a:pt x="106502" y="0"/>
                  </a:moveTo>
                  <a:lnTo>
                    <a:pt x="99936" y="0"/>
                  </a:lnTo>
                  <a:lnTo>
                    <a:pt x="95072" y="5867"/>
                  </a:lnTo>
                  <a:lnTo>
                    <a:pt x="101752" y="5854"/>
                  </a:lnTo>
                  <a:lnTo>
                    <a:pt x="106502" y="0"/>
                  </a:lnTo>
                  <a:close/>
                </a:path>
              </a:pathLst>
            </a:custGeom>
            <a:solidFill>
              <a:srgbClr val="F6D4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29" name="object 1121">
              <a:extLst>
                <a:ext uri="{FF2B5EF4-FFF2-40B4-BE49-F238E27FC236}">
                  <a16:creationId xmlns:a16="http://schemas.microsoft.com/office/drawing/2014/main" id="{A049AC3C-07FC-402D-A3BC-AB2A434F2A04}"/>
                </a:ext>
              </a:extLst>
            </p:cNvPr>
            <p:cNvSpPr/>
            <p:nvPr/>
          </p:nvSpPr>
          <p:spPr>
            <a:xfrm>
              <a:off x="7983118" y="6243018"/>
              <a:ext cx="102235" cy="112395"/>
            </a:xfrm>
            <a:custGeom>
              <a:avLst/>
              <a:gdLst/>
              <a:ahLst/>
              <a:cxnLst/>
              <a:rect l="l" t="t" r="r" b="b"/>
              <a:pathLst>
                <a:path w="102234" h="112395">
                  <a:moveTo>
                    <a:pt x="7886" y="106362"/>
                  </a:moveTo>
                  <a:lnTo>
                    <a:pt x="7112" y="104508"/>
                  </a:lnTo>
                  <a:lnTo>
                    <a:pt x="6413" y="102628"/>
                  </a:lnTo>
                  <a:lnTo>
                    <a:pt x="5791" y="100698"/>
                  </a:lnTo>
                  <a:lnTo>
                    <a:pt x="0" y="106883"/>
                  </a:lnTo>
                  <a:lnTo>
                    <a:pt x="685" y="108724"/>
                  </a:lnTo>
                  <a:lnTo>
                    <a:pt x="1435" y="110528"/>
                  </a:lnTo>
                  <a:lnTo>
                    <a:pt x="2260" y="112306"/>
                  </a:lnTo>
                  <a:lnTo>
                    <a:pt x="7886" y="106362"/>
                  </a:lnTo>
                  <a:close/>
                </a:path>
                <a:path w="102234" h="112395">
                  <a:moveTo>
                    <a:pt x="102196" y="0"/>
                  </a:moveTo>
                  <a:lnTo>
                    <a:pt x="95516" y="0"/>
                  </a:lnTo>
                  <a:lnTo>
                    <a:pt x="90551" y="5880"/>
                  </a:lnTo>
                  <a:lnTo>
                    <a:pt x="97332" y="5867"/>
                  </a:lnTo>
                  <a:lnTo>
                    <a:pt x="102196" y="0"/>
                  </a:lnTo>
                  <a:close/>
                </a:path>
              </a:pathLst>
            </a:custGeom>
            <a:solidFill>
              <a:srgbClr val="F7D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0" name="object 1122">
              <a:extLst>
                <a:ext uri="{FF2B5EF4-FFF2-40B4-BE49-F238E27FC236}">
                  <a16:creationId xmlns:a16="http://schemas.microsoft.com/office/drawing/2014/main" id="{01EFACDC-BBD5-4109-A9C6-14305825C733}"/>
                </a:ext>
              </a:extLst>
            </p:cNvPr>
            <p:cNvSpPr/>
            <p:nvPr/>
          </p:nvSpPr>
          <p:spPr>
            <a:xfrm>
              <a:off x="7981213" y="6243006"/>
              <a:ext cx="97790" cy="107314"/>
            </a:xfrm>
            <a:custGeom>
              <a:avLst/>
              <a:gdLst/>
              <a:ahLst/>
              <a:cxnLst/>
              <a:rect l="l" t="t" r="r" b="b"/>
              <a:pathLst>
                <a:path w="97790" h="107315">
                  <a:moveTo>
                    <a:pt x="7683" y="100723"/>
                  </a:moveTo>
                  <a:lnTo>
                    <a:pt x="7048" y="98729"/>
                  </a:lnTo>
                  <a:lnTo>
                    <a:pt x="6477" y="96672"/>
                  </a:lnTo>
                  <a:lnTo>
                    <a:pt x="6007" y="94576"/>
                  </a:lnTo>
                  <a:lnTo>
                    <a:pt x="0" y="101041"/>
                  </a:lnTo>
                  <a:lnTo>
                    <a:pt x="558" y="103047"/>
                  </a:lnTo>
                  <a:lnTo>
                    <a:pt x="1193" y="104990"/>
                  </a:lnTo>
                  <a:lnTo>
                    <a:pt x="1892" y="106895"/>
                  </a:lnTo>
                  <a:lnTo>
                    <a:pt x="7683" y="100723"/>
                  </a:lnTo>
                  <a:close/>
                </a:path>
                <a:path w="97790" h="107315">
                  <a:moveTo>
                    <a:pt x="97434" y="0"/>
                  </a:moveTo>
                  <a:lnTo>
                    <a:pt x="90665" y="0"/>
                  </a:lnTo>
                  <a:lnTo>
                    <a:pt x="85598" y="5880"/>
                  </a:lnTo>
                  <a:lnTo>
                    <a:pt x="92468" y="5880"/>
                  </a:lnTo>
                  <a:lnTo>
                    <a:pt x="97434" y="0"/>
                  </a:lnTo>
                  <a:close/>
                </a:path>
              </a:pathLst>
            </a:custGeom>
            <a:solidFill>
              <a:srgbClr val="F7D5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1" name="object 1123">
              <a:extLst>
                <a:ext uri="{FF2B5EF4-FFF2-40B4-BE49-F238E27FC236}">
                  <a16:creationId xmlns:a16="http://schemas.microsoft.com/office/drawing/2014/main" id="{E198A408-2017-467F-98F3-31F95AB1D743}"/>
                </a:ext>
              </a:extLst>
            </p:cNvPr>
            <p:cNvSpPr/>
            <p:nvPr/>
          </p:nvSpPr>
          <p:spPr>
            <a:xfrm>
              <a:off x="7979727" y="6243018"/>
              <a:ext cx="92710" cy="101600"/>
            </a:xfrm>
            <a:custGeom>
              <a:avLst/>
              <a:gdLst/>
              <a:ahLst/>
              <a:cxnLst/>
              <a:rect l="l" t="t" r="r" b="b"/>
              <a:pathLst>
                <a:path w="92709" h="101600">
                  <a:moveTo>
                    <a:pt x="7493" y="94564"/>
                  </a:moveTo>
                  <a:lnTo>
                    <a:pt x="6997" y="92405"/>
                  </a:lnTo>
                  <a:lnTo>
                    <a:pt x="6591" y="90182"/>
                  </a:lnTo>
                  <a:lnTo>
                    <a:pt x="6261" y="87896"/>
                  </a:lnTo>
                  <a:lnTo>
                    <a:pt x="0" y="94703"/>
                  </a:lnTo>
                  <a:lnTo>
                    <a:pt x="419" y="96862"/>
                  </a:lnTo>
                  <a:lnTo>
                    <a:pt x="914" y="98983"/>
                  </a:lnTo>
                  <a:lnTo>
                    <a:pt x="1485" y="101028"/>
                  </a:lnTo>
                  <a:lnTo>
                    <a:pt x="7493" y="94564"/>
                  </a:lnTo>
                  <a:close/>
                </a:path>
                <a:path w="92709" h="101600">
                  <a:moveTo>
                    <a:pt x="92138" y="0"/>
                  </a:moveTo>
                  <a:lnTo>
                    <a:pt x="85255" y="0"/>
                  </a:lnTo>
                  <a:lnTo>
                    <a:pt x="80098" y="5880"/>
                  </a:lnTo>
                  <a:lnTo>
                    <a:pt x="87071" y="5880"/>
                  </a:lnTo>
                  <a:lnTo>
                    <a:pt x="92138" y="0"/>
                  </a:lnTo>
                  <a:close/>
                </a:path>
              </a:pathLst>
            </a:custGeom>
            <a:solidFill>
              <a:srgbClr val="F7D75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2" name="object 1124">
              <a:extLst>
                <a:ext uri="{FF2B5EF4-FFF2-40B4-BE49-F238E27FC236}">
                  <a16:creationId xmlns:a16="http://schemas.microsoft.com/office/drawing/2014/main" id="{59B4BC71-8139-4E0F-827F-E58A7BFB2C49}"/>
                </a:ext>
              </a:extLst>
            </p:cNvPr>
            <p:cNvSpPr/>
            <p:nvPr/>
          </p:nvSpPr>
          <p:spPr>
            <a:xfrm>
              <a:off x="7978673" y="6243006"/>
              <a:ext cx="86360" cy="95250"/>
            </a:xfrm>
            <a:custGeom>
              <a:avLst/>
              <a:gdLst/>
              <a:ahLst/>
              <a:cxnLst/>
              <a:rect l="l" t="t" r="r" b="b"/>
              <a:pathLst>
                <a:path w="86359" h="95250">
                  <a:moveTo>
                    <a:pt x="7315" y="87922"/>
                  </a:moveTo>
                  <a:lnTo>
                    <a:pt x="6985" y="85585"/>
                  </a:lnTo>
                  <a:lnTo>
                    <a:pt x="6731" y="83185"/>
                  </a:lnTo>
                  <a:lnTo>
                    <a:pt x="6553" y="80708"/>
                  </a:lnTo>
                  <a:lnTo>
                    <a:pt x="0" y="87896"/>
                  </a:lnTo>
                  <a:lnTo>
                    <a:pt x="279" y="90246"/>
                  </a:lnTo>
                  <a:lnTo>
                    <a:pt x="635" y="92506"/>
                  </a:lnTo>
                  <a:lnTo>
                    <a:pt x="1054" y="94729"/>
                  </a:lnTo>
                  <a:lnTo>
                    <a:pt x="7315" y="87922"/>
                  </a:lnTo>
                  <a:close/>
                </a:path>
                <a:path w="86359" h="95250">
                  <a:moveTo>
                    <a:pt x="86321" y="0"/>
                  </a:moveTo>
                  <a:lnTo>
                    <a:pt x="79336" y="0"/>
                  </a:lnTo>
                  <a:lnTo>
                    <a:pt x="74079" y="5905"/>
                  </a:lnTo>
                  <a:lnTo>
                    <a:pt x="81153" y="5892"/>
                  </a:lnTo>
                  <a:lnTo>
                    <a:pt x="86321" y="0"/>
                  </a:lnTo>
                  <a:close/>
                </a:path>
              </a:pathLst>
            </a:custGeom>
            <a:solidFill>
              <a:srgbClr val="F8D8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3" name="object 1125">
              <a:extLst>
                <a:ext uri="{FF2B5EF4-FFF2-40B4-BE49-F238E27FC236}">
                  <a16:creationId xmlns:a16="http://schemas.microsoft.com/office/drawing/2014/main" id="{86CC3990-9B19-4EF9-B9F0-0F3F91DB875E}"/>
                </a:ext>
              </a:extLst>
            </p:cNvPr>
            <p:cNvSpPr/>
            <p:nvPr/>
          </p:nvSpPr>
          <p:spPr>
            <a:xfrm>
              <a:off x="7978038" y="6243018"/>
              <a:ext cx="80010" cy="88265"/>
            </a:xfrm>
            <a:custGeom>
              <a:avLst/>
              <a:gdLst/>
              <a:ahLst/>
              <a:cxnLst/>
              <a:rect l="l" t="t" r="r" b="b"/>
              <a:pathLst>
                <a:path w="80009" h="88265">
                  <a:moveTo>
                    <a:pt x="7175" y="80683"/>
                  </a:moveTo>
                  <a:lnTo>
                    <a:pt x="7010" y="78409"/>
                  </a:lnTo>
                  <a:lnTo>
                    <a:pt x="6908" y="76073"/>
                  </a:lnTo>
                  <a:lnTo>
                    <a:pt x="6870" y="73660"/>
                  </a:lnTo>
                  <a:lnTo>
                    <a:pt x="6870" y="72923"/>
                  </a:lnTo>
                  <a:lnTo>
                    <a:pt x="0" y="80505"/>
                  </a:lnTo>
                  <a:lnTo>
                    <a:pt x="139" y="83045"/>
                  </a:lnTo>
                  <a:lnTo>
                    <a:pt x="342" y="85496"/>
                  </a:lnTo>
                  <a:lnTo>
                    <a:pt x="622" y="87884"/>
                  </a:lnTo>
                  <a:lnTo>
                    <a:pt x="7175" y="80683"/>
                  </a:lnTo>
                  <a:close/>
                </a:path>
                <a:path w="80009" h="88265">
                  <a:moveTo>
                    <a:pt x="79971" y="0"/>
                  </a:moveTo>
                  <a:lnTo>
                    <a:pt x="72898" y="0"/>
                  </a:lnTo>
                  <a:lnTo>
                    <a:pt x="67564" y="5905"/>
                  </a:lnTo>
                  <a:lnTo>
                    <a:pt x="74714" y="5892"/>
                  </a:lnTo>
                  <a:lnTo>
                    <a:pt x="79971" y="0"/>
                  </a:lnTo>
                  <a:close/>
                </a:path>
              </a:pathLst>
            </a:custGeom>
            <a:solidFill>
              <a:srgbClr val="F8DA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4" name="object 1126">
              <a:extLst>
                <a:ext uri="{FF2B5EF4-FFF2-40B4-BE49-F238E27FC236}">
                  <a16:creationId xmlns:a16="http://schemas.microsoft.com/office/drawing/2014/main" id="{567820C7-15B6-4302-B806-2A5647932361}"/>
                </a:ext>
              </a:extLst>
            </p:cNvPr>
            <p:cNvSpPr/>
            <p:nvPr/>
          </p:nvSpPr>
          <p:spPr>
            <a:xfrm>
              <a:off x="7977861" y="6243018"/>
              <a:ext cx="73660" cy="80645"/>
            </a:xfrm>
            <a:custGeom>
              <a:avLst/>
              <a:gdLst/>
              <a:ahLst/>
              <a:cxnLst/>
              <a:rect l="l" t="t" r="r" b="b"/>
              <a:pathLst>
                <a:path w="73659" h="80645">
                  <a:moveTo>
                    <a:pt x="7048" y="64770"/>
                  </a:moveTo>
                  <a:lnTo>
                    <a:pt x="12" y="72593"/>
                  </a:lnTo>
                  <a:lnTo>
                    <a:pt x="0" y="75692"/>
                  </a:lnTo>
                  <a:lnTo>
                    <a:pt x="63" y="78130"/>
                  </a:lnTo>
                  <a:lnTo>
                    <a:pt x="177" y="80505"/>
                  </a:lnTo>
                  <a:lnTo>
                    <a:pt x="7048" y="72910"/>
                  </a:lnTo>
                  <a:lnTo>
                    <a:pt x="7048" y="64770"/>
                  </a:lnTo>
                  <a:close/>
                </a:path>
                <a:path w="73659" h="80645">
                  <a:moveTo>
                    <a:pt x="73075" y="0"/>
                  </a:moveTo>
                  <a:lnTo>
                    <a:pt x="65913" y="0"/>
                  </a:lnTo>
                  <a:lnTo>
                    <a:pt x="60515" y="5905"/>
                  </a:lnTo>
                  <a:lnTo>
                    <a:pt x="67741" y="5892"/>
                  </a:lnTo>
                  <a:lnTo>
                    <a:pt x="73075" y="0"/>
                  </a:lnTo>
                  <a:close/>
                </a:path>
              </a:pathLst>
            </a:custGeom>
            <a:solidFill>
              <a:srgbClr val="F9DA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5" name="object 1127">
              <a:extLst>
                <a:ext uri="{FF2B5EF4-FFF2-40B4-BE49-F238E27FC236}">
                  <a16:creationId xmlns:a16="http://schemas.microsoft.com/office/drawing/2014/main" id="{CCFF65C6-42D9-454D-8461-BC5F56F755CF}"/>
                </a:ext>
              </a:extLst>
            </p:cNvPr>
            <p:cNvSpPr/>
            <p:nvPr/>
          </p:nvSpPr>
          <p:spPr>
            <a:xfrm>
              <a:off x="7977873" y="6243018"/>
              <a:ext cx="66040" cy="73025"/>
            </a:xfrm>
            <a:custGeom>
              <a:avLst/>
              <a:gdLst/>
              <a:ahLst/>
              <a:cxnLst/>
              <a:rect l="l" t="t" r="r" b="b"/>
              <a:pathLst>
                <a:path w="66040" h="73025">
                  <a:moveTo>
                    <a:pt x="7035" y="56591"/>
                  </a:moveTo>
                  <a:lnTo>
                    <a:pt x="0" y="64452"/>
                  </a:lnTo>
                  <a:lnTo>
                    <a:pt x="0" y="72593"/>
                  </a:lnTo>
                  <a:lnTo>
                    <a:pt x="7035" y="64770"/>
                  </a:lnTo>
                  <a:lnTo>
                    <a:pt x="7035" y="56591"/>
                  </a:lnTo>
                  <a:close/>
                </a:path>
                <a:path w="66040" h="73025">
                  <a:moveTo>
                    <a:pt x="65900" y="0"/>
                  </a:moveTo>
                  <a:lnTo>
                    <a:pt x="58674" y="0"/>
                  </a:lnTo>
                  <a:lnTo>
                    <a:pt x="53200" y="5905"/>
                  </a:lnTo>
                  <a:lnTo>
                    <a:pt x="60502" y="5905"/>
                  </a:lnTo>
                  <a:lnTo>
                    <a:pt x="65900" y="0"/>
                  </a:lnTo>
                  <a:close/>
                </a:path>
              </a:pathLst>
            </a:custGeom>
            <a:solidFill>
              <a:srgbClr val="FADC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6" name="object 1128">
              <a:extLst>
                <a:ext uri="{FF2B5EF4-FFF2-40B4-BE49-F238E27FC236}">
                  <a16:creationId xmlns:a16="http://schemas.microsoft.com/office/drawing/2014/main" id="{F54683F3-6CF6-411F-BFB0-DF3B9529895D}"/>
                </a:ext>
              </a:extLst>
            </p:cNvPr>
            <p:cNvSpPr/>
            <p:nvPr/>
          </p:nvSpPr>
          <p:spPr>
            <a:xfrm>
              <a:off x="7977873" y="6243006"/>
              <a:ext cx="59055" cy="64769"/>
            </a:xfrm>
            <a:custGeom>
              <a:avLst/>
              <a:gdLst/>
              <a:ahLst/>
              <a:cxnLst/>
              <a:rect l="l" t="t" r="r" b="b"/>
              <a:pathLst>
                <a:path w="59054" h="64770">
                  <a:moveTo>
                    <a:pt x="7035" y="48399"/>
                  </a:moveTo>
                  <a:lnTo>
                    <a:pt x="0" y="56273"/>
                  </a:lnTo>
                  <a:lnTo>
                    <a:pt x="0" y="64452"/>
                  </a:lnTo>
                  <a:lnTo>
                    <a:pt x="7035" y="56603"/>
                  </a:lnTo>
                  <a:lnTo>
                    <a:pt x="7035" y="48399"/>
                  </a:lnTo>
                  <a:close/>
                </a:path>
                <a:path w="59054" h="64770">
                  <a:moveTo>
                    <a:pt x="58661" y="0"/>
                  </a:moveTo>
                  <a:lnTo>
                    <a:pt x="51346" y="0"/>
                  </a:lnTo>
                  <a:lnTo>
                    <a:pt x="45834" y="5930"/>
                  </a:lnTo>
                  <a:lnTo>
                    <a:pt x="53200" y="5918"/>
                  </a:lnTo>
                  <a:lnTo>
                    <a:pt x="58661" y="0"/>
                  </a:lnTo>
                  <a:close/>
                </a:path>
              </a:pathLst>
            </a:custGeom>
            <a:solidFill>
              <a:srgbClr val="FADC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7" name="object 1129">
              <a:extLst>
                <a:ext uri="{FF2B5EF4-FFF2-40B4-BE49-F238E27FC236}">
                  <a16:creationId xmlns:a16="http://schemas.microsoft.com/office/drawing/2014/main" id="{73E117C1-CDF0-4716-B8B4-52C99BF40546}"/>
                </a:ext>
              </a:extLst>
            </p:cNvPr>
            <p:cNvSpPr/>
            <p:nvPr/>
          </p:nvSpPr>
          <p:spPr>
            <a:xfrm>
              <a:off x="7977873" y="6243018"/>
              <a:ext cx="51435" cy="56515"/>
            </a:xfrm>
            <a:custGeom>
              <a:avLst/>
              <a:gdLst/>
              <a:ahLst/>
              <a:cxnLst/>
              <a:rect l="l" t="t" r="r" b="b"/>
              <a:pathLst>
                <a:path w="51434" h="56515">
                  <a:moveTo>
                    <a:pt x="7035" y="40182"/>
                  </a:moveTo>
                  <a:lnTo>
                    <a:pt x="0" y="48056"/>
                  </a:lnTo>
                  <a:lnTo>
                    <a:pt x="0" y="56261"/>
                  </a:lnTo>
                  <a:lnTo>
                    <a:pt x="7035" y="48387"/>
                  </a:lnTo>
                  <a:lnTo>
                    <a:pt x="7035" y="40182"/>
                  </a:lnTo>
                  <a:close/>
                </a:path>
                <a:path w="51434" h="56515">
                  <a:moveTo>
                    <a:pt x="51358" y="0"/>
                  </a:moveTo>
                  <a:lnTo>
                    <a:pt x="43992" y="0"/>
                  </a:lnTo>
                  <a:lnTo>
                    <a:pt x="38430" y="5930"/>
                  </a:lnTo>
                  <a:lnTo>
                    <a:pt x="45847" y="5918"/>
                  </a:lnTo>
                  <a:lnTo>
                    <a:pt x="51358" y="0"/>
                  </a:lnTo>
                  <a:close/>
                </a:path>
              </a:pathLst>
            </a:custGeom>
            <a:solidFill>
              <a:srgbClr val="FCDD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8" name="object 1130">
              <a:extLst>
                <a:ext uri="{FF2B5EF4-FFF2-40B4-BE49-F238E27FC236}">
                  <a16:creationId xmlns:a16="http://schemas.microsoft.com/office/drawing/2014/main" id="{C0207F5D-CA02-4162-9782-25B6C3392FE6}"/>
                </a:ext>
              </a:extLst>
            </p:cNvPr>
            <p:cNvSpPr/>
            <p:nvPr/>
          </p:nvSpPr>
          <p:spPr>
            <a:xfrm>
              <a:off x="7977873" y="6243006"/>
              <a:ext cx="44450" cy="48260"/>
            </a:xfrm>
            <a:custGeom>
              <a:avLst/>
              <a:gdLst/>
              <a:ahLst/>
              <a:cxnLst/>
              <a:rect l="l" t="t" r="r" b="b"/>
              <a:pathLst>
                <a:path w="44450" h="48259">
                  <a:moveTo>
                    <a:pt x="7035" y="31978"/>
                  </a:moveTo>
                  <a:lnTo>
                    <a:pt x="0" y="39827"/>
                  </a:lnTo>
                  <a:lnTo>
                    <a:pt x="0" y="48056"/>
                  </a:lnTo>
                  <a:lnTo>
                    <a:pt x="7035" y="40182"/>
                  </a:lnTo>
                  <a:lnTo>
                    <a:pt x="7035" y="31978"/>
                  </a:lnTo>
                  <a:close/>
                </a:path>
                <a:path w="44450" h="48259">
                  <a:moveTo>
                    <a:pt x="43980" y="0"/>
                  </a:moveTo>
                  <a:lnTo>
                    <a:pt x="36563" y="0"/>
                  </a:lnTo>
                  <a:lnTo>
                    <a:pt x="30975" y="5930"/>
                  </a:lnTo>
                  <a:lnTo>
                    <a:pt x="38430" y="5930"/>
                  </a:lnTo>
                  <a:lnTo>
                    <a:pt x="43980" y="0"/>
                  </a:lnTo>
                  <a:close/>
                </a:path>
              </a:pathLst>
            </a:custGeom>
            <a:solidFill>
              <a:srgbClr val="FCDE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39" name="object 1131">
              <a:extLst>
                <a:ext uri="{FF2B5EF4-FFF2-40B4-BE49-F238E27FC236}">
                  <a16:creationId xmlns:a16="http://schemas.microsoft.com/office/drawing/2014/main" id="{F09C8194-8D52-404C-B633-65EBF925A885}"/>
                </a:ext>
              </a:extLst>
            </p:cNvPr>
            <p:cNvSpPr/>
            <p:nvPr/>
          </p:nvSpPr>
          <p:spPr>
            <a:xfrm>
              <a:off x="7977873" y="6243018"/>
              <a:ext cx="36830" cy="40005"/>
            </a:xfrm>
            <a:custGeom>
              <a:avLst/>
              <a:gdLst/>
              <a:ahLst/>
              <a:cxnLst/>
              <a:rect l="l" t="t" r="r" b="b"/>
              <a:pathLst>
                <a:path w="36829" h="40004">
                  <a:moveTo>
                    <a:pt x="7035" y="23774"/>
                  </a:moveTo>
                  <a:lnTo>
                    <a:pt x="0" y="31584"/>
                  </a:lnTo>
                  <a:lnTo>
                    <a:pt x="0" y="39814"/>
                  </a:lnTo>
                  <a:lnTo>
                    <a:pt x="7035" y="31965"/>
                  </a:lnTo>
                  <a:lnTo>
                    <a:pt x="7035" y="23774"/>
                  </a:lnTo>
                  <a:close/>
                </a:path>
                <a:path w="36829" h="40004">
                  <a:moveTo>
                    <a:pt x="36563" y="0"/>
                  </a:moveTo>
                  <a:lnTo>
                    <a:pt x="29083" y="0"/>
                  </a:lnTo>
                  <a:lnTo>
                    <a:pt x="23495" y="5943"/>
                  </a:lnTo>
                  <a:lnTo>
                    <a:pt x="30975" y="5930"/>
                  </a:lnTo>
                  <a:lnTo>
                    <a:pt x="36563" y="0"/>
                  </a:lnTo>
                  <a:close/>
                </a:path>
              </a:pathLst>
            </a:custGeom>
            <a:solidFill>
              <a:srgbClr val="FEE06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0" name="object 1132">
              <a:extLst>
                <a:ext uri="{FF2B5EF4-FFF2-40B4-BE49-F238E27FC236}">
                  <a16:creationId xmlns:a16="http://schemas.microsoft.com/office/drawing/2014/main" id="{15DE23B3-0729-4DCD-8E98-E8638F7DDC48}"/>
                </a:ext>
              </a:extLst>
            </p:cNvPr>
            <p:cNvSpPr/>
            <p:nvPr/>
          </p:nvSpPr>
          <p:spPr>
            <a:xfrm>
              <a:off x="7977873" y="6243006"/>
              <a:ext cx="29209" cy="31750"/>
            </a:xfrm>
            <a:custGeom>
              <a:avLst/>
              <a:gdLst/>
              <a:ahLst/>
              <a:cxnLst/>
              <a:rect l="l" t="t" r="r" b="b"/>
              <a:pathLst>
                <a:path w="29209" h="31750">
                  <a:moveTo>
                    <a:pt x="7035" y="15621"/>
                  </a:moveTo>
                  <a:lnTo>
                    <a:pt x="0" y="23380"/>
                  </a:lnTo>
                  <a:lnTo>
                    <a:pt x="0" y="31597"/>
                  </a:lnTo>
                  <a:lnTo>
                    <a:pt x="7035" y="23787"/>
                  </a:lnTo>
                  <a:lnTo>
                    <a:pt x="7035" y="15621"/>
                  </a:lnTo>
                  <a:close/>
                </a:path>
                <a:path w="29209" h="31750">
                  <a:moveTo>
                    <a:pt x="29083" y="0"/>
                  </a:moveTo>
                  <a:lnTo>
                    <a:pt x="21590" y="0"/>
                  </a:lnTo>
                  <a:lnTo>
                    <a:pt x="16002" y="5956"/>
                  </a:lnTo>
                  <a:lnTo>
                    <a:pt x="23495" y="5943"/>
                  </a:lnTo>
                  <a:lnTo>
                    <a:pt x="29083" y="0"/>
                  </a:lnTo>
                  <a:close/>
                </a:path>
              </a:pathLst>
            </a:custGeom>
            <a:solidFill>
              <a:srgbClr val="FFE1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1" name="object 1133">
              <a:extLst>
                <a:ext uri="{FF2B5EF4-FFF2-40B4-BE49-F238E27FC236}">
                  <a16:creationId xmlns:a16="http://schemas.microsoft.com/office/drawing/2014/main" id="{DDEACF69-AAC3-4032-9169-CDD3D34AB3A9}"/>
                </a:ext>
              </a:extLst>
            </p:cNvPr>
            <p:cNvSpPr/>
            <p:nvPr/>
          </p:nvSpPr>
          <p:spPr>
            <a:xfrm>
              <a:off x="7977873" y="6243018"/>
              <a:ext cx="21590" cy="23495"/>
            </a:xfrm>
            <a:custGeom>
              <a:avLst/>
              <a:gdLst/>
              <a:ahLst/>
              <a:cxnLst/>
              <a:rect l="l" t="t" r="r" b="b"/>
              <a:pathLst>
                <a:path w="21590" h="23495">
                  <a:moveTo>
                    <a:pt x="7035" y="7518"/>
                  </a:moveTo>
                  <a:lnTo>
                    <a:pt x="2336" y="12611"/>
                  </a:lnTo>
                  <a:lnTo>
                    <a:pt x="0" y="15189"/>
                  </a:lnTo>
                  <a:lnTo>
                    <a:pt x="0" y="23380"/>
                  </a:lnTo>
                  <a:lnTo>
                    <a:pt x="7035" y="15621"/>
                  </a:lnTo>
                  <a:lnTo>
                    <a:pt x="7035" y="7518"/>
                  </a:lnTo>
                  <a:close/>
                </a:path>
                <a:path w="21590" h="23495">
                  <a:moveTo>
                    <a:pt x="21577" y="0"/>
                  </a:moveTo>
                  <a:lnTo>
                    <a:pt x="14058" y="0"/>
                  </a:lnTo>
                  <a:lnTo>
                    <a:pt x="10337" y="3949"/>
                  </a:lnTo>
                  <a:lnTo>
                    <a:pt x="8483" y="5956"/>
                  </a:lnTo>
                  <a:lnTo>
                    <a:pt x="15989" y="5943"/>
                  </a:lnTo>
                  <a:lnTo>
                    <a:pt x="21577" y="0"/>
                  </a:lnTo>
                  <a:close/>
                </a:path>
              </a:pathLst>
            </a:custGeom>
            <a:solidFill>
              <a:srgbClr val="FFE36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2" name="object 1134">
              <a:extLst>
                <a:ext uri="{FF2B5EF4-FFF2-40B4-BE49-F238E27FC236}">
                  <a16:creationId xmlns:a16="http://schemas.microsoft.com/office/drawing/2014/main" id="{EE3E76CA-8757-4B0A-9C7B-E401BCB26E58}"/>
                </a:ext>
              </a:extLst>
            </p:cNvPr>
            <p:cNvSpPr/>
            <p:nvPr/>
          </p:nvSpPr>
          <p:spPr>
            <a:xfrm>
              <a:off x="7977883" y="6243008"/>
              <a:ext cx="14604" cy="15240"/>
            </a:xfrm>
            <a:custGeom>
              <a:avLst/>
              <a:gdLst/>
              <a:ahLst/>
              <a:cxnLst/>
              <a:rect l="l" t="t" r="r" b="b"/>
              <a:pathLst>
                <a:path w="14604" h="15240">
                  <a:moveTo>
                    <a:pt x="14058" y="0"/>
                  </a:moveTo>
                  <a:lnTo>
                    <a:pt x="6540" y="0"/>
                  </a:lnTo>
                  <a:lnTo>
                    <a:pt x="2171" y="4673"/>
                  </a:lnTo>
                  <a:lnTo>
                    <a:pt x="0" y="7035"/>
                  </a:lnTo>
                  <a:lnTo>
                    <a:pt x="0" y="15189"/>
                  </a:lnTo>
                  <a:lnTo>
                    <a:pt x="7035" y="7518"/>
                  </a:lnTo>
                  <a:lnTo>
                    <a:pt x="7035" y="5956"/>
                  </a:lnTo>
                  <a:lnTo>
                    <a:pt x="8483" y="5956"/>
                  </a:lnTo>
                  <a:lnTo>
                    <a:pt x="14058" y="0"/>
                  </a:lnTo>
                  <a:close/>
                </a:path>
              </a:pathLst>
            </a:custGeom>
            <a:solidFill>
              <a:srgbClr val="FEE46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3" name="object 1135">
              <a:extLst>
                <a:ext uri="{FF2B5EF4-FFF2-40B4-BE49-F238E27FC236}">
                  <a16:creationId xmlns:a16="http://schemas.microsoft.com/office/drawing/2014/main" id="{FD3228C8-A2E1-4F70-A19C-F861FDC8AB96}"/>
                </a:ext>
              </a:extLst>
            </p:cNvPr>
            <p:cNvSpPr/>
            <p:nvPr/>
          </p:nvSpPr>
          <p:spPr>
            <a:xfrm>
              <a:off x="7977883" y="6243010"/>
              <a:ext cx="6985" cy="7620"/>
            </a:xfrm>
            <a:custGeom>
              <a:avLst/>
              <a:gdLst/>
              <a:ahLst/>
              <a:cxnLst/>
              <a:rect l="l" t="t" r="r" b="b"/>
              <a:pathLst>
                <a:path w="6984" h="7620">
                  <a:moveTo>
                    <a:pt x="6540" y="0"/>
                  </a:moveTo>
                  <a:lnTo>
                    <a:pt x="0" y="0"/>
                  </a:lnTo>
                  <a:lnTo>
                    <a:pt x="0" y="7035"/>
                  </a:lnTo>
                  <a:lnTo>
                    <a:pt x="2171" y="4673"/>
                  </a:lnTo>
                  <a:lnTo>
                    <a:pt x="6540" y="0"/>
                  </a:lnTo>
                  <a:close/>
                </a:path>
              </a:pathLst>
            </a:custGeom>
            <a:solidFill>
              <a:srgbClr val="FEE5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4" name="object 1136">
              <a:extLst>
                <a:ext uri="{FF2B5EF4-FFF2-40B4-BE49-F238E27FC236}">
                  <a16:creationId xmlns:a16="http://schemas.microsoft.com/office/drawing/2014/main" id="{F7D6FC3D-B87D-4FB8-B101-32861CFBABCD}"/>
                </a:ext>
              </a:extLst>
            </p:cNvPr>
            <p:cNvSpPr/>
            <p:nvPr/>
          </p:nvSpPr>
          <p:spPr>
            <a:xfrm>
              <a:off x="7977888" y="6243013"/>
              <a:ext cx="128905" cy="163830"/>
            </a:xfrm>
            <a:custGeom>
              <a:avLst/>
              <a:gdLst/>
              <a:ahLst/>
              <a:cxnLst/>
              <a:rect l="l" t="t" r="r" b="b"/>
              <a:pathLst>
                <a:path w="128904" h="163829">
                  <a:moveTo>
                    <a:pt x="128396" y="0"/>
                  </a:moveTo>
                  <a:lnTo>
                    <a:pt x="0" y="0"/>
                  </a:lnTo>
                  <a:lnTo>
                    <a:pt x="0" y="73164"/>
                  </a:lnTo>
                  <a:lnTo>
                    <a:pt x="3513" y="101671"/>
                  </a:lnTo>
                  <a:lnTo>
                    <a:pt x="14878" y="124642"/>
                  </a:lnTo>
                  <a:lnTo>
                    <a:pt x="34929" y="144496"/>
                  </a:lnTo>
                  <a:lnTo>
                    <a:pt x="64503" y="163652"/>
                  </a:lnTo>
                  <a:lnTo>
                    <a:pt x="64465" y="157899"/>
                  </a:lnTo>
                  <a:lnTo>
                    <a:pt x="37584" y="137807"/>
                  </a:lnTo>
                  <a:lnTo>
                    <a:pt x="19981" y="118741"/>
                  </a:lnTo>
                  <a:lnTo>
                    <a:pt x="10263" y="98195"/>
                  </a:lnTo>
                  <a:lnTo>
                    <a:pt x="7035" y="73659"/>
                  </a:lnTo>
                  <a:lnTo>
                    <a:pt x="7035" y="5956"/>
                  </a:lnTo>
                  <a:lnTo>
                    <a:pt x="120218" y="5854"/>
                  </a:lnTo>
                  <a:lnTo>
                    <a:pt x="63169" y="59474"/>
                  </a:lnTo>
                  <a:lnTo>
                    <a:pt x="69189" y="61252"/>
                  </a:lnTo>
                  <a:lnTo>
                    <a:pt x="48780" y="87668"/>
                  </a:lnTo>
                  <a:lnTo>
                    <a:pt x="56578" y="88264"/>
                  </a:lnTo>
                  <a:lnTo>
                    <a:pt x="31991" y="124244"/>
                  </a:lnTo>
                  <a:lnTo>
                    <a:pt x="73964" y="82867"/>
                  </a:lnTo>
                  <a:lnTo>
                    <a:pt x="65570" y="81673"/>
                  </a:lnTo>
                  <a:lnTo>
                    <a:pt x="94360" y="52273"/>
                  </a:lnTo>
                  <a:lnTo>
                    <a:pt x="89560" y="51079"/>
                  </a:lnTo>
                  <a:lnTo>
                    <a:pt x="120776" y="21437"/>
                  </a:lnTo>
                  <a:lnTo>
                    <a:pt x="121577" y="20891"/>
                  </a:lnTo>
                  <a:lnTo>
                    <a:pt x="121577" y="73431"/>
                  </a:lnTo>
                  <a:lnTo>
                    <a:pt x="118510" y="97058"/>
                  </a:lnTo>
                  <a:lnTo>
                    <a:pt x="108807" y="118013"/>
                  </a:lnTo>
                  <a:lnTo>
                    <a:pt x="91169" y="137755"/>
                  </a:lnTo>
                  <a:lnTo>
                    <a:pt x="64300" y="157746"/>
                  </a:lnTo>
                  <a:lnTo>
                    <a:pt x="64503" y="163728"/>
                  </a:lnTo>
                  <a:lnTo>
                    <a:pt x="94808" y="143060"/>
                  </a:lnTo>
                  <a:lnTo>
                    <a:pt x="114514" y="122099"/>
                  </a:lnTo>
                  <a:lnTo>
                    <a:pt x="125187" y="99311"/>
                  </a:lnTo>
                  <a:lnTo>
                    <a:pt x="128396" y="73164"/>
                  </a:lnTo>
                  <a:lnTo>
                    <a:pt x="128396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5" name="object 1137">
              <a:extLst>
                <a:ext uri="{FF2B5EF4-FFF2-40B4-BE49-F238E27FC236}">
                  <a16:creationId xmlns:a16="http://schemas.microsoft.com/office/drawing/2014/main" id="{CA4A8AF0-1AA2-41E8-8B69-EC72CB646C4D}"/>
                </a:ext>
              </a:extLst>
            </p:cNvPr>
            <p:cNvSpPr/>
            <p:nvPr/>
          </p:nvSpPr>
          <p:spPr>
            <a:xfrm>
              <a:off x="8042110" y="6390859"/>
              <a:ext cx="11430" cy="10160"/>
            </a:xfrm>
            <a:custGeom>
              <a:avLst/>
              <a:gdLst/>
              <a:ahLst/>
              <a:cxnLst/>
              <a:rect l="l" t="t" r="r" b="b"/>
              <a:pathLst>
                <a:path w="11429" h="10159">
                  <a:moveTo>
                    <a:pt x="11277" y="2146"/>
                  </a:moveTo>
                  <a:lnTo>
                    <a:pt x="11023" y="0"/>
                  </a:lnTo>
                  <a:lnTo>
                    <a:pt x="7505" y="2501"/>
                  </a:lnTo>
                  <a:lnTo>
                    <a:pt x="3835" y="5041"/>
                  </a:lnTo>
                  <a:lnTo>
                    <a:pt x="0" y="7632"/>
                  </a:lnTo>
                  <a:lnTo>
                    <a:pt x="25" y="9931"/>
                  </a:lnTo>
                  <a:lnTo>
                    <a:pt x="3937" y="7289"/>
                  </a:lnTo>
                  <a:lnTo>
                    <a:pt x="7683" y="4699"/>
                  </a:lnTo>
                  <a:lnTo>
                    <a:pt x="11277" y="2146"/>
                  </a:lnTo>
                  <a:close/>
                </a:path>
              </a:pathLst>
            </a:custGeom>
            <a:solidFill>
              <a:srgbClr val="FADF6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6" name="object 1138">
              <a:extLst>
                <a:ext uri="{FF2B5EF4-FFF2-40B4-BE49-F238E27FC236}">
                  <a16:creationId xmlns:a16="http://schemas.microsoft.com/office/drawing/2014/main" id="{4DEFBF76-FFE5-4FF3-B36D-CAFB134D8606}"/>
                </a:ext>
              </a:extLst>
            </p:cNvPr>
            <p:cNvSpPr/>
            <p:nvPr/>
          </p:nvSpPr>
          <p:spPr>
            <a:xfrm>
              <a:off x="8053134" y="6385970"/>
              <a:ext cx="6985" cy="7620"/>
            </a:xfrm>
            <a:custGeom>
              <a:avLst/>
              <a:gdLst/>
              <a:ahLst/>
              <a:cxnLst/>
              <a:rect l="l" t="t" r="r" b="b"/>
              <a:pathLst>
                <a:path w="6984" h="7620">
                  <a:moveTo>
                    <a:pt x="6946" y="2044"/>
                  </a:moveTo>
                  <a:lnTo>
                    <a:pt x="6565" y="0"/>
                  </a:lnTo>
                  <a:lnTo>
                    <a:pt x="3352" y="2425"/>
                  </a:lnTo>
                  <a:lnTo>
                    <a:pt x="0" y="4876"/>
                  </a:lnTo>
                  <a:lnTo>
                    <a:pt x="241" y="7023"/>
                  </a:lnTo>
                  <a:lnTo>
                    <a:pt x="3670" y="4521"/>
                  </a:lnTo>
                  <a:lnTo>
                    <a:pt x="6946" y="2044"/>
                  </a:lnTo>
                  <a:close/>
                </a:path>
              </a:pathLst>
            </a:custGeom>
            <a:solidFill>
              <a:srgbClr val="F8DE6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7" name="object 1139">
              <a:extLst>
                <a:ext uri="{FF2B5EF4-FFF2-40B4-BE49-F238E27FC236}">
                  <a16:creationId xmlns:a16="http://schemas.microsoft.com/office/drawing/2014/main" id="{9F5162A6-A151-44E9-97CB-25B9036B21E6}"/>
                </a:ext>
              </a:extLst>
            </p:cNvPr>
            <p:cNvSpPr/>
            <p:nvPr/>
          </p:nvSpPr>
          <p:spPr>
            <a:xfrm>
              <a:off x="8059699" y="6381194"/>
              <a:ext cx="6985" cy="6985"/>
            </a:xfrm>
            <a:custGeom>
              <a:avLst/>
              <a:gdLst/>
              <a:ahLst/>
              <a:cxnLst/>
              <a:rect l="l" t="t" r="r" b="b"/>
              <a:pathLst>
                <a:path w="6984" h="6984">
                  <a:moveTo>
                    <a:pt x="6451" y="1943"/>
                  </a:moveTo>
                  <a:lnTo>
                    <a:pt x="5956" y="0"/>
                  </a:lnTo>
                  <a:lnTo>
                    <a:pt x="3048" y="2374"/>
                  </a:lnTo>
                  <a:lnTo>
                    <a:pt x="0" y="4775"/>
                  </a:lnTo>
                  <a:lnTo>
                    <a:pt x="368" y="6819"/>
                  </a:lnTo>
                  <a:lnTo>
                    <a:pt x="3492" y="4368"/>
                  </a:lnTo>
                  <a:lnTo>
                    <a:pt x="6451" y="1943"/>
                  </a:lnTo>
                  <a:close/>
                </a:path>
              </a:pathLst>
            </a:custGeom>
            <a:solidFill>
              <a:srgbClr val="F8DD6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8" name="object 1140">
              <a:extLst>
                <a:ext uri="{FF2B5EF4-FFF2-40B4-BE49-F238E27FC236}">
                  <a16:creationId xmlns:a16="http://schemas.microsoft.com/office/drawing/2014/main" id="{251A6FA8-EC86-4A72-8D21-0A9A2724E7DC}"/>
                </a:ext>
              </a:extLst>
            </p:cNvPr>
            <p:cNvSpPr/>
            <p:nvPr/>
          </p:nvSpPr>
          <p:spPr>
            <a:xfrm>
              <a:off x="8065657" y="6378840"/>
              <a:ext cx="3810" cy="4445"/>
            </a:xfrm>
            <a:custGeom>
              <a:avLst/>
              <a:gdLst/>
              <a:ahLst/>
              <a:cxnLst/>
              <a:rect l="l" t="t" r="r" b="b"/>
              <a:pathLst>
                <a:path w="3809" h="4445">
                  <a:moveTo>
                    <a:pt x="2768" y="0"/>
                  </a:moveTo>
                  <a:lnTo>
                    <a:pt x="0" y="2349"/>
                  </a:lnTo>
                  <a:lnTo>
                    <a:pt x="507" y="4292"/>
                  </a:lnTo>
                  <a:lnTo>
                    <a:pt x="3327" y="1905"/>
                  </a:lnTo>
                  <a:lnTo>
                    <a:pt x="2768" y="0"/>
                  </a:lnTo>
                  <a:close/>
                </a:path>
              </a:pathLst>
            </a:custGeom>
            <a:solidFill>
              <a:srgbClr val="F7DC6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49" name="object 1141">
              <a:extLst>
                <a:ext uri="{FF2B5EF4-FFF2-40B4-BE49-F238E27FC236}">
                  <a16:creationId xmlns:a16="http://schemas.microsoft.com/office/drawing/2014/main" id="{DA6B4998-84A9-4148-8F6F-9102039C1E3D}"/>
                </a:ext>
              </a:extLst>
            </p:cNvPr>
            <p:cNvSpPr/>
            <p:nvPr/>
          </p:nvSpPr>
          <p:spPr>
            <a:xfrm>
              <a:off x="8068429" y="6376496"/>
              <a:ext cx="3810" cy="4445"/>
            </a:xfrm>
            <a:custGeom>
              <a:avLst/>
              <a:gdLst/>
              <a:ahLst/>
              <a:cxnLst/>
              <a:rect l="l" t="t" r="r" b="b"/>
              <a:pathLst>
                <a:path w="3809" h="4445">
                  <a:moveTo>
                    <a:pt x="2616" y="0"/>
                  </a:moveTo>
                  <a:lnTo>
                    <a:pt x="0" y="2349"/>
                  </a:lnTo>
                  <a:lnTo>
                    <a:pt x="546" y="4241"/>
                  </a:lnTo>
                  <a:lnTo>
                    <a:pt x="3225" y="1866"/>
                  </a:lnTo>
                  <a:lnTo>
                    <a:pt x="2616" y="0"/>
                  </a:lnTo>
                  <a:close/>
                </a:path>
              </a:pathLst>
            </a:custGeom>
            <a:solidFill>
              <a:srgbClr val="F6DD6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0" name="object 1142">
              <a:extLst>
                <a:ext uri="{FF2B5EF4-FFF2-40B4-BE49-F238E27FC236}">
                  <a16:creationId xmlns:a16="http://schemas.microsoft.com/office/drawing/2014/main" id="{0AE16353-3238-481F-AE20-AD8C0E9D0E0B}"/>
                </a:ext>
              </a:extLst>
            </p:cNvPr>
            <p:cNvSpPr/>
            <p:nvPr/>
          </p:nvSpPr>
          <p:spPr>
            <a:xfrm>
              <a:off x="8071045" y="6374173"/>
              <a:ext cx="3175" cy="4445"/>
            </a:xfrm>
            <a:custGeom>
              <a:avLst/>
              <a:gdLst/>
              <a:ahLst/>
              <a:cxnLst/>
              <a:rect l="l" t="t" r="r" b="b"/>
              <a:pathLst>
                <a:path w="3175" h="4445">
                  <a:moveTo>
                    <a:pt x="2489" y="0"/>
                  </a:moveTo>
                  <a:lnTo>
                    <a:pt x="0" y="2324"/>
                  </a:lnTo>
                  <a:lnTo>
                    <a:pt x="609" y="4190"/>
                  </a:lnTo>
                  <a:lnTo>
                    <a:pt x="3149" y="1816"/>
                  </a:lnTo>
                  <a:lnTo>
                    <a:pt x="2489" y="0"/>
                  </a:lnTo>
                  <a:close/>
                </a:path>
              </a:pathLst>
            </a:custGeom>
            <a:solidFill>
              <a:srgbClr val="F6DB6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1" name="object 1143">
              <a:extLst>
                <a:ext uri="{FF2B5EF4-FFF2-40B4-BE49-F238E27FC236}">
                  <a16:creationId xmlns:a16="http://schemas.microsoft.com/office/drawing/2014/main" id="{08F05F22-B290-4D04-9470-B7970EF1BA95}"/>
                </a:ext>
              </a:extLst>
            </p:cNvPr>
            <p:cNvSpPr/>
            <p:nvPr/>
          </p:nvSpPr>
          <p:spPr>
            <a:xfrm>
              <a:off x="8073529" y="6371855"/>
              <a:ext cx="3175" cy="4445"/>
            </a:xfrm>
            <a:custGeom>
              <a:avLst/>
              <a:gdLst/>
              <a:ahLst/>
              <a:cxnLst/>
              <a:rect l="l" t="t" r="r" b="b"/>
              <a:pathLst>
                <a:path w="3175" h="4445">
                  <a:moveTo>
                    <a:pt x="2349" y="0"/>
                  </a:moveTo>
                  <a:lnTo>
                    <a:pt x="0" y="2311"/>
                  </a:lnTo>
                  <a:lnTo>
                    <a:pt x="660" y="4127"/>
                  </a:lnTo>
                  <a:lnTo>
                    <a:pt x="3047" y="1765"/>
                  </a:lnTo>
                  <a:lnTo>
                    <a:pt x="2349" y="0"/>
                  </a:lnTo>
                  <a:close/>
                </a:path>
              </a:pathLst>
            </a:custGeom>
            <a:solidFill>
              <a:srgbClr val="F4D96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2" name="object 1144">
              <a:extLst>
                <a:ext uri="{FF2B5EF4-FFF2-40B4-BE49-F238E27FC236}">
                  <a16:creationId xmlns:a16="http://schemas.microsoft.com/office/drawing/2014/main" id="{2ED8E518-54E0-4B66-9E23-B03AB316C483}"/>
                </a:ext>
              </a:extLst>
            </p:cNvPr>
            <p:cNvSpPr/>
            <p:nvPr/>
          </p:nvSpPr>
          <p:spPr>
            <a:xfrm>
              <a:off x="8075877" y="6369533"/>
              <a:ext cx="3175" cy="4445"/>
            </a:xfrm>
            <a:custGeom>
              <a:avLst/>
              <a:gdLst/>
              <a:ahLst/>
              <a:cxnLst/>
              <a:rect l="l" t="t" r="r" b="b"/>
              <a:pathLst>
                <a:path w="3175" h="4445">
                  <a:moveTo>
                    <a:pt x="2209" y="0"/>
                  </a:moveTo>
                  <a:lnTo>
                    <a:pt x="0" y="2324"/>
                  </a:lnTo>
                  <a:lnTo>
                    <a:pt x="698" y="4089"/>
                  </a:lnTo>
                  <a:lnTo>
                    <a:pt x="2959" y="1714"/>
                  </a:lnTo>
                  <a:lnTo>
                    <a:pt x="2209" y="0"/>
                  </a:lnTo>
                  <a:close/>
                </a:path>
              </a:pathLst>
            </a:custGeom>
            <a:solidFill>
              <a:srgbClr val="F3D9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3" name="object 1145">
              <a:extLst>
                <a:ext uri="{FF2B5EF4-FFF2-40B4-BE49-F238E27FC236}">
                  <a16:creationId xmlns:a16="http://schemas.microsoft.com/office/drawing/2014/main" id="{F8EAABDD-AEB1-4EB6-89C1-C51522D28259}"/>
                </a:ext>
              </a:extLst>
            </p:cNvPr>
            <p:cNvSpPr/>
            <p:nvPr/>
          </p:nvSpPr>
          <p:spPr>
            <a:xfrm>
              <a:off x="8078090" y="6367212"/>
              <a:ext cx="3175" cy="4445"/>
            </a:xfrm>
            <a:custGeom>
              <a:avLst/>
              <a:gdLst/>
              <a:ahLst/>
              <a:cxnLst/>
              <a:rect l="l" t="t" r="r" b="b"/>
              <a:pathLst>
                <a:path w="3175" h="4445">
                  <a:moveTo>
                    <a:pt x="2082" y="0"/>
                  </a:moveTo>
                  <a:lnTo>
                    <a:pt x="0" y="2324"/>
                  </a:lnTo>
                  <a:lnTo>
                    <a:pt x="749" y="4038"/>
                  </a:lnTo>
                  <a:lnTo>
                    <a:pt x="2870" y="1676"/>
                  </a:lnTo>
                  <a:lnTo>
                    <a:pt x="2082" y="0"/>
                  </a:lnTo>
                  <a:close/>
                </a:path>
              </a:pathLst>
            </a:custGeom>
            <a:solidFill>
              <a:srgbClr val="F1D86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4" name="object 1146">
              <a:extLst>
                <a:ext uri="{FF2B5EF4-FFF2-40B4-BE49-F238E27FC236}">
                  <a16:creationId xmlns:a16="http://schemas.microsoft.com/office/drawing/2014/main" id="{066E3C89-B18B-4E4E-9D24-E4CD8F12F423}"/>
                </a:ext>
              </a:extLst>
            </p:cNvPr>
            <p:cNvSpPr/>
            <p:nvPr/>
          </p:nvSpPr>
          <p:spPr>
            <a:xfrm>
              <a:off x="8080166" y="6364885"/>
              <a:ext cx="3175" cy="4445"/>
            </a:xfrm>
            <a:custGeom>
              <a:avLst/>
              <a:gdLst/>
              <a:ahLst/>
              <a:cxnLst/>
              <a:rect l="l" t="t" r="r" b="b"/>
              <a:pathLst>
                <a:path w="3175" h="4445">
                  <a:moveTo>
                    <a:pt x="1955" y="0"/>
                  </a:moveTo>
                  <a:lnTo>
                    <a:pt x="0" y="2324"/>
                  </a:lnTo>
                  <a:lnTo>
                    <a:pt x="787" y="4000"/>
                  </a:lnTo>
                  <a:lnTo>
                    <a:pt x="2781" y="1625"/>
                  </a:lnTo>
                  <a:lnTo>
                    <a:pt x="1955" y="0"/>
                  </a:lnTo>
                  <a:close/>
                </a:path>
              </a:pathLst>
            </a:custGeom>
            <a:solidFill>
              <a:srgbClr val="F0D66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5" name="object 1147">
              <a:extLst>
                <a:ext uri="{FF2B5EF4-FFF2-40B4-BE49-F238E27FC236}">
                  <a16:creationId xmlns:a16="http://schemas.microsoft.com/office/drawing/2014/main" id="{3100FDC3-C59E-4C04-8122-24D5A3C69153}"/>
                </a:ext>
              </a:extLst>
            </p:cNvPr>
            <p:cNvSpPr/>
            <p:nvPr/>
          </p:nvSpPr>
          <p:spPr>
            <a:xfrm>
              <a:off x="8082117" y="6362541"/>
              <a:ext cx="3175" cy="4445"/>
            </a:xfrm>
            <a:custGeom>
              <a:avLst/>
              <a:gdLst/>
              <a:ahLst/>
              <a:cxnLst/>
              <a:rect l="l" t="t" r="r" b="b"/>
              <a:pathLst>
                <a:path w="3175" h="4445">
                  <a:moveTo>
                    <a:pt x="1828" y="0"/>
                  </a:moveTo>
                  <a:lnTo>
                    <a:pt x="0" y="2349"/>
                  </a:lnTo>
                  <a:lnTo>
                    <a:pt x="838" y="3962"/>
                  </a:lnTo>
                  <a:lnTo>
                    <a:pt x="2692" y="1574"/>
                  </a:lnTo>
                  <a:lnTo>
                    <a:pt x="1828" y="0"/>
                  </a:lnTo>
                  <a:close/>
                </a:path>
              </a:pathLst>
            </a:custGeom>
            <a:solidFill>
              <a:srgbClr val="EED56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6" name="object 1148">
              <a:extLst>
                <a:ext uri="{FF2B5EF4-FFF2-40B4-BE49-F238E27FC236}">
                  <a16:creationId xmlns:a16="http://schemas.microsoft.com/office/drawing/2014/main" id="{ADEDE146-CF40-489B-A997-D7779E93A367}"/>
                </a:ext>
              </a:extLst>
            </p:cNvPr>
            <p:cNvSpPr/>
            <p:nvPr/>
          </p:nvSpPr>
          <p:spPr>
            <a:xfrm>
              <a:off x="8083952" y="6360175"/>
              <a:ext cx="3175" cy="4445"/>
            </a:xfrm>
            <a:custGeom>
              <a:avLst/>
              <a:gdLst/>
              <a:ahLst/>
              <a:cxnLst/>
              <a:rect l="l" t="t" r="r" b="b"/>
              <a:pathLst>
                <a:path w="3175" h="4445">
                  <a:moveTo>
                    <a:pt x="1701" y="0"/>
                  </a:moveTo>
                  <a:lnTo>
                    <a:pt x="0" y="2362"/>
                  </a:lnTo>
                  <a:lnTo>
                    <a:pt x="863" y="3937"/>
                  </a:lnTo>
                  <a:lnTo>
                    <a:pt x="2590" y="1524"/>
                  </a:lnTo>
                  <a:lnTo>
                    <a:pt x="1701" y="0"/>
                  </a:lnTo>
                  <a:close/>
                </a:path>
              </a:pathLst>
            </a:custGeom>
            <a:solidFill>
              <a:srgbClr val="EAD26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7" name="object 1149">
              <a:extLst>
                <a:ext uri="{FF2B5EF4-FFF2-40B4-BE49-F238E27FC236}">
                  <a16:creationId xmlns:a16="http://schemas.microsoft.com/office/drawing/2014/main" id="{2FE94055-8F49-4FE0-82D6-07316FD7A06D}"/>
                </a:ext>
              </a:extLst>
            </p:cNvPr>
            <p:cNvSpPr/>
            <p:nvPr/>
          </p:nvSpPr>
          <p:spPr>
            <a:xfrm>
              <a:off x="8085660" y="6357797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1574" y="0"/>
                  </a:moveTo>
                  <a:lnTo>
                    <a:pt x="0" y="2374"/>
                  </a:lnTo>
                  <a:lnTo>
                    <a:pt x="889" y="3911"/>
                  </a:lnTo>
                  <a:lnTo>
                    <a:pt x="2501" y="1473"/>
                  </a:lnTo>
                  <a:lnTo>
                    <a:pt x="1574" y="0"/>
                  </a:lnTo>
                  <a:close/>
                </a:path>
              </a:pathLst>
            </a:custGeom>
            <a:solidFill>
              <a:srgbClr val="E8CF5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8" name="object 1150">
              <a:extLst>
                <a:ext uri="{FF2B5EF4-FFF2-40B4-BE49-F238E27FC236}">
                  <a16:creationId xmlns:a16="http://schemas.microsoft.com/office/drawing/2014/main" id="{606065F0-9C34-45B6-8862-3DCEBF068A89}"/>
                </a:ext>
              </a:extLst>
            </p:cNvPr>
            <p:cNvSpPr/>
            <p:nvPr/>
          </p:nvSpPr>
          <p:spPr>
            <a:xfrm>
              <a:off x="8087238" y="6355380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1460" y="0"/>
                  </a:moveTo>
                  <a:lnTo>
                    <a:pt x="0" y="2412"/>
                  </a:lnTo>
                  <a:lnTo>
                    <a:pt x="927" y="3886"/>
                  </a:lnTo>
                  <a:lnTo>
                    <a:pt x="2425" y="1435"/>
                  </a:lnTo>
                  <a:lnTo>
                    <a:pt x="1460" y="0"/>
                  </a:lnTo>
                  <a:close/>
                </a:path>
              </a:pathLst>
            </a:custGeom>
            <a:solidFill>
              <a:srgbClr val="E4CC5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59" name="object 1151">
              <a:extLst>
                <a:ext uri="{FF2B5EF4-FFF2-40B4-BE49-F238E27FC236}">
                  <a16:creationId xmlns:a16="http://schemas.microsoft.com/office/drawing/2014/main" id="{51EAFBDD-774F-4CAD-B595-B4C5661771B8}"/>
                </a:ext>
              </a:extLst>
            </p:cNvPr>
            <p:cNvSpPr/>
            <p:nvPr/>
          </p:nvSpPr>
          <p:spPr>
            <a:xfrm>
              <a:off x="8088703" y="6352937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1346" y="0"/>
                  </a:moveTo>
                  <a:lnTo>
                    <a:pt x="0" y="2438"/>
                  </a:lnTo>
                  <a:lnTo>
                    <a:pt x="952" y="3873"/>
                  </a:lnTo>
                  <a:lnTo>
                    <a:pt x="2336" y="1384"/>
                  </a:lnTo>
                  <a:lnTo>
                    <a:pt x="1346" y="0"/>
                  </a:lnTo>
                  <a:close/>
                </a:path>
              </a:pathLst>
            </a:custGeom>
            <a:solidFill>
              <a:srgbClr val="E1C95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0" name="object 1152">
              <a:extLst>
                <a:ext uri="{FF2B5EF4-FFF2-40B4-BE49-F238E27FC236}">
                  <a16:creationId xmlns:a16="http://schemas.microsoft.com/office/drawing/2014/main" id="{4319936B-B0A2-4BA7-979A-4217090C7D56}"/>
                </a:ext>
              </a:extLst>
            </p:cNvPr>
            <p:cNvSpPr/>
            <p:nvPr/>
          </p:nvSpPr>
          <p:spPr>
            <a:xfrm>
              <a:off x="8090056" y="6350460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1231" y="0"/>
                  </a:moveTo>
                  <a:lnTo>
                    <a:pt x="0" y="2476"/>
                  </a:lnTo>
                  <a:lnTo>
                    <a:pt x="977" y="3860"/>
                  </a:lnTo>
                  <a:lnTo>
                    <a:pt x="2247" y="1333"/>
                  </a:lnTo>
                  <a:lnTo>
                    <a:pt x="1231" y="0"/>
                  </a:lnTo>
                  <a:close/>
                </a:path>
              </a:pathLst>
            </a:custGeom>
            <a:solidFill>
              <a:srgbClr val="DEC75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1" name="object 1153">
              <a:extLst>
                <a:ext uri="{FF2B5EF4-FFF2-40B4-BE49-F238E27FC236}">
                  <a16:creationId xmlns:a16="http://schemas.microsoft.com/office/drawing/2014/main" id="{A487787B-FA48-4286-9AD2-985BD2BC15F9}"/>
                </a:ext>
              </a:extLst>
            </p:cNvPr>
            <p:cNvSpPr/>
            <p:nvPr/>
          </p:nvSpPr>
          <p:spPr>
            <a:xfrm>
              <a:off x="8091282" y="6347933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1130" y="0"/>
                  </a:moveTo>
                  <a:lnTo>
                    <a:pt x="0" y="2527"/>
                  </a:lnTo>
                  <a:lnTo>
                    <a:pt x="1016" y="3860"/>
                  </a:lnTo>
                  <a:lnTo>
                    <a:pt x="2159" y="1295"/>
                  </a:lnTo>
                  <a:lnTo>
                    <a:pt x="1130" y="0"/>
                  </a:lnTo>
                  <a:close/>
                </a:path>
              </a:pathLst>
            </a:custGeom>
            <a:solidFill>
              <a:srgbClr val="D9C35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2" name="object 1154">
              <a:extLst>
                <a:ext uri="{FF2B5EF4-FFF2-40B4-BE49-F238E27FC236}">
                  <a16:creationId xmlns:a16="http://schemas.microsoft.com/office/drawing/2014/main" id="{4E5BF96F-C206-4D2E-96DB-C6B3E0F01893}"/>
                </a:ext>
              </a:extLst>
            </p:cNvPr>
            <p:cNvSpPr/>
            <p:nvPr/>
          </p:nvSpPr>
          <p:spPr>
            <a:xfrm>
              <a:off x="8092416" y="6345367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1016" y="0"/>
                  </a:moveTo>
                  <a:lnTo>
                    <a:pt x="0" y="2565"/>
                  </a:lnTo>
                  <a:lnTo>
                    <a:pt x="1028" y="3860"/>
                  </a:lnTo>
                  <a:lnTo>
                    <a:pt x="2070" y="1231"/>
                  </a:lnTo>
                  <a:lnTo>
                    <a:pt x="1016" y="0"/>
                  </a:lnTo>
                  <a:close/>
                </a:path>
              </a:pathLst>
            </a:custGeom>
            <a:solidFill>
              <a:srgbClr val="D6C05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3" name="object 1155">
              <a:extLst>
                <a:ext uri="{FF2B5EF4-FFF2-40B4-BE49-F238E27FC236}">
                  <a16:creationId xmlns:a16="http://schemas.microsoft.com/office/drawing/2014/main" id="{8B55FBE2-A3D2-4A99-9C5A-9D2005042F61}"/>
                </a:ext>
              </a:extLst>
            </p:cNvPr>
            <p:cNvSpPr/>
            <p:nvPr/>
          </p:nvSpPr>
          <p:spPr>
            <a:xfrm>
              <a:off x="8093436" y="6342740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914" y="0"/>
                  </a:moveTo>
                  <a:lnTo>
                    <a:pt x="0" y="2628"/>
                  </a:lnTo>
                  <a:lnTo>
                    <a:pt x="1054" y="3860"/>
                  </a:lnTo>
                  <a:lnTo>
                    <a:pt x="1981" y="1181"/>
                  </a:lnTo>
                  <a:lnTo>
                    <a:pt x="914" y="0"/>
                  </a:lnTo>
                  <a:close/>
                </a:path>
              </a:pathLst>
            </a:custGeom>
            <a:solidFill>
              <a:srgbClr val="D2BC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4" name="object 1156">
              <a:extLst>
                <a:ext uri="{FF2B5EF4-FFF2-40B4-BE49-F238E27FC236}">
                  <a16:creationId xmlns:a16="http://schemas.microsoft.com/office/drawing/2014/main" id="{FB3061B8-05F1-469E-A204-7F0A6E0014F1}"/>
                </a:ext>
              </a:extLst>
            </p:cNvPr>
            <p:cNvSpPr/>
            <p:nvPr/>
          </p:nvSpPr>
          <p:spPr>
            <a:xfrm>
              <a:off x="8094348" y="6340066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812" y="0"/>
                  </a:moveTo>
                  <a:lnTo>
                    <a:pt x="0" y="2679"/>
                  </a:lnTo>
                  <a:lnTo>
                    <a:pt x="1079" y="3860"/>
                  </a:lnTo>
                  <a:lnTo>
                    <a:pt x="1904" y="1130"/>
                  </a:lnTo>
                  <a:lnTo>
                    <a:pt x="812" y="0"/>
                  </a:lnTo>
                  <a:close/>
                </a:path>
              </a:pathLst>
            </a:custGeom>
            <a:solidFill>
              <a:srgbClr val="CEBA5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5" name="object 1157">
              <a:extLst>
                <a:ext uri="{FF2B5EF4-FFF2-40B4-BE49-F238E27FC236}">
                  <a16:creationId xmlns:a16="http://schemas.microsoft.com/office/drawing/2014/main" id="{D6F051AD-D41F-4D45-BD7A-1A405F299C3F}"/>
                </a:ext>
              </a:extLst>
            </p:cNvPr>
            <p:cNvSpPr/>
            <p:nvPr/>
          </p:nvSpPr>
          <p:spPr>
            <a:xfrm>
              <a:off x="8095155" y="6337331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723" y="0"/>
                  </a:moveTo>
                  <a:lnTo>
                    <a:pt x="0" y="2730"/>
                  </a:lnTo>
                  <a:lnTo>
                    <a:pt x="1104" y="3860"/>
                  </a:lnTo>
                  <a:lnTo>
                    <a:pt x="1828" y="1066"/>
                  </a:lnTo>
                  <a:lnTo>
                    <a:pt x="723" y="0"/>
                  </a:lnTo>
                  <a:close/>
                </a:path>
              </a:pathLst>
            </a:custGeom>
            <a:solidFill>
              <a:srgbClr val="C9B5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6" name="object 1158">
              <a:extLst>
                <a:ext uri="{FF2B5EF4-FFF2-40B4-BE49-F238E27FC236}">
                  <a16:creationId xmlns:a16="http://schemas.microsoft.com/office/drawing/2014/main" id="{BDB2882F-D51C-4C46-BC75-9CE814E06441}"/>
                </a:ext>
              </a:extLst>
            </p:cNvPr>
            <p:cNvSpPr/>
            <p:nvPr/>
          </p:nvSpPr>
          <p:spPr>
            <a:xfrm>
              <a:off x="8095874" y="6334522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622" y="0"/>
                  </a:moveTo>
                  <a:lnTo>
                    <a:pt x="0" y="2806"/>
                  </a:lnTo>
                  <a:lnTo>
                    <a:pt x="1104" y="3886"/>
                  </a:lnTo>
                  <a:lnTo>
                    <a:pt x="1739" y="1016"/>
                  </a:lnTo>
                  <a:lnTo>
                    <a:pt x="622" y="0"/>
                  </a:lnTo>
                  <a:close/>
                </a:path>
              </a:pathLst>
            </a:custGeom>
            <a:solidFill>
              <a:srgbClr val="C4B04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7" name="object 1159">
              <a:extLst>
                <a:ext uri="{FF2B5EF4-FFF2-40B4-BE49-F238E27FC236}">
                  <a16:creationId xmlns:a16="http://schemas.microsoft.com/office/drawing/2014/main" id="{81CFCC71-A322-430B-A672-54A2EC6C28F9}"/>
                </a:ext>
              </a:extLst>
            </p:cNvPr>
            <p:cNvSpPr/>
            <p:nvPr/>
          </p:nvSpPr>
          <p:spPr>
            <a:xfrm>
              <a:off x="8096500" y="6331651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520" y="0"/>
                  </a:moveTo>
                  <a:lnTo>
                    <a:pt x="0" y="2870"/>
                  </a:lnTo>
                  <a:lnTo>
                    <a:pt x="1117" y="3886"/>
                  </a:lnTo>
                  <a:lnTo>
                    <a:pt x="1651" y="952"/>
                  </a:lnTo>
                  <a:lnTo>
                    <a:pt x="520" y="0"/>
                  </a:lnTo>
                  <a:close/>
                </a:path>
              </a:pathLst>
            </a:custGeom>
            <a:solidFill>
              <a:srgbClr val="C0AD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8" name="object 1160">
              <a:extLst>
                <a:ext uri="{FF2B5EF4-FFF2-40B4-BE49-F238E27FC236}">
                  <a16:creationId xmlns:a16="http://schemas.microsoft.com/office/drawing/2014/main" id="{5C5482BD-E6F7-4BEF-A34A-36BCB26C69F3}"/>
                </a:ext>
              </a:extLst>
            </p:cNvPr>
            <p:cNvSpPr/>
            <p:nvPr/>
          </p:nvSpPr>
          <p:spPr>
            <a:xfrm>
              <a:off x="8097019" y="6328702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431" y="0"/>
                  </a:moveTo>
                  <a:lnTo>
                    <a:pt x="0" y="2946"/>
                  </a:lnTo>
                  <a:lnTo>
                    <a:pt x="1130" y="3911"/>
                  </a:lnTo>
                  <a:lnTo>
                    <a:pt x="1562" y="889"/>
                  </a:lnTo>
                  <a:lnTo>
                    <a:pt x="431" y="0"/>
                  </a:lnTo>
                  <a:close/>
                </a:path>
              </a:pathLst>
            </a:custGeom>
            <a:solidFill>
              <a:srgbClr val="BDAA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69" name="object 1161">
              <a:extLst>
                <a:ext uri="{FF2B5EF4-FFF2-40B4-BE49-F238E27FC236}">
                  <a16:creationId xmlns:a16="http://schemas.microsoft.com/office/drawing/2014/main" id="{F36E5094-DE68-4E8B-BB19-6FAC221F7E6B}"/>
                </a:ext>
              </a:extLst>
            </p:cNvPr>
            <p:cNvSpPr/>
            <p:nvPr/>
          </p:nvSpPr>
          <p:spPr>
            <a:xfrm>
              <a:off x="8097453" y="6325670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342" y="0"/>
                  </a:moveTo>
                  <a:lnTo>
                    <a:pt x="0" y="3035"/>
                  </a:lnTo>
                  <a:lnTo>
                    <a:pt x="1130" y="3924"/>
                  </a:lnTo>
                  <a:lnTo>
                    <a:pt x="1485" y="838"/>
                  </a:lnTo>
                  <a:lnTo>
                    <a:pt x="342" y="0"/>
                  </a:lnTo>
                  <a:close/>
                </a:path>
              </a:pathLst>
            </a:custGeom>
            <a:solidFill>
              <a:srgbClr val="B7A54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0" name="object 1162">
              <a:extLst>
                <a:ext uri="{FF2B5EF4-FFF2-40B4-BE49-F238E27FC236}">
                  <a16:creationId xmlns:a16="http://schemas.microsoft.com/office/drawing/2014/main" id="{FAF076C1-D67F-4F02-814D-7BA9630CCB0E}"/>
                </a:ext>
              </a:extLst>
            </p:cNvPr>
            <p:cNvSpPr/>
            <p:nvPr/>
          </p:nvSpPr>
          <p:spPr>
            <a:xfrm>
              <a:off x="8097790" y="6322556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266" y="0"/>
                  </a:moveTo>
                  <a:lnTo>
                    <a:pt x="0" y="3111"/>
                  </a:lnTo>
                  <a:lnTo>
                    <a:pt x="1155" y="3949"/>
                  </a:lnTo>
                  <a:lnTo>
                    <a:pt x="1409" y="774"/>
                  </a:lnTo>
                  <a:lnTo>
                    <a:pt x="266" y="0"/>
                  </a:lnTo>
                  <a:close/>
                </a:path>
              </a:pathLst>
            </a:custGeom>
            <a:solidFill>
              <a:srgbClr val="B4A2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1" name="object 1163">
              <a:extLst>
                <a:ext uri="{FF2B5EF4-FFF2-40B4-BE49-F238E27FC236}">
                  <a16:creationId xmlns:a16="http://schemas.microsoft.com/office/drawing/2014/main" id="{653E2815-69CA-4A7D-AF26-1465780CC179}"/>
                </a:ext>
              </a:extLst>
            </p:cNvPr>
            <p:cNvSpPr/>
            <p:nvPr/>
          </p:nvSpPr>
          <p:spPr>
            <a:xfrm>
              <a:off x="8098063" y="6319349"/>
              <a:ext cx="1905" cy="4445"/>
            </a:xfrm>
            <a:custGeom>
              <a:avLst/>
              <a:gdLst/>
              <a:ahLst/>
              <a:cxnLst/>
              <a:rect l="l" t="t" r="r" b="b"/>
              <a:pathLst>
                <a:path w="1904" h="4445">
                  <a:moveTo>
                    <a:pt x="165" y="0"/>
                  </a:moveTo>
                  <a:lnTo>
                    <a:pt x="0" y="3200"/>
                  </a:lnTo>
                  <a:lnTo>
                    <a:pt x="1143" y="3975"/>
                  </a:lnTo>
                  <a:lnTo>
                    <a:pt x="1320" y="711"/>
                  </a:lnTo>
                  <a:lnTo>
                    <a:pt x="165" y="0"/>
                  </a:lnTo>
                  <a:close/>
                </a:path>
              </a:pathLst>
            </a:custGeom>
            <a:solidFill>
              <a:srgbClr val="B09F4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2" name="object 1164">
              <a:extLst>
                <a:ext uri="{FF2B5EF4-FFF2-40B4-BE49-F238E27FC236}">
                  <a16:creationId xmlns:a16="http://schemas.microsoft.com/office/drawing/2014/main" id="{AE6FA40E-DE50-4F57-B90C-979A73711A0D}"/>
                </a:ext>
              </a:extLst>
            </p:cNvPr>
            <p:cNvSpPr/>
            <p:nvPr/>
          </p:nvSpPr>
          <p:spPr>
            <a:xfrm>
              <a:off x="8098221" y="6316050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101" y="0"/>
                  </a:moveTo>
                  <a:lnTo>
                    <a:pt x="0" y="3301"/>
                  </a:lnTo>
                  <a:lnTo>
                    <a:pt x="1155" y="4013"/>
                  </a:lnTo>
                  <a:lnTo>
                    <a:pt x="1257" y="647"/>
                  </a:lnTo>
                  <a:lnTo>
                    <a:pt x="101" y="0"/>
                  </a:lnTo>
                  <a:close/>
                </a:path>
              </a:pathLst>
            </a:custGeom>
            <a:solidFill>
              <a:srgbClr val="AD9C4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3" name="object 1165">
              <a:extLst>
                <a:ext uri="{FF2B5EF4-FFF2-40B4-BE49-F238E27FC236}">
                  <a16:creationId xmlns:a16="http://schemas.microsoft.com/office/drawing/2014/main" id="{5B9765F0-35E6-4984-BDFF-BAF5611F90A3}"/>
                </a:ext>
              </a:extLst>
            </p:cNvPr>
            <p:cNvSpPr/>
            <p:nvPr/>
          </p:nvSpPr>
          <p:spPr>
            <a:xfrm>
              <a:off x="7994015" y="6258932"/>
              <a:ext cx="24765" cy="25400"/>
            </a:xfrm>
            <a:custGeom>
              <a:avLst/>
              <a:gdLst/>
              <a:ahLst/>
              <a:cxnLst/>
              <a:rect l="l" t="t" r="r" b="b"/>
              <a:pathLst>
                <a:path w="24765" h="25400">
                  <a:moveTo>
                    <a:pt x="24765" y="12382"/>
                  </a:moveTo>
                  <a:lnTo>
                    <a:pt x="20116" y="11391"/>
                  </a:lnTo>
                  <a:lnTo>
                    <a:pt x="19113" y="11176"/>
                  </a:lnTo>
                  <a:lnTo>
                    <a:pt x="18630" y="11074"/>
                  </a:lnTo>
                  <a:lnTo>
                    <a:pt x="19050" y="9740"/>
                  </a:lnTo>
                  <a:lnTo>
                    <a:pt x="23202" y="9626"/>
                  </a:lnTo>
                  <a:lnTo>
                    <a:pt x="23456" y="9271"/>
                  </a:lnTo>
                  <a:lnTo>
                    <a:pt x="23647" y="9004"/>
                  </a:lnTo>
                  <a:lnTo>
                    <a:pt x="24028" y="8445"/>
                  </a:lnTo>
                  <a:lnTo>
                    <a:pt x="24130" y="8267"/>
                  </a:lnTo>
                  <a:lnTo>
                    <a:pt x="24282" y="7747"/>
                  </a:lnTo>
                  <a:lnTo>
                    <a:pt x="22999" y="8267"/>
                  </a:lnTo>
                  <a:lnTo>
                    <a:pt x="22186" y="8242"/>
                  </a:lnTo>
                  <a:lnTo>
                    <a:pt x="19405" y="7556"/>
                  </a:lnTo>
                  <a:lnTo>
                    <a:pt x="17729" y="9004"/>
                  </a:lnTo>
                  <a:lnTo>
                    <a:pt x="18935" y="7162"/>
                  </a:lnTo>
                  <a:lnTo>
                    <a:pt x="21285" y="3581"/>
                  </a:lnTo>
                  <a:lnTo>
                    <a:pt x="15976" y="7162"/>
                  </a:lnTo>
                  <a:lnTo>
                    <a:pt x="15659" y="6197"/>
                  </a:lnTo>
                  <a:lnTo>
                    <a:pt x="15443" y="5575"/>
                  </a:lnTo>
                  <a:lnTo>
                    <a:pt x="17564" y="3835"/>
                  </a:lnTo>
                  <a:lnTo>
                    <a:pt x="17856" y="1435"/>
                  </a:lnTo>
                  <a:lnTo>
                    <a:pt x="17564" y="876"/>
                  </a:lnTo>
                  <a:lnTo>
                    <a:pt x="17018" y="2159"/>
                  </a:lnTo>
                  <a:lnTo>
                    <a:pt x="16573" y="2819"/>
                  </a:lnTo>
                  <a:lnTo>
                    <a:pt x="13843" y="4102"/>
                  </a:lnTo>
                  <a:lnTo>
                    <a:pt x="13614" y="6197"/>
                  </a:lnTo>
                  <a:lnTo>
                    <a:pt x="13589" y="6045"/>
                  </a:lnTo>
                  <a:lnTo>
                    <a:pt x="12344" y="0"/>
                  </a:lnTo>
                  <a:lnTo>
                    <a:pt x="11125" y="6045"/>
                  </a:lnTo>
                  <a:lnTo>
                    <a:pt x="10452" y="5575"/>
                  </a:lnTo>
                  <a:lnTo>
                    <a:pt x="9829" y="5105"/>
                  </a:lnTo>
                  <a:lnTo>
                    <a:pt x="9626" y="2806"/>
                  </a:lnTo>
                  <a:lnTo>
                    <a:pt x="8470" y="647"/>
                  </a:lnTo>
                  <a:lnTo>
                    <a:pt x="7874" y="457"/>
                  </a:lnTo>
                  <a:lnTo>
                    <a:pt x="8242" y="1447"/>
                  </a:lnTo>
                  <a:lnTo>
                    <a:pt x="8318" y="2095"/>
                  </a:lnTo>
                  <a:lnTo>
                    <a:pt x="8293" y="2400"/>
                  </a:lnTo>
                  <a:lnTo>
                    <a:pt x="8255" y="2654"/>
                  </a:lnTo>
                  <a:lnTo>
                    <a:pt x="7569" y="5321"/>
                  </a:lnTo>
                  <a:lnTo>
                    <a:pt x="8420" y="6756"/>
                  </a:lnTo>
                  <a:lnTo>
                    <a:pt x="8851" y="7124"/>
                  </a:lnTo>
                  <a:lnTo>
                    <a:pt x="3378" y="3390"/>
                  </a:lnTo>
                  <a:lnTo>
                    <a:pt x="6819" y="8699"/>
                  </a:lnTo>
                  <a:lnTo>
                    <a:pt x="5410" y="9271"/>
                  </a:lnTo>
                  <a:lnTo>
                    <a:pt x="3568" y="7277"/>
                  </a:lnTo>
                  <a:lnTo>
                    <a:pt x="1181" y="6997"/>
                  </a:lnTo>
                  <a:lnTo>
                    <a:pt x="635" y="7302"/>
                  </a:lnTo>
                  <a:lnTo>
                    <a:pt x="1917" y="7823"/>
                  </a:lnTo>
                  <a:lnTo>
                    <a:pt x="2578" y="8445"/>
                  </a:lnTo>
                  <a:lnTo>
                    <a:pt x="3962" y="10756"/>
                  </a:lnTo>
                  <a:lnTo>
                    <a:pt x="5664" y="11290"/>
                  </a:lnTo>
                  <a:lnTo>
                    <a:pt x="12" y="12522"/>
                  </a:lnTo>
                  <a:lnTo>
                    <a:pt x="6108" y="13779"/>
                  </a:lnTo>
                  <a:lnTo>
                    <a:pt x="5600" y="14249"/>
                  </a:lnTo>
                  <a:lnTo>
                    <a:pt x="5461" y="14376"/>
                  </a:lnTo>
                  <a:lnTo>
                    <a:pt x="5537" y="14782"/>
                  </a:lnTo>
                  <a:lnTo>
                    <a:pt x="2324" y="14871"/>
                  </a:lnTo>
                  <a:lnTo>
                    <a:pt x="647" y="16154"/>
                  </a:lnTo>
                  <a:lnTo>
                    <a:pt x="457" y="16764"/>
                  </a:lnTo>
                  <a:lnTo>
                    <a:pt x="1752" y="16243"/>
                  </a:lnTo>
                  <a:lnTo>
                    <a:pt x="2806" y="16306"/>
                  </a:lnTo>
                  <a:lnTo>
                    <a:pt x="5092" y="16954"/>
                  </a:lnTo>
                  <a:lnTo>
                    <a:pt x="6451" y="16243"/>
                  </a:lnTo>
                  <a:lnTo>
                    <a:pt x="6908" y="16002"/>
                  </a:lnTo>
                  <a:lnTo>
                    <a:pt x="3390" y="21374"/>
                  </a:lnTo>
                  <a:lnTo>
                    <a:pt x="8902" y="17576"/>
                  </a:lnTo>
                  <a:lnTo>
                    <a:pt x="9309" y="18656"/>
                  </a:lnTo>
                  <a:lnTo>
                    <a:pt x="9245" y="18834"/>
                  </a:lnTo>
                  <a:lnTo>
                    <a:pt x="7035" y="21488"/>
                  </a:lnTo>
                  <a:lnTo>
                    <a:pt x="6756" y="23342"/>
                  </a:lnTo>
                  <a:lnTo>
                    <a:pt x="7048" y="23901"/>
                  </a:lnTo>
                  <a:lnTo>
                    <a:pt x="7620" y="22644"/>
                  </a:lnTo>
                  <a:lnTo>
                    <a:pt x="8140" y="22225"/>
                  </a:lnTo>
                  <a:lnTo>
                    <a:pt x="10756" y="20535"/>
                  </a:lnTo>
                  <a:lnTo>
                    <a:pt x="11074" y="18656"/>
                  </a:lnTo>
                  <a:lnTo>
                    <a:pt x="12331" y="24866"/>
                  </a:lnTo>
                  <a:lnTo>
                    <a:pt x="13601" y="18834"/>
                  </a:lnTo>
                  <a:lnTo>
                    <a:pt x="14020" y="19126"/>
                  </a:lnTo>
                  <a:lnTo>
                    <a:pt x="14757" y="19316"/>
                  </a:lnTo>
                  <a:lnTo>
                    <a:pt x="15087" y="22860"/>
                  </a:lnTo>
                  <a:lnTo>
                    <a:pt x="16217" y="24218"/>
                  </a:lnTo>
                  <a:lnTo>
                    <a:pt x="16814" y="24409"/>
                  </a:lnTo>
                  <a:lnTo>
                    <a:pt x="16395" y="23342"/>
                  </a:lnTo>
                  <a:lnTo>
                    <a:pt x="16319" y="22072"/>
                  </a:lnTo>
                  <a:lnTo>
                    <a:pt x="17081" y="19761"/>
                  </a:lnTo>
                  <a:lnTo>
                    <a:pt x="16675" y="18834"/>
                  </a:lnTo>
                  <a:lnTo>
                    <a:pt x="16598" y="18656"/>
                  </a:lnTo>
                  <a:lnTo>
                    <a:pt x="16306" y="17970"/>
                  </a:lnTo>
                  <a:lnTo>
                    <a:pt x="21247" y="21247"/>
                  </a:lnTo>
                  <a:lnTo>
                    <a:pt x="18834" y="17678"/>
                  </a:lnTo>
                  <a:lnTo>
                    <a:pt x="17703" y="16002"/>
                  </a:lnTo>
                  <a:lnTo>
                    <a:pt x="19215" y="15595"/>
                  </a:lnTo>
                  <a:lnTo>
                    <a:pt x="21247" y="17564"/>
                  </a:lnTo>
                  <a:lnTo>
                    <a:pt x="23456" y="18034"/>
                  </a:lnTo>
                  <a:lnTo>
                    <a:pt x="24028" y="17754"/>
                  </a:lnTo>
                  <a:lnTo>
                    <a:pt x="22758" y="17183"/>
                  </a:lnTo>
                  <a:lnTo>
                    <a:pt x="21907" y="16395"/>
                  </a:lnTo>
                  <a:lnTo>
                    <a:pt x="21615" y="15595"/>
                  </a:lnTo>
                  <a:lnTo>
                    <a:pt x="21107" y="14249"/>
                  </a:lnTo>
                  <a:lnTo>
                    <a:pt x="19507" y="13703"/>
                  </a:lnTo>
                  <a:lnTo>
                    <a:pt x="19164" y="13589"/>
                  </a:lnTo>
                  <a:lnTo>
                    <a:pt x="19570" y="13500"/>
                  </a:lnTo>
                  <a:lnTo>
                    <a:pt x="24765" y="12382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4" name="object 1166">
              <a:extLst>
                <a:ext uri="{FF2B5EF4-FFF2-40B4-BE49-F238E27FC236}">
                  <a16:creationId xmlns:a16="http://schemas.microsoft.com/office/drawing/2014/main" id="{0CCF59CA-0D0C-4C0A-8B6D-5E15F74E04BE}"/>
                </a:ext>
              </a:extLst>
            </p:cNvPr>
            <p:cNvSpPr/>
            <p:nvPr/>
          </p:nvSpPr>
          <p:spPr>
            <a:xfrm>
              <a:off x="7994029" y="6259422"/>
              <a:ext cx="12065" cy="16510"/>
            </a:xfrm>
            <a:custGeom>
              <a:avLst/>
              <a:gdLst/>
              <a:ahLst/>
              <a:cxnLst/>
              <a:rect l="l" t="t" r="r" b="b"/>
              <a:pathLst>
                <a:path w="12065" h="16509">
                  <a:moveTo>
                    <a:pt x="6045" y="15798"/>
                  </a:moveTo>
                  <a:lnTo>
                    <a:pt x="1638" y="15798"/>
                  </a:lnTo>
                  <a:lnTo>
                    <a:pt x="2667" y="15824"/>
                  </a:lnTo>
                  <a:lnTo>
                    <a:pt x="4927" y="16370"/>
                  </a:lnTo>
                  <a:lnTo>
                    <a:pt x="6045" y="15798"/>
                  </a:lnTo>
                  <a:close/>
                </a:path>
                <a:path w="12065" h="16509">
                  <a:moveTo>
                    <a:pt x="5635" y="10796"/>
                  </a:moveTo>
                  <a:lnTo>
                    <a:pt x="0" y="12026"/>
                  </a:lnTo>
                  <a:lnTo>
                    <a:pt x="6108" y="13284"/>
                  </a:lnTo>
                  <a:lnTo>
                    <a:pt x="5461" y="13881"/>
                  </a:lnTo>
                  <a:lnTo>
                    <a:pt x="5537" y="14287"/>
                  </a:lnTo>
                  <a:lnTo>
                    <a:pt x="2311" y="14376"/>
                  </a:lnTo>
                  <a:lnTo>
                    <a:pt x="647" y="15659"/>
                  </a:lnTo>
                  <a:lnTo>
                    <a:pt x="457" y="16268"/>
                  </a:lnTo>
                  <a:lnTo>
                    <a:pt x="1638" y="15798"/>
                  </a:lnTo>
                  <a:lnTo>
                    <a:pt x="6045" y="15798"/>
                  </a:lnTo>
                  <a:lnTo>
                    <a:pt x="6642" y="15494"/>
                  </a:lnTo>
                  <a:lnTo>
                    <a:pt x="6959" y="15379"/>
                  </a:lnTo>
                  <a:lnTo>
                    <a:pt x="11087" y="15049"/>
                  </a:lnTo>
                  <a:lnTo>
                    <a:pt x="11507" y="10896"/>
                  </a:lnTo>
                  <a:lnTo>
                    <a:pt x="5943" y="10896"/>
                  </a:lnTo>
                  <a:lnTo>
                    <a:pt x="5635" y="10796"/>
                  </a:lnTo>
                  <a:close/>
                </a:path>
                <a:path w="12065" h="16509">
                  <a:moveTo>
                    <a:pt x="6223" y="10668"/>
                  </a:moveTo>
                  <a:lnTo>
                    <a:pt x="5635" y="10796"/>
                  </a:lnTo>
                  <a:lnTo>
                    <a:pt x="5943" y="10896"/>
                  </a:lnTo>
                  <a:lnTo>
                    <a:pt x="6223" y="10668"/>
                  </a:lnTo>
                  <a:close/>
                </a:path>
                <a:path w="12065" h="16509">
                  <a:moveTo>
                    <a:pt x="11530" y="10668"/>
                  </a:moveTo>
                  <a:lnTo>
                    <a:pt x="6223" y="10668"/>
                  </a:lnTo>
                  <a:lnTo>
                    <a:pt x="5943" y="10896"/>
                  </a:lnTo>
                  <a:lnTo>
                    <a:pt x="11507" y="10896"/>
                  </a:lnTo>
                  <a:lnTo>
                    <a:pt x="11530" y="10668"/>
                  </a:lnTo>
                  <a:close/>
                </a:path>
                <a:path w="12065" h="16509">
                  <a:moveTo>
                    <a:pt x="1181" y="6502"/>
                  </a:moveTo>
                  <a:lnTo>
                    <a:pt x="635" y="6807"/>
                  </a:lnTo>
                  <a:lnTo>
                    <a:pt x="1917" y="7315"/>
                  </a:lnTo>
                  <a:lnTo>
                    <a:pt x="2578" y="7950"/>
                  </a:lnTo>
                  <a:lnTo>
                    <a:pt x="3949" y="10248"/>
                  </a:lnTo>
                  <a:lnTo>
                    <a:pt x="5635" y="10796"/>
                  </a:lnTo>
                  <a:lnTo>
                    <a:pt x="6223" y="10668"/>
                  </a:lnTo>
                  <a:lnTo>
                    <a:pt x="11530" y="10668"/>
                  </a:lnTo>
                  <a:lnTo>
                    <a:pt x="11726" y="8775"/>
                  </a:lnTo>
                  <a:lnTo>
                    <a:pt x="5397" y="8775"/>
                  </a:lnTo>
                  <a:lnTo>
                    <a:pt x="3556" y="6781"/>
                  </a:lnTo>
                  <a:lnTo>
                    <a:pt x="1181" y="6502"/>
                  </a:lnTo>
                  <a:close/>
                </a:path>
                <a:path w="12065" h="16509">
                  <a:moveTo>
                    <a:pt x="3365" y="2895"/>
                  </a:moveTo>
                  <a:lnTo>
                    <a:pt x="6819" y="8204"/>
                  </a:lnTo>
                  <a:lnTo>
                    <a:pt x="5397" y="8775"/>
                  </a:lnTo>
                  <a:lnTo>
                    <a:pt x="11726" y="8775"/>
                  </a:lnTo>
                  <a:lnTo>
                    <a:pt x="11948" y="6629"/>
                  </a:lnTo>
                  <a:lnTo>
                    <a:pt x="8839" y="6629"/>
                  </a:lnTo>
                  <a:lnTo>
                    <a:pt x="3365" y="2895"/>
                  </a:lnTo>
                  <a:close/>
                </a:path>
                <a:path w="12065" h="16509">
                  <a:moveTo>
                    <a:pt x="7899" y="0"/>
                  </a:moveTo>
                  <a:lnTo>
                    <a:pt x="8267" y="711"/>
                  </a:lnTo>
                  <a:lnTo>
                    <a:pt x="8267" y="2184"/>
                  </a:lnTo>
                  <a:lnTo>
                    <a:pt x="7581" y="4787"/>
                  </a:lnTo>
                  <a:lnTo>
                    <a:pt x="8458" y="6286"/>
                  </a:lnTo>
                  <a:lnTo>
                    <a:pt x="8839" y="6629"/>
                  </a:lnTo>
                  <a:lnTo>
                    <a:pt x="11948" y="6629"/>
                  </a:lnTo>
                  <a:lnTo>
                    <a:pt x="10934" y="5905"/>
                  </a:lnTo>
                  <a:lnTo>
                    <a:pt x="9766" y="4940"/>
                  </a:lnTo>
                  <a:lnTo>
                    <a:pt x="9575" y="2832"/>
                  </a:lnTo>
                  <a:lnTo>
                    <a:pt x="8445" y="190"/>
                  </a:lnTo>
                  <a:lnTo>
                    <a:pt x="7899" y="0"/>
                  </a:lnTo>
                  <a:close/>
                </a:path>
              </a:pathLst>
            </a:custGeom>
            <a:solidFill>
              <a:srgbClr val="FFD52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5" name="object 1167">
              <a:extLst>
                <a:ext uri="{FF2B5EF4-FFF2-40B4-BE49-F238E27FC236}">
                  <a16:creationId xmlns:a16="http://schemas.microsoft.com/office/drawing/2014/main" id="{23E76A67-CEBF-4605-A878-4AF0B7C2B46B}"/>
                </a:ext>
              </a:extLst>
            </p:cNvPr>
            <p:cNvSpPr/>
            <p:nvPr/>
          </p:nvSpPr>
          <p:spPr>
            <a:xfrm>
              <a:off x="7994035" y="6259786"/>
              <a:ext cx="12065" cy="16510"/>
            </a:xfrm>
            <a:custGeom>
              <a:avLst/>
              <a:gdLst/>
              <a:ahLst/>
              <a:cxnLst/>
              <a:rect l="l" t="t" r="r" b="b"/>
              <a:pathLst>
                <a:path w="12065" h="16509">
                  <a:moveTo>
                    <a:pt x="5648" y="10434"/>
                  </a:moveTo>
                  <a:lnTo>
                    <a:pt x="0" y="11658"/>
                  </a:lnTo>
                  <a:lnTo>
                    <a:pt x="6095" y="12915"/>
                  </a:lnTo>
                  <a:lnTo>
                    <a:pt x="5448" y="13512"/>
                  </a:lnTo>
                  <a:lnTo>
                    <a:pt x="5537" y="13919"/>
                  </a:lnTo>
                  <a:lnTo>
                    <a:pt x="2311" y="14008"/>
                  </a:lnTo>
                  <a:lnTo>
                    <a:pt x="634" y="15290"/>
                  </a:lnTo>
                  <a:lnTo>
                    <a:pt x="444" y="15900"/>
                  </a:lnTo>
                  <a:lnTo>
                    <a:pt x="1536" y="15468"/>
                  </a:lnTo>
                  <a:lnTo>
                    <a:pt x="5641" y="15468"/>
                  </a:lnTo>
                  <a:lnTo>
                    <a:pt x="6375" y="15112"/>
                  </a:lnTo>
                  <a:lnTo>
                    <a:pt x="7023" y="14884"/>
                  </a:lnTo>
                  <a:lnTo>
                    <a:pt x="10845" y="14452"/>
                  </a:lnTo>
                  <a:lnTo>
                    <a:pt x="11243" y="10528"/>
                  </a:lnTo>
                  <a:lnTo>
                    <a:pt x="5943" y="10528"/>
                  </a:lnTo>
                  <a:lnTo>
                    <a:pt x="5648" y="10434"/>
                  </a:lnTo>
                  <a:close/>
                </a:path>
                <a:path w="12065" h="16509">
                  <a:moveTo>
                    <a:pt x="5641" y="15468"/>
                  </a:moveTo>
                  <a:lnTo>
                    <a:pt x="1536" y="15468"/>
                  </a:lnTo>
                  <a:lnTo>
                    <a:pt x="2539" y="15481"/>
                  </a:lnTo>
                  <a:lnTo>
                    <a:pt x="4749" y="15900"/>
                  </a:lnTo>
                  <a:lnTo>
                    <a:pt x="5641" y="15468"/>
                  </a:lnTo>
                  <a:close/>
                </a:path>
                <a:path w="12065" h="16509">
                  <a:moveTo>
                    <a:pt x="6210" y="10312"/>
                  </a:moveTo>
                  <a:lnTo>
                    <a:pt x="5648" y="10434"/>
                  </a:lnTo>
                  <a:lnTo>
                    <a:pt x="5943" y="10528"/>
                  </a:lnTo>
                  <a:lnTo>
                    <a:pt x="6210" y="10312"/>
                  </a:lnTo>
                  <a:close/>
                </a:path>
                <a:path w="12065" h="16509">
                  <a:moveTo>
                    <a:pt x="11265" y="10312"/>
                  </a:moveTo>
                  <a:lnTo>
                    <a:pt x="6210" y="10312"/>
                  </a:lnTo>
                  <a:lnTo>
                    <a:pt x="5943" y="10528"/>
                  </a:lnTo>
                  <a:lnTo>
                    <a:pt x="11243" y="10528"/>
                  </a:lnTo>
                  <a:lnTo>
                    <a:pt x="11265" y="10312"/>
                  </a:lnTo>
                  <a:close/>
                </a:path>
                <a:path w="12065" h="16509">
                  <a:moveTo>
                    <a:pt x="1168" y="6134"/>
                  </a:moveTo>
                  <a:lnTo>
                    <a:pt x="622" y="6438"/>
                  </a:lnTo>
                  <a:lnTo>
                    <a:pt x="1904" y="6959"/>
                  </a:lnTo>
                  <a:lnTo>
                    <a:pt x="2565" y="7581"/>
                  </a:lnTo>
                  <a:lnTo>
                    <a:pt x="3949" y="9893"/>
                  </a:lnTo>
                  <a:lnTo>
                    <a:pt x="5648" y="10434"/>
                  </a:lnTo>
                  <a:lnTo>
                    <a:pt x="6210" y="10312"/>
                  </a:lnTo>
                  <a:lnTo>
                    <a:pt x="11265" y="10312"/>
                  </a:lnTo>
                  <a:lnTo>
                    <a:pt x="11462" y="8407"/>
                  </a:lnTo>
                  <a:lnTo>
                    <a:pt x="5397" y="8407"/>
                  </a:lnTo>
                  <a:lnTo>
                    <a:pt x="3555" y="6413"/>
                  </a:lnTo>
                  <a:lnTo>
                    <a:pt x="1168" y="6134"/>
                  </a:lnTo>
                  <a:close/>
                </a:path>
                <a:path w="12065" h="16509">
                  <a:moveTo>
                    <a:pt x="3365" y="2527"/>
                  </a:moveTo>
                  <a:lnTo>
                    <a:pt x="6807" y="7835"/>
                  </a:lnTo>
                  <a:lnTo>
                    <a:pt x="5397" y="8407"/>
                  </a:lnTo>
                  <a:lnTo>
                    <a:pt x="11462" y="8407"/>
                  </a:lnTo>
                  <a:lnTo>
                    <a:pt x="11645" y="6629"/>
                  </a:lnTo>
                  <a:lnTo>
                    <a:pt x="11193" y="6261"/>
                  </a:lnTo>
                  <a:lnTo>
                    <a:pt x="8839" y="6261"/>
                  </a:lnTo>
                  <a:lnTo>
                    <a:pt x="3365" y="2527"/>
                  </a:lnTo>
                  <a:close/>
                </a:path>
                <a:path w="12065" h="16509">
                  <a:moveTo>
                    <a:pt x="8064" y="0"/>
                  </a:moveTo>
                  <a:lnTo>
                    <a:pt x="8280" y="1943"/>
                  </a:lnTo>
                  <a:lnTo>
                    <a:pt x="7518" y="4444"/>
                  </a:lnTo>
                  <a:lnTo>
                    <a:pt x="8483" y="5956"/>
                  </a:lnTo>
                  <a:lnTo>
                    <a:pt x="8839" y="6261"/>
                  </a:lnTo>
                  <a:lnTo>
                    <a:pt x="11193" y="6261"/>
                  </a:lnTo>
                  <a:lnTo>
                    <a:pt x="10819" y="5956"/>
                  </a:lnTo>
                  <a:lnTo>
                    <a:pt x="10744" y="5753"/>
                  </a:lnTo>
                  <a:lnTo>
                    <a:pt x="9702" y="4889"/>
                  </a:lnTo>
                  <a:lnTo>
                    <a:pt x="9512" y="2971"/>
                  </a:lnTo>
                  <a:lnTo>
                    <a:pt x="8547" y="190"/>
                  </a:lnTo>
                  <a:lnTo>
                    <a:pt x="8064" y="0"/>
                  </a:lnTo>
                  <a:close/>
                </a:path>
              </a:pathLst>
            </a:custGeom>
            <a:solidFill>
              <a:srgbClr val="FFD53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6" name="object 1168">
              <a:extLst>
                <a:ext uri="{FF2B5EF4-FFF2-40B4-BE49-F238E27FC236}">
                  <a16:creationId xmlns:a16="http://schemas.microsoft.com/office/drawing/2014/main" id="{13BC23DE-3467-4024-BE26-707062961782}"/>
                </a:ext>
              </a:extLst>
            </p:cNvPr>
            <p:cNvSpPr/>
            <p:nvPr/>
          </p:nvSpPr>
          <p:spPr>
            <a:xfrm>
              <a:off x="7994035" y="6260148"/>
              <a:ext cx="11430" cy="15875"/>
            </a:xfrm>
            <a:custGeom>
              <a:avLst/>
              <a:gdLst/>
              <a:ahLst/>
              <a:cxnLst/>
              <a:rect l="l" t="t" r="r" b="b"/>
              <a:pathLst>
                <a:path w="11429" h="15875">
                  <a:moveTo>
                    <a:pt x="5628" y="10070"/>
                  </a:moveTo>
                  <a:lnTo>
                    <a:pt x="0" y="11290"/>
                  </a:lnTo>
                  <a:lnTo>
                    <a:pt x="6096" y="12547"/>
                  </a:lnTo>
                  <a:lnTo>
                    <a:pt x="5448" y="13157"/>
                  </a:lnTo>
                  <a:lnTo>
                    <a:pt x="5537" y="13563"/>
                  </a:lnTo>
                  <a:lnTo>
                    <a:pt x="2311" y="13652"/>
                  </a:lnTo>
                  <a:lnTo>
                    <a:pt x="635" y="14935"/>
                  </a:lnTo>
                  <a:lnTo>
                    <a:pt x="444" y="15544"/>
                  </a:lnTo>
                  <a:lnTo>
                    <a:pt x="1435" y="15151"/>
                  </a:lnTo>
                  <a:lnTo>
                    <a:pt x="2413" y="15138"/>
                  </a:lnTo>
                  <a:lnTo>
                    <a:pt x="5263" y="15138"/>
                  </a:lnTo>
                  <a:lnTo>
                    <a:pt x="6121" y="14744"/>
                  </a:lnTo>
                  <a:lnTo>
                    <a:pt x="7073" y="14389"/>
                  </a:lnTo>
                  <a:lnTo>
                    <a:pt x="10604" y="13855"/>
                  </a:lnTo>
                  <a:lnTo>
                    <a:pt x="10979" y="10172"/>
                  </a:lnTo>
                  <a:lnTo>
                    <a:pt x="5943" y="10172"/>
                  </a:lnTo>
                  <a:lnTo>
                    <a:pt x="5628" y="10070"/>
                  </a:lnTo>
                  <a:close/>
                </a:path>
                <a:path w="11429" h="15875">
                  <a:moveTo>
                    <a:pt x="5263" y="15138"/>
                  </a:moveTo>
                  <a:lnTo>
                    <a:pt x="2413" y="15138"/>
                  </a:lnTo>
                  <a:lnTo>
                    <a:pt x="4572" y="15455"/>
                  </a:lnTo>
                  <a:lnTo>
                    <a:pt x="5263" y="15138"/>
                  </a:lnTo>
                  <a:close/>
                </a:path>
                <a:path w="11429" h="15875">
                  <a:moveTo>
                    <a:pt x="6210" y="9944"/>
                  </a:moveTo>
                  <a:lnTo>
                    <a:pt x="5628" y="10070"/>
                  </a:lnTo>
                  <a:lnTo>
                    <a:pt x="5943" y="10172"/>
                  </a:lnTo>
                  <a:lnTo>
                    <a:pt x="6210" y="9944"/>
                  </a:lnTo>
                  <a:close/>
                </a:path>
                <a:path w="11429" h="15875">
                  <a:moveTo>
                    <a:pt x="11002" y="9944"/>
                  </a:moveTo>
                  <a:lnTo>
                    <a:pt x="6210" y="9944"/>
                  </a:lnTo>
                  <a:lnTo>
                    <a:pt x="5943" y="10172"/>
                  </a:lnTo>
                  <a:lnTo>
                    <a:pt x="10979" y="10172"/>
                  </a:lnTo>
                  <a:lnTo>
                    <a:pt x="11002" y="9944"/>
                  </a:lnTo>
                  <a:close/>
                </a:path>
                <a:path w="11429" h="15875">
                  <a:moveTo>
                    <a:pt x="1168" y="5778"/>
                  </a:moveTo>
                  <a:lnTo>
                    <a:pt x="622" y="6083"/>
                  </a:lnTo>
                  <a:lnTo>
                    <a:pt x="1917" y="6591"/>
                  </a:lnTo>
                  <a:lnTo>
                    <a:pt x="2565" y="7213"/>
                  </a:lnTo>
                  <a:lnTo>
                    <a:pt x="3949" y="9524"/>
                  </a:lnTo>
                  <a:lnTo>
                    <a:pt x="5628" y="10070"/>
                  </a:lnTo>
                  <a:lnTo>
                    <a:pt x="6210" y="9944"/>
                  </a:lnTo>
                  <a:lnTo>
                    <a:pt x="11002" y="9944"/>
                  </a:lnTo>
                  <a:lnTo>
                    <a:pt x="11197" y="8051"/>
                  </a:lnTo>
                  <a:lnTo>
                    <a:pt x="5397" y="8051"/>
                  </a:lnTo>
                  <a:lnTo>
                    <a:pt x="3556" y="6045"/>
                  </a:lnTo>
                  <a:lnTo>
                    <a:pt x="1168" y="5778"/>
                  </a:lnTo>
                  <a:close/>
                </a:path>
                <a:path w="11429" h="15875">
                  <a:moveTo>
                    <a:pt x="3365" y="2158"/>
                  </a:moveTo>
                  <a:lnTo>
                    <a:pt x="6807" y="7467"/>
                  </a:lnTo>
                  <a:lnTo>
                    <a:pt x="5397" y="8051"/>
                  </a:lnTo>
                  <a:lnTo>
                    <a:pt x="11197" y="8051"/>
                  </a:lnTo>
                  <a:lnTo>
                    <a:pt x="11283" y="7213"/>
                  </a:lnTo>
                  <a:lnTo>
                    <a:pt x="11277" y="6591"/>
                  </a:lnTo>
                  <a:lnTo>
                    <a:pt x="10579" y="5892"/>
                  </a:lnTo>
                  <a:lnTo>
                    <a:pt x="8839" y="5892"/>
                  </a:lnTo>
                  <a:lnTo>
                    <a:pt x="3365" y="2158"/>
                  </a:lnTo>
                  <a:close/>
                </a:path>
                <a:path w="11429" h="15875">
                  <a:moveTo>
                    <a:pt x="8140" y="0"/>
                  </a:moveTo>
                  <a:lnTo>
                    <a:pt x="8089" y="317"/>
                  </a:lnTo>
                  <a:lnTo>
                    <a:pt x="8305" y="1231"/>
                  </a:lnTo>
                  <a:lnTo>
                    <a:pt x="7632" y="4013"/>
                  </a:lnTo>
                  <a:lnTo>
                    <a:pt x="8534" y="5626"/>
                  </a:lnTo>
                  <a:lnTo>
                    <a:pt x="8839" y="5892"/>
                  </a:lnTo>
                  <a:lnTo>
                    <a:pt x="10579" y="5892"/>
                  </a:lnTo>
                  <a:lnTo>
                    <a:pt x="10498" y="5626"/>
                  </a:lnTo>
                  <a:lnTo>
                    <a:pt x="9652" y="4851"/>
                  </a:lnTo>
                  <a:lnTo>
                    <a:pt x="9461" y="3136"/>
                  </a:lnTo>
                  <a:lnTo>
                    <a:pt x="8572" y="165"/>
                  </a:lnTo>
                  <a:lnTo>
                    <a:pt x="8140" y="0"/>
                  </a:lnTo>
                  <a:close/>
                </a:path>
              </a:pathLst>
            </a:custGeom>
            <a:solidFill>
              <a:srgbClr val="FFD74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7" name="object 1169">
              <a:extLst>
                <a:ext uri="{FF2B5EF4-FFF2-40B4-BE49-F238E27FC236}">
                  <a16:creationId xmlns:a16="http://schemas.microsoft.com/office/drawing/2014/main" id="{AA1F9121-B671-4516-835C-A3C1A8A205E5}"/>
                </a:ext>
              </a:extLst>
            </p:cNvPr>
            <p:cNvSpPr/>
            <p:nvPr/>
          </p:nvSpPr>
          <p:spPr>
            <a:xfrm>
              <a:off x="7994029" y="6260424"/>
              <a:ext cx="11430" cy="15875"/>
            </a:xfrm>
            <a:custGeom>
              <a:avLst/>
              <a:gdLst/>
              <a:ahLst/>
              <a:cxnLst/>
              <a:rect l="l" t="t" r="r" b="b"/>
              <a:pathLst>
                <a:path w="11429" h="15875">
                  <a:moveTo>
                    <a:pt x="5637" y="9792"/>
                  </a:moveTo>
                  <a:lnTo>
                    <a:pt x="0" y="11023"/>
                  </a:lnTo>
                  <a:lnTo>
                    <a:pt x="6108" y="12280"/>
                  </a:lnTo>
                  <a:lnTo>
                    <a:pt x="5461" y="12877"/>
                  </a:lnTo>
                  <a:lnTo>
                    <a:pt x="5537" y="13284"/>
                  </a:lnTo>
                  <a:lnTo>
                    <a:pt x="2311" y="13373"/>
                  </a:lnTo>
                  <a:lnTo>
                    <a:pt x="647" y="14655"/>
                  </a:lnTo>
                  <a:lnTo>
                    <a:pt x="457" y="15265"/>
                  </a:lnTo>
                  <a:lnTo>
                    <a:pt x="1333" y="14909"/>
                  </a:lnTo>
                  <a:lnTo>
                    <a:pt x="2286" y="14884"/>
                  </a:lnTo>
                  <a:lnTo>
                    <a:pt x="4874" y="14884"/>
                  </a:lnTo>
                  <a:lnTo>
                    <a:pt x="5867" y="14452"/>
                  </a:lnTo>
                  <a:lnTo>
                    <a:pt x="7137" y="13982"/>
                  </a:lnTo>
                  <a:lnTo>
                    <a:pt x="10375" y="13334"/>
                  </a:lnTo>
                  <a:lnTo>
                    <a:pt x="10727" y="9893"/>
                  </a:lnTo>
                  <a:lnTo>
                    <a:pt x="5956" y="9893"/>
                  </a:lnTo>
                  <a:lnTo>
                    <a:pt x="5637" y="9792"/>
                  </a:lnTo>
                  <a:close/>
                </a:path>
                <a:path w="11429" h="15875">
                  <a:moveTo>
                    <a:pt x="4874" y="14884"/>
                  </a:moveTo>
                  <a:lnTo>
                    <a:pt x="2286" y="14884"/>
                  </a:lnTo>
                  <a:lnTo>
                    <a:pt x="4406" y="15087"/>
                  </a:lnTo>
                  <a:lnTo>
                    <a:pt x="4874" y="14884"/>
                  </a:lnTo>
                  <a:close/>
                </a:path>
                <a:path w="11429" h="15875">
                  <a:moveTo>
                    <a:pt x="6223" y="9664"/>
                  </a:moveTo>
                  <a:lnTo>
                    <a:pt x="5637" y="9792"/>
                  </a:lnTo>
                  <a:lnTo>
                    <a:pt x="5956" y="9893"/>
                  </a:lnTo>
                  <a:lnTo>
                    <a:pt x="6223" y="9664"/>
                  </a:lnTo>
                  <a:close/>
                </a:path>
                <a:path w="11429" h="15875">
                  <a:moveTo>
                    <a:pt x="10751" y="9664"/>
                  </a:moveTo>
                  <a:lnTo>
                    <a:pt x="6223" y="9664"/>
                  </a:lnTo>
                  <a:lnTo>
                    <a:pt x="5956" y="9893"/>
                  </a:lnTo>
                  <a:lnTo>
                    <a:pt x="10727" y="9893"/>
                  </a:lnTo>
                  <a:lnTo>
                    <a:pt x="10751" y="9664"/>
                  </a:lnTo>
                  <a:close/>
                </a:path>
                <a:path w="11429" h="15875">
                  <a:moveTo>
                    <a:pt x="1181" y="5499"/>
                  </a:moveTo>
                  <a:lnTo>
                    <a:pt x="635" y="5803"/>
                  </a:lnTo>
                  <a:lnTo>
                    <a:pt x="1917" y="6311"/>
                  </a:lnTo>
                  <a:lnTo>
                    <a:pt x="2578" y="6946"/>
                  </a:lnTo>
                  <a:lnTo>
                    <a:pt x="3949" y="9258"/>
                  </a:lnTo>
                  <a:lnTo>
                    <a:pt x="5637" y="9792"/>
                  </a:lnTo>
                  <a:lnTo>
                    <a:pt x="6223" y="9664"/>
                  </a:lnTo>
                  <a:lnTo>
                    <a:pt x="10751" y="9664"/>
                  </a:lnTo>
                  <a:lnTo>
                    <a:pt x="10945" y="7772"/>
                  </a:lnTo>
                  <a:lnTo>
                    <a:pt x="5410" y="7772"/>
                  </a:lnTo>
                  <a:lnTo>
                    <a:pt x="3556" y="5778"/>
                  </a:lnTo>
                  <a:lnTo>
                    <a:pt x="1181" y="5499"/>
                  </a:lnTo>
                  <a:close/>
                </a:path>
                <a:path w="11429" h="15875">
                  <a:moveTo>
                    <a:pt x="3365" y="1892"/>
                  </a:moveTo>
                  <a:lnTo>
                    <a:pt x="6819" y="7200"/>
                  </a:lnTo>
                  <a:lnTo>
                    <a:pt x="5410" y="7772"/>
                  </a:lnTo>
                  <a:lnTo>
                    <a:pt x="10945" y="7772"/>
                  </a:lnTo>
                  <a:lnTo>
                    <a:pt x="11049" y="6769"/>
                  </a:lnTo>
                  <a:lnTo>
                    <a:pt x="10401" y="5981"/>
                  </a:lnTo>
                  <a:lnTo>
                    <a:pt x="10315" y="5626"/>
                  </a:lnTo>
                  <a:lnTo>
                    <a:pt x="8851" y="5626"/>
                  </a:lnTo>
                  <a:lnTo>
                    <a:pt x="3365" y="1892"/>
                  </a:lnTo>
                  <a:close/>
                </a:path>
                <a:path w="11429" h="15875">
                  <a:moveTo>
                    <a:pt x="8191" y="0"/>
                  </a:moveTo>
                  <a:lnTo>
                    <a:pt x="8051" y="2133"/>
                  </a:lnTo>
                  <a:lnTo>
                    <a:pt x="7632" y="3695"/>
                  </a:lnTo>
                  <a:lnTo>
                    <a:pt x="8572" y="5384"/>
                  </a:lnTo>
                  <a:lnTo>
                    <a:pt x="8851" y="5626"/>
                  </a:lnTo>
                  <a:lnTo>
                    <a:pt x="10315" y="5626"/>
                  </a:lnTo>
                  <a:lnTo>
                    <a:pt x="9601" y="4902"/>
                  </a:lnTo>
                  <a:lnTo>
                    <a:pt x="9525" y="4165"/>
                  </a:lnTo>
                  <a:lnTo>
                    <a:pt x="9410" y="3378"/>
                  </a:lnTo>
                  <a:lnTo>
                    <a:pt x="8572" y="165"/>
                  </a:lnTo>
                  <a:lnTo>
                    <a:pt x="8191" y="0"/>
                  </a:lnTo>
                  <a:close/>
                </a:path>
              </a:pathLst>
            </a:custGeom>
            <a:solidFill>
              <a:srgbClr val="FFD84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8" name="object 1170">
              <a:extLst>
                <a:ext uri="{FF2B5EF4-FFF2-40B4-BE49-F238E27FC236}">
                  <a16:creationId xmlns:a16="http://schemas.microsoft.com/office/drawing/2014/main" id="{3B018863-1B6D-43B1-893D-0246069CE7EB}"/>
                </a:ext>
              </a:extLst>
            </p:cNvPr>
            <p:cNvSpPr/>
            <p:nvPr/>
          </p:nvSpPr>
          <p:spPr>
            <a:xfrm>
              <a:off x="7994029" y="6260705"/>
              <a:ext cx="10795" cy="15240"/>
            </a:xfrm>
            <a:custGeom>
              <a:avLst/>
              <a:gdLst/>
              <a:ahLst/>
              <a:cxnLst/>
              <a:rect l="l" t="t" r="r" b="b"/>
              <a:pathLst>
                <a:path w="10795" h="15240">
                  <a:moveTo>
                    <a:pt x="5637" y="9513"/>
                  </a:moveTo>
                  <a:lnTo>
                    <a:pt x="0" y="10744"/>
                  </a:lnTo>
                  <a:lnTo>
                    <a:pt x="6108" y="12001"/>
                  </a:lnTo>
                  <a:lnTo>
                    <a:pt x="5460" y="12598"/>
                  </a:lnTo>
                  <a:lnTo>
                    <a:pt x="5537" y="13004"/>
                  </a:lnTo>
                  <a:lnTo>
                    <a:pt x="2311" y="13093"/>
                  </a:lnTo>
                  <a:lnTo>
                    <a:pt x="647" y="14376"/>
                  </a:lnTo>
                  <a:lnTo>
                    <a:pt x="457" y="14986"/>
                  </a:lnTo>
                  <a:lnTo>
                    <a:pt x="1231" y="14668"/>
                  </a:lnTo>
                  <a:lnTo>
                    <a:pt x="2158" y="14617"/>
                  </a:lnTo>
                  <a:lnTo>
                    <a:pt x="4463" y="14617"/>
                  </a:lnTo>
                  <a:lnTo>
                    <a:pt x="5600" y="14160"/>
                  </a:lnTo>
                  <a:lnTo>
                    <a:pt x="7200" y="13576"/>
                  </a:lnTo>
                  <a:lnTo>
                    <a:pt x="10134" y="12814"/>
                  </a:lnTo>
                  <a:lnTo>
                    <a:pt x="10463" y="9613"/>
                  </a:lnTo>
                  <a:lnTo>
                    <a:pt x="5916" y="9601"/>
                  </a:lnTo>
                  <a:lnTo>
                    <a:pt x="5637" y="9513"/>
                  </a:lnTo>
                  <a:close/>
                </a:path>
                <a:path w="10795" h="15240">
                  <a:moveTo>
                    <a:pt x="4463" y="14617"/>
                  </a:moveTo>
                  <a:lnTo>
                    <a:pt x="2158" y="14617"/>
                  </a:lnTo>
                  <a:lnTo>
                    <a:pt x="4241" y="14706"/>
                  </a:lnTo>
                  <a:lnTo>
                    <a:pt x="4463" y="14617"/>
                  </a:lnTo>
                  <a:close/>
                </a:path>
                <a:path w="10795" h="15240">
                  <a:moveTo>
                    <a:pt x="6222" y="9385"/>
                  </a:moveTo>
                  <a:lnTo>
                    <a:pt x="5637" y="9513"/>
                  </a:lnTo>
                  <a:lnTo>
                    <a:pt x="5956" y="9613"/>
                  </a:lnTo>
                  <a:lnTo>
                    <a:pt x="6222" y="9385"/>
                  </a:lnTo>
                  <a:close/>
                </a:path>
                <a:path w="10795" h="15240">
                  <a:moveTo>
                    <a:pt x="10486" y="9385"/>
                  </a:moveTo>
                  <a:lnTo>
                    <a:pt x="6222" y="9385"/>
                  </a:lnTo>
                  <a:lnTo>
                    <a:pt x="5956" y="9613"/>
                  </a:lnTo>
                  <a:lnTo>
                    <a:pt x="10463" y="9613"/>
                  </a:lnTo>
                  <a:lnTo>
                    <a:pt x="10486" y="9385"/>
                  </a:lnTo>
                  <a:close/>
                </a:path>
                <a:path w="10795" h="15240">
                  <a:moveTo>
                    <a:pt x="1181" y="5219"/>
                  </a:moveTo>
                  <a:lnTo>
                    <a:pt x="634" y="5524"/>
                  </a:lnTo>
                  <a:lnTo>
                    <a:pt x="1917" y="6032"/>
                  </a:lnTo>
                  <a:lnTo>
                    <a:pt x="2578" y="6667"/>
                  </a:lnTo>
                  <a:lnTo>
                    <a:pt x="3949" y="8978"/>
                  </a:lnTo>
                  <a:lnTo>
                    <a:pt x="5637" y="9513"/>
                  </a:lnTo>
                  <a:lnTo>
                    <a:pt x="6222" y="9385"/>
                  </a:lnTo>
                  <a:lnTo>
                    <a:pt x="10486" y="9385"/>
                  </a:lnTo>
                  <a:lnTo>
                    <a:pt x="10681" y="7493"/>
                  </a:lnTo>
                  <a:lnTo>
                    <a:pt x="5410" y="7493"/>
                  </a:lnTo>
                  <a:lnTo>
                    <a:pt x="3555" y="5499"/>
                  </a:lnTo>
                  <a:lnTo>
                    <a:pt x="1181" y="5219"/>
                  </a:lnTo>
                  <a:close/>
                </a:path>
                <a:path w="10795" h="15240">
                  <a:moveTo>
                    <a:pt x="3365" y="1600"/>
                  </a:moveTo>
                  <a:lnTo>
                    <a:pt x="6819" y="6908"/>
                  </a:lnTo>
                  <a:lnTo>
                    <a:pt x="5410" y="7493"/>
                  </a:lnTo>
                  <a:lnTo>
                    <a:pt x="10681" y="7493"/>
                  </a:lnTo>
                  <a:lnTo>
                    <a:pt x="10744" y="6883"/>
                  </a:lnTo>
                  <a:lnTo>
                    <a:pt x="10223" y="6057"/>
                  </a:lnTo>
                  <a:lnTo>
                    <a:pt x="10172" y="5676"/>
                  </a:lnTo>
                  <a:lnTo>
                    <a:pt x="9893" y="5346"/>
                  </a:lnTo>
                  <a:lnTo>
                    <a:pt x="8851" y="5346"/>
                  </a:lnTo>
                  <a:lnTo>
                    <a:pt x="3365" y="1600"/>
                  </a:lnTo>
                  <a:close/>
                </a:path>
                <a:path w="10795" h="15240">
                  <a:moveTo>
                    <a:pt x="8166" y="0"/>
                  </a:moveTo>
                  <a:lnTo>
                    <a:pt x="8216" y="520"/>
                  </a:lnTo>
                  <a:lnTo>
                    <a:pt x="7912" y="2120"/>
                  </a:lnTo>
                  <a:lnTo>
                    <a:pt x="7683" y="3568"/>
                  </a:lnTo>
                  <a:lnTo>
                    <a:pt x="8610" y="5143"/>
                  </a:lnTo>
                  <a:lnTo>
                    <a:pt x="8851" y="5346"/>
                  </a:lnTo>
                  <a:lnTo>
                    <a:pt x="9893" y="5346"/>
                  </a:lnTo>
                  <a:lnTo>
                    <a:pt x="9550" y="4940"/>
                  </a:lnTo>
                  <a:lnTo>
                    <a:pt x="9359" y="3568"/>
                  </a:lnTo>
                  <a:lnTo>
                    <a:pt x="8483" y="165"/>
                  </a:lnTo>
                  <a:lnTo>
                    <a:pt x="8166" y="0"/>
                  </a:lnTo>
                  <a:close/>
                </a:path>
              </a:pathLst>
            </a:custGeom>
            <a:solidFill>
              <a:srgbClr val="FFD95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79" name="object 1171">
              <a:extLst>
                <a:ext uri="{FF2B5EF4-FFF2-40B4-BE49-F238E27FC236}">
                  <a16:creationId xmlns:a16="http://schemas.microsoft.com/office/drawing/2014/main" id="{A988A900-8DDC-46B9-BD7E-B400FCD12EF1}"/>
                </a:ext>
              </a:extLst>
            </p:cNvPr>
            <p:cNvSpPr/>
            <p:nvPr/>
          </p:nvSpPr>
          <p:spPr>
            <a:xfrm>
              <a:off x="7994029" y="6261063"/>
              <a:ext cx="10795" cy="15240"/>
            </a:xfrm>
            <a:custGeom>
              <a:avLst/>
              <a:gdLst/>
              <a:ahLst/>
              <a:cxnLst/>
              <a:rect l="l" t="t" r="r" b="b"/>
              <a:pathLst>
                <a:path w="10795" h="15240">
                  <a:moveTo>
                    <a:pt x="10222" y="9029"/>
                  </a:moveTo>
                  <a:lnTo>
                    <a:pt x="6222" y="9029"/>
                  </a:lnTo>
                  <a:lnTo>
                    <a:pt x="5956" y="9258"/>
                  </a:lnTo>
                  <a:lnTo>
                    <a:pt x="5107" y="9270"/>
                  </a:lnTo>
                  <a:lnTo>
                    <a:pt x="0" y="10375"/>
                  </a:lnTo>
                  <a:lnTo>
                    <a:pt x="6108" y="11645"/>
                  </a:lnTo>
                  <a:lnTo>
                    <a:pt x="5488" y="12217"/>
                  </a:lnTo>
                  <a:lnTo>
                    <a:pt x="5537" y="12649"/>
                  </a:lnTo>
                  <a:lnTo>
                    <a:pt x="2311" y="12738"/>
                  </a:lnTo>
                  <a:lnTo>
                    <a:pt x="647" y="14020"/>
                  </a:lnTo>
                  <a:lnTo>
                    <a:pt x="457" y="14630"/>
                  </a:lnTo>
                  <a:lnTo>
                    <a:pt x="1130" y="14363"/>
                  </a:lnTo>
                  <a:lnTo>
                    <a:pt x="2031" y="14287"/>
                  </a:lnTo>
                  <a:lnTo>
                    <a:pt x="4063" y="14262"/>
                  </a:lnTo>
                  <a:lnTo>
                    <a:pt x="7251" y="13080"/>
                  </a:lnTo>
                  <a:lnTo>
                    <a:pt x="9893" y="12217"/>
                  </a:lnTo>
                  <a:lnTo>
                    <a:pt x="10199" y="9258"/>
                  </a:lnTo>
                  <a:lnTo>
                    <a:pt x="5956" y="9258"/>
                  </a:lnTo>
                  <a:lnTo>
                    <a:pt x="5639" y="9155"/>
                  </a:lnTo>
                  <a:lnTo>
                    <a:pt x="10209" y="9155"/>
                  </a:lnTo>
                  <a:close/>
                </a:path>
                <a:path w="10795" h="15240">
                  <a:moveTo>
                    <a:pt x="6222" y="9029"/>
                  </a:moveTo>
                  <a:lnTo>
                    <a:pt x="5639" y="9155"/>
                  </a:lnTo>
                  <a:lnTo>
                    <a:pt x="5956" y="9258"/>
                  </a:lnTo>
                  <a:lnTo>
                    <a:pt x="6222" y="9029"/>
                  </a:lnTo>
                  <a:close/>
                </a:path>
                <a:path w="10795" h="15240">
                  <a:moveTo>
                    <a:pt x="1181" y="4864"/>
                  </a:moveTo>
                  <a:lnTo>
                    <a:pt x="634" y="5168"/>
                  </a:lnTo>
                  <a:lnTo>
                    <a:pt x="1917" y="5676"/>
                  </a:lnTo>
                  <a:lnTo>
                    <a:pt x="2578" y="6299"/>
                  </a:lnTo>
                  <a:lnTo>
                    <a:pt x="3949" y="8610"/>
                  </a:lnTo>
                  <a:lnTo>
                    <a:pt x="5639" y="9155"/>
                  </a:lnTo>
                  <a:lnTo>
                    <a:pt x="6222" y="9029"/>
                  </a:lnTo>
                  <a:lnTo>
                    <a:pt x="10222" y="9029"/>
                  </a:lnTo>
                  <a:lnTo>
                    <a:pt x="10416" y="7137"/>
                  </a:lnTo>
                  <a:lnTo>
                    <a:pt x="5397" y="7137"/>
                  </a:lnTo>
                  <a:lnTo>
                    <a:pt x="3555" y="5143"/>
                  </a:lnTo>
                  <a:lnTo>
                    <a:pt x="1181" y="4864"/>
                  </a:lnTo>
                  <a:close/>
                </a:path>
                <a:path w="10795" h="15240">
                  <a:moveTo>
                    <a:pt x="3365" y="1244"/>
                  </a:moveTo>
                  <a:lnTo>
                    <a:pt x="6819" y="6553"/>
                  </a:lnTo>
                  <a:lnTo>
                    <a:pt x="5397" y="7137"/>
                  </a:lnTo>
                  <a:lnTo>
                    <a:pt x="10416" y="7137"/>
                  </a:lnTo>
                  <a:lnTo>
                    <a:pt x="10439" y="6908"/>
                  </a:lnTo>
                  <a:lnTo>
                    <a:pt x="10045" y="6057"/>
                  </a:lnTo>
                  <a:lnTo>
                    <a:pt x="9982" y="5613"/>
                  </a:lnTo>
                  <a:lnTo>
                    <a:pt x="9555" y="4991"/>
                  </a:lnTo>
                  <a:lnTo>
                    <a:pt x="8839" y="4991"/>
                  </a:lnTo>
                  <a:lnTo>
                    <a:pt x="3365" y="1244"/>
                  </a:lnTo>
                  <a:close/>
                </a:path>
                <a:path w="10795" h="15240">
                  <a:moveTo>
                    <a:pt x="8204" y="0"/>
                  </a:moveTo>
                  <a:lnTo>
                    <a:pt x="8191" y="558"/>
                  </a:lnTo>
                  <a:lnTo>
                    <a:pt x="7823" y="2146"/>
                  </a:lnTo>
                  <a:lnTo>
                    <a:pt x="7785" y="3213"/>
                  </a:lnTo>
                  <a:lnTo>
                    <a:pt x="8648" y="4813"/>
                  </a:lnTo>
                  <a:lnTo>
                    <a:pt x="8839" y="4991"/>
                  </a:lnTo>
                  <a:lnTo>
                    <a:pt x="9555" y="4991"/>
                  </a:lnTo>
                  <a:lnTo>
                    <a:pt x="9473" y="4813"/>
                  </a:lnTo>
                  <a:lnTo>
                    <a:pt x="9321" y="3771"/>
                  </a:lnTo>
                  <a:lnTo>
                    <a:pt x="8458" y="152"/>
                  </a:lnTo>
                  <a:lnTo>
                    <a:pt x="8204" y="0"/>
                  </a:lnTo>
                  <a:close/>
                </a:path>
              </a:pathLst>
            </a:custGeom>
            <a:solidFill>
              <a:srgbClr val="FFDB5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0" name="object 1172">
              <a:extLst>
                <a:ext uri="{FF2B5EF4-FFF2-40B4-BE49-F238E27FC236}">
                  <a16:creationId xmlns:a16="http://schemas.microsoft.com/office/drawing/2014/main" id="{E05EDD04-5247-47A6-A57F-5E449B752F05}"/>
                </a:ext>
              </a:extLst>
            </p:cNvPr>
            <p:cNvSpPr/>
            <p:nvPr/>
          </p:nvSpPr>
          <p:spPr>
            <a:xfrm>
              <a:off x="7994031" y="6261543"/>
              <a:ext cx="10160" cy="14604"/>
            </a:xfrm>
            <a:custGeom>
              <a:avLst/>
              <a:gdLst/>
              <a:ahLst/>
              <a:cxnLst/>
              <a:rect l="l" t="t" r="r" b="b"/>
              <a:pathLst>
                <a:path w="10159" h="14604">
                  <a:moveTo>
                    <a:pt x="5635" y="8675"/>
                  </a:moveTo>
                  <a:lnTo>
                    <a:pt x="0" y="9906"/>
                  </a:lnTo>
                  <a:lnTo>
                    <a:pt x="6108" y="11163"/>
                  </a:lnTo>
                  <a:lnTo>
                    <a:pt x="5461" y="11760"/>
                  </a:lnTo>
                  <a:lnTo>
                    <a:pt x="5537" y="12166"/>
                  </a:lnTo>
                  <a:lnTo>
                    <a:pt x="2311" y="12255"/>
                  </a:lnTo>
                  <a:lnTo>
                    <a:pt x="647" y="13538"/>
                  </a:lnTo>
                  <a:lnTo>
                    <a:pt x="444" y="14147"/>
                  </a:lnTo>
                  <a:lnTo>
                    <a:pt x="1028" y="13919"/>
                  </a:lnTo>
                  <a:lnTo>
                    <a:pt x="2959" y="13741"/>
                  </a:lnTo>
                  <a:lnTo>
                    <a:pt x="9935" y="8775"/>
                  </a:lnTo>
                  <a:lnTo>
                    <a:pt x="5943" y="8775"/>
                  </a:lnTo>
                  <a:lnTo>
                    <a:pt x="5635" y="8675"/>
                  </a:lnTo>
                  <a:close/>
                </a:path>
                <a:path w="10159" h="14604">
                  <a:moveTo>
                    <a:pt x="6223" y="8547"/>
                  </a:moveTo>
                  <a:lnTo>
                    <a:pt x="5635" y="8675"/>
                  </a:lnTo>
                  <a:lnTo>
                    <a:pt x="5943" y="8775"/>
                  </a:lnTo>
                  <a:lnTo>
                    <a:pt x="6223" y="8547"/>
                  </a:lnTo>
                  <a:close/>
                </a:path>
                <a:path w="10159" h="14604">
                  <a:moveTo>
                    <a:pt x="9958" y="8547"/>
                  </a:moveTo>
                  <a:lnTo>
                    <a:pt x="6223" y="8547"/>
                  </a:lnTo>
                  <a:lnTo>
                    <a:pt x="5943" y="8775"/>
                  </a:lnTo>
                  <a:lnTo>
                    <a:pt x="9935" y="8775"/>
                  </a:lnTo>
                  <a:lnTo>
                    <a:pt x="9958" y="8547"/>
                  </a:lnTo>
                  <a:close/>
                </a:path>
                <a:path w="10159" h="14604">
                  <a:moveTo>
                    <a:pt x="1181" y="4381"/>
                  </a:moveTo>
                  <a:lnTo>
                    <a:pt x="622" y="4686"/>
                  </a:lnTo>
                  <a:lnTo>
                    <a:pt x="1917" y="5194"/>
                  </a:lnTo>
                  <a:lnTo>
                    <a:pt x="2565" y="5829"/>
                  </a:lnTo>
                  <a:lnTo>
                    <a:pt x="3949" y="8128"/>
                  </a:lnTo>
                  <a:lnTo>
                    <a:pt x="5635" y="8675"/>
                  </a:lnTo>
                  <a:lnTo>
                    <a:pt x="6223" y="8547"/>
                  </a:lnTo>
                  <a:lnTo>
                    <a:pt x="9958" y="8547"/>
                  </a:lnTo>
                  <a:lnTo>
                    <a:pt x="10000" y="8128"/>
                  </a:lnTo>
                  <a:lnTo>
                    <a:pt x="10088" y="6654"/>
                  </a:lnTo>
                  <a:lnTo>
                    <a:pt x="5397" y="6654"/>
                  </a:lnTo>
                  <a:lnTo>
                    <a:pt x="3556" y="4660"/>
                  </a:lnTo>
                  <a:lnTo>
                    <a:pt x="1181" y="4381"/>
                  </a:lnTo>
                  <a:close/>
                </a:path>
                <a:path w="10159" h="14604">
                  <a:moveTo>
                    <a:pt x="3365" y="774"/>
                  </a:moveTo>
                  <a:lnTo>
                    <a:pt x="6807" y="6083"/>
                  </a:lnTo>
                  <a:lnTo>
                    <a:pt x="5397" y="6654"/>
                  </a:lnTo>
                  <a:lnTo>
                    <a:pt x="10088" y="6654"/>
                  </a:lnTo>
                  <a:lnTo>
                    <a:pt x="9914" y="6083"/>
                  </a:lnTo>
                  <a:lnTo>
                    <a:pt x="9804" y="5410"/>
                  </a:lnTo>
                  <a:lnTo>
                    <a:pt x="9436" y="4749"/>
                  </a:lnTo>
                  <a:lnTo>
                    <a:pt x="9390" y="4508"/>
                  </a:lnTo>
                  <a:lnTo>
                    <a:pt x="8839" y="4508"/>
                  </a:lnTo>
                  <a:lnTo>
                    <a:pt x="3365" y="774"/>
                  </a:lnTo>
                  <a:close/>
                </a:path>
                <a:path w="10159" h="14604">
                  <a:moveTo>
                    <a:pt x="8166" y="0"/>
                  </a:moveTo>
                  <a:lnTo>
                    <a:pt x="8204" y="203"/>
                  </a:lnTo>
                  <a:lnTo>
                    <a:pt x="7835" y="1854"/>
                  </a:lnTo>
                  <a:lnTo>
                    <a:pt x="7632" y="2476"/>
                  </a:lnTo>
                  <a:lnTo>
                    <a:pt x="8700" y="4381"/>
                  </a:lnTo>
                  <a:lnTo>
                    <a:pt x="8839" y="4508"/>
                  </a:lnTo>
                  <a:lnTo>
                    <a:pt x="9390" y="4508"/>
                  </a:lnTo>
                  <a:lnTo>
                    <a:pt x="9258" y="3810"/>
                  </a:lnTo>
                  <a:lnTo>
                    <a:pt x="8369" y="139"/>
                  </a:lnTo>
                  <a:lnTo>
                    <a:pt x="8166" y="0"/>
                  </a:lnTo>
                  <a:close/>
                </a:path>
              </a:pathLst>
            </a:custGeom>
            <a:solidFill>
              <a:srgbClr val="FFDC6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1" name="object 1173">
              <a:extLst>
                <a:ext uri="{FF2B5EF4-FFF2-40B4-BE49-F238E27FC236}">
                  <a16:creationId xmlns:a16="http://schemas.microsoft.com/office/drawing/2014/main" id="{16878D59-816C-4580-B7DA-DBF436DD6885}"/>
                </a:ext>
              </a:extLst>
            </p:cNvPr>
            <p:cNvSpPr/>
            <p:nvPr/>
          </p:nvSpPr>
          <p:spPr>
            <a:xfrm>
              <a:off x="7994031" y="6262014"/>
              <a:ext cx="10160" cy="13970"/>
            </a:xfrm>
            <a:custGeom>
              <a:avLst/>
              <a:gdLst/>
              <a:ahLst/>
              <a:cxnLst/>
              <a:rect l="l" t="t" r="r" b="b"/>
              <a:pathLst>
                <a:path w="10159" h="13970">
                  <a:moveTo>
                    <a:pt x="5635" y="8205"/>
                  </a:moveTo>
                  <a:lnTo>
                    <a:pt x="0" y="9436"/>
                  </a:lnTo>
                  <a:lnTo>
                    <a:pt x="6108" y="10693"/>
                  </a:lnTo>
                  <a:lnTo>
                    <a:pt x="5460" y="11290"/>
                  </a:lnTo>
                  <a:lnTo>
                    <a:pt x="5537" y="11696"/>
                  </a:lnTo>
                  <a:lnTo>
                    <a:pt x="2311" y="11785"/>
                  </a:lnTo>
                  <a:lnTo>
                    <a:pt x="647" y="13068"/>
                  </a:lnTo>
                  <a:lnTo>
                    <a:pt x="457" y="13677"/>
                  </a:lnTo>
                  <a:lnTo>
                    <a:pt x="927" y="13487"/>
                  </a:lnTo>
                  <a:lnTo>
                    <a:pt x="3721" y="13119"/>
                  </a:lnTo>
                  <a:lnTo>
                    <a:pt x="4813" y="12814"/>
                  </a:lnTo>
                  <a:lnTo>
                    <a:pt x="7378" y="11874"/>
                  </a:lnTo>
                  <a:lnTo>
                    <a:pt x="9423" y="10795"/>
                  </a:lnTo>
                  <a:lnTo>
                    <a:pt x="9671" y="8305"/>
                  </a:lnTo>
                  <a:lnTo>
                    <a:pt x="5943" y="8305"/>
                  </a:lnTo>
                  <a:lnTo>
                    <a:pt x="5635" y="8205"/>
                  </a:lnTo>
                  <a:close/>
                </a:path>
                <a:path w="10159" h="13970">
                  <a:moveTo>
                    <a:pt x="6222" y="8077"/>
                  </a:moveTo>
                  <a:lnTo>
                    <a:pt x="5635" y="8205"/>
                  </a:lnTo>
                  <a:lnTo>
                    <a:pt x="5943" y="8305"/>
                  </a:lnTo>
                  <a:lnTo>
                    <a:pt x="6222" y="8077"/>
                  </a:lnTo>
                  <a:close/>
                </a:path>
                <a:path w="10159" h="13970">
                  <a:moveTo>
                    <a:pt x="9694" y="8077"/>
                  </a:moveTo>
                  <a:lnTo>
                    <a:pt x="6222" y="8077"/>
                  </a:lnTo>
                  <a:lnTo>
                    <a:pt x="5943" y="8305"/>
                  </a:lnTo>
                  <a:lnTo>
                    <a:pt x="9671" y="8305"/>
                  </a:lnTo>
                  <a:lnTo>
                    <a:pt x="9694" y="8077"/>
                  </a:lnTo>
                  <a:close/>
                </a:path>
                <a:path w="10159" h="13970">
                  <a:moveTo>
                    <a:pt x="1181" y="3911"/>
                  </a:moveTo>
                  <a:lnTo>
                    <a:pt x="622" y="4216"/>
                  </a:lnTo>
                  <a:lnTo>
                    <a:pt x="1917" y="4724"/>
                  </a:lnTo>
                  <a:lnTo>
                    <a:pt x="2565" y="5346"/>
                  </a:lnTo>
                  <a:lnTo>
                    <a:pt x="3949" y="7658"/>
                  </a:lnTo>
                  <a:lnTo>
                    <a:pt x="5635" y="8205"/>
                  </a:lnTo>
                  <a:lnTo>
                    <a:pt x="6222" y="8077"/>
                  </a:lnTo>
                  <a:lnTo>
                    <a:pt x="9694" y="8077"/>
                  </a:lnTo>
                  <a:lnTo>
                    <a:pt x="9736" y="7658"/>
                  </a:lnTo>
                  <a:lnTo>
                    <a:pt x="9751" y="6184"/>
                  </a:lnTo>
                  <a:lnTo>
                    <a:pt x="5397" y="6184"/>
                  </a:lnTo>
                  <a:lnTo>
                    <a:pt x="3555" y="4191"/>
                  </a:lnTo>
                  <a:lnTo>
                    <a:pt x="1181" y="3911"/>
                  </a:lnTo>
                  <a:close/>
                </a:path>
                <a:path w="10159" h="13970">
                  <a:moveTo>
                    <a:pt x="3365" y="304"/>
                  </a:moveTo>
                  <a:lnTo>
                    <a:pt x="6807" y="5600"/>
                  </a:lnTo>
                  <a:lnTo>
                    <a:pt x="5397" y="6184"/>
                  </a:lnTo>
                  <a:lnTo>
                    <a:pt x="9751" y="6184"/>
                  </a:lnTo>
                  <a:lnTo>
                    <a:pt x="9613" y="5232"/>
                  </a:lnTo>
                  <a:lnTo>
                    <a:pt x="9499" y="4889"/>
                  </a:lnTo>
                  <a:lnTo>
                    <a:pt x="9372" y="4597"/>
                  </a:lnTo>
                  <a:lnTo>
                    <a:pt x="9244" y="4038"/>
                  </a:lnTo>
                  <a:lnTo>
                    <a:pt x="8839" y="4038"/>
                  </a:lnTo>
                  <a:lnTo>
                    <a:pt x="3365" y="304"/>
                  </a:lnTo>
                  <a:close/>
                </a:path>
                <a:path w="10159" h="13970">
                  <a:moveTo>
                    <a:pt x="8089" y="0"/>
                  </a:moveTo>
                  <a:lnTo>
                    <a:pt x="7696" y="1193"/>
                  </a:lnTo>
                  <a:lnTo>
                    <a:pt x="8039" y="3162"/>
                  </a:lnTo>
                  <a:lnTo>
                    <a:pt x="8839" y="4038"/>
                  </a:lnTo>
                  <a:lnTo>
                    <a:pt x="9244" y="4038"/>
                  </a:lnTo>
                  <a:lnTo>
                    <a:pt x="8242" y="127"/>
                  </a:lnTo>
                  <a:lnTo>
                    <a:pt x="8089" y="0"/>
                  </a:lnTo>
                  <a:close/>
                </a:path>
              </a:pathLst>
            </a:custGeom>
            <a:solidFill>
              <a:srgbClr val="FFDD6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2" name="object 1174">
              <a:extLst>
                <a:ext uri="{FF2B5EF4-FFF2-40B4-BE49-F238E27FC236}">
                  <a16:creationId xmlns:a16="http://schemas.microsoft.com/office/drawing/2014/main" id="{85096BA0-FF89-4895-A984-64C10E2D601E}"/>
                </a:ext>
              </a:extLst>
            </p:cNvPr>
            <p:cNvSpPr/>
            <p:nvPr/>
          </p:nvSpPr>
          <p:spPr>
            <a:xfrm>
              <a:off x="7994035" y="6262314"/>
              <a:ext cx="10160" cy="13970"/>
            </a:xfrm>
            <a:custGeom>
              <a:avLst/>
              <a:gdLst/>
              <a:ahLst/>
              <a:cxnLst/>
              <a:rect l="l" t="t" r="r" b="b"/>
              <a:pathLst>
                <a:path w="10159" h="13970">
                  <a:moveTo>
                    <a:pt x="5648" y="7906"/>
                  </a:moveTo>
                  <a:lnTo>
                    <a:pt x="0" y="9131"/>
                  </a:lnTo>
                  <a:lnTo>
                    <a:pt x="6096" y="10388"/>
                  </a:lnTo>
                  <a:lnTo>
                    <a:pt x="5448" y="10985"/>
                  </a:lnTo>
                  <a:lnTo>
                    <a:pt x="5537" y="11391"/>
                  </a:lnTo>
                  <a:lnTo>
                    <a:pt x="2311" y="11480"/>
                  </a:lnTo>
                  <a:lnTo>
                    <a:pt x="635" y="12776"/>
                  </a:lnTo>
                  <a:lnTo>
                    <a:pt x="444" y="13373"/>
                  </a:lnTo>
                  <a:lnTo>
                    <a:pt x="1739" y="12852"/>
                  </a:lnTo>
                  <a:lnTo>
                    <a:pt x="8940" y="12636"/>
                  </a:lnTo>
                  <a:lnTo>
                    <a:pt x="9408" y="8001"/>
                  </a:lnTo>
                  <a:lnTo>
                    <a:pt x="5943" y="8001"/>
                  </a:lnTo>
                  <a:lnTo>
                    <a:pt x="5648" y="7906"/>
                  </a:lnTo>
                  <a:close/>
                </a:path>
                <a:path w="10159" h="13970">
                  <a:moveTo>
                    <a:pt x="6210" y="7785"/>
                  </a:moveTo>
                  <a:lnTo>
                    <a:pt x="5648" y="7906"/>
                  </a:lnTo>
                  <a:lnTo>
                    <a:pt x="5943" y="8001"/>
                  </a:lnTo>
                  <a:lnTo>
                    <a:pt x="6210" y="7785"/>
                  </a:lnTo>
                  <a:close/>
                </a:path>
                <a:path w="10159" h="13970">
                  <a:moveTo>
                    <a:pt x="9430" y="7785"/>
                  </a:moveTo>
                  <a:lnTo>
                    <a:pt x="6210" y="7785"/>
                  </a:lnTo>
                  <a:lnTo>
                    <a:pt x="5943" y="8001"/>
                  </a:lnTo>
                  <a:lnTo>
                    <a:pt x="9408" y="8001"/>
                  </a:lnTo>
                  <a:lnTo>
                    <a:pt x="9430" y="7785"/>
                  </a:lnTo>
                  <a:close/>
                </a:path>
                <a:path w="10159" h="13970">
                  <a:moveTo>
                    <a:pt x="1168" y="3606"/>
                  </a:moveTo>
                  <a:lnTo>
                    <a:pt x="622" y="3911"/>
                  </a:lnTo>
                  <a:lnTo>
                    <a:pt x="1905" y="4432"/>
                  </a:lnTo>
                  <a:lnTo>
                    <a:pt x="2565" y="5054"/>
                  </a:lnTo>
                  <a:lnTo>
                    <a:pt x="3949" y="7366"/>
                  </a:lnTo>
                  <a:lnTo>
                    <a:pt x="5648" y="7906"/>
                  </a:lnTo>
                  <a:lnTo>
                    <a:pt x="6210" y="7785"/>
                  </a:lnTo>
                  <a:lnTo>
                    <a:pt x="9430" y="7785"/>
                  </a:lnTo>
                  <a:lnTo>
                    <a:pt x="9622" y="5880"/>
                  </a:lnTo>
                  <a:lnTo>
                    <a:pt x="5397" y="5880"/>
                  </a:lnTo>
                  <a:lnTo>
                    <a:pt x="3556" y="3886"/>
                  </a:lnTo>
                  <a:lnTo>
                    <a:pt x="1168" y="3606"/>
                  </a:lnTo>
                  <a:close/>
                </a:path>
                <a:path w="10159" h="13970">
                  <a:moveTo>
                    <a:pt x="3365" y="0"/>
                  </a:moveTo>
                  <a:lnTo>
                    <a:pt x="6807" y="5308"/>
                  </a:lnTo>
                  <a:lnTo>
                    <a:pt x="5397" y="5880"/>
                  </a:lnTo>
                  <a:lnTo>
                    <a:pt x="9622" y="5880"/>
                  </a:lnTo>
                  <a:lnTo>
                    <a:pt x="9838" y="3733"/>
                  </a:lnTo>
                  <a:lnTo>
                    <a:pt x="8839" y="3733"/>
                  </a:lnTo>
                  <a:lnTo>
                    <a:pt x="3365" y="0"/>
                  </a:lnTo>
                  <a:close/>
                </a:path>
                <a:path w="10159" h="13970">
                  <a:moveTo>
                    <a:pt x="8407" y="3365"/>
                  </a:moveTo>
                  <a:lnTo>
                    <a:pt x="8839" y="3733"/>
                  </a:lnTo>
                  <a:lnTo>
                    <a:pt x="9838" y="3733"/>
                  </a:lnTo>
                  <a:lnTo>
                    <a:pt x="9855" y="3568"/>
                  </a:lnTo>
                  <a:lnTo>
                    <a:pt x="8407" y="3365"/>
                  </a:lnTo>
                  <a:close/>
                </a:path>
              </a:pathLst>
            </a:custGeom>
            <a:solidFill>
              <a:srgbClr val="FFDF7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3" name="object 1175">
              <a:extLst>
                <a:ext uri="{FF2B5EF4-FFF2-40B4-BE49-F238E27FC236}">
                  <a16:creationId xmlns:a16="http://schemas.microsoft.com/office/drawing/2014/main" id="{AFA66DDB-0AF4-498E-9237-B16B638FACF5}"/>
                </a:ext>
              </a:extLst>
            </p:cNvPr>
            <p:cNvSpPr/>
            <p:nvPr/>
          </p:nvSpPr>
          <p:spPr>
            <a:xfrm>
              <a:off x="8062486" y="6341786"/>
              <a:ext cx="21590" cy="0"/>
            </a:xfrm>
            <a:custGeom>
              <a:avLst/>
              <a:gdLst/>
              <a:ahLst/>
              <a:cxnLst/>
              <a:rect l="l" t="t" r="r" b="b"/>
              <a:pathLst>
                <a:path w="21590">
                  <a:moveTo>
                    <a:pt x="0" y="0"/>
                  </a:moveTo>
                  <a:lnTo>
                    <a:pt x="21310" y="0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4" name="object 1176">
              <a:extLst>
                <a:ext uri="{FF2B5EF4-FFF2-40B4-BE49-F238E27FC236}">
                  <a16:creationId xmlns:a16="http://schemas.microsoft.com/office/drawing/2014/main" id="{4441208C-4464-4FDF-A5A4-3709230EA9F2}"/>
                </a:ext>
              </a:extLst>
            </p:cNvPr>
            <p:cNvSpPr/>
            <p:nvPr/>
          </p:nvSpPr>
          <p:spPr>
            <a:xfrm>
              <a:off x="8067985" y="6321606"/>
              <a:ext cx="11430" cy="20320"/>
            </a:xfrm>
            <a:custGeom>
              <a:avLst/>
              <a:gdLst/>
              <a:ahLst/>
              <a:cxnLst/>
              <a:rect l="l" t="t" r="r" b="b"/>
              <a:pathLst>
                <a:path w="11429" h="20320">
                  <a:moveTo>
                    <a:pt x="850" y="0"/>
                  </a:moveTo>
                  <a:lnTo>
                    <a:pt x="10731" y="0"/>
                  </a:lnTo>
                </a:path>
                <a:path w="11429" h="20320">
                  <a:moveTo>
                    <a:pt x="990" y="0"/>
                  </a:moveTo>
                  <a:lnTo>
                    <a:pt x="10871" y="0"/>
                  </a:lnTo>
                </a:path>
                <a:path w="11429" h="20320">
                  <a:moveTo>
                    <a:pt x="571" y="0"/>
                  </a:moveTo>
                  <a:lnTo>
                    <a:pt x="10452" y="0"/>
                  </a:lnTo>
                </a:path>
                <a:path w="11429" h="20320">
                  <a:moveTo>
                    <a:pt x="1130" y="17779"/>
                  </a:moveTo>
                  <a:lnTo>
                    <a:pt x="10160" y="17779"/>
                  </a:lnTo>
                </a:path>
                <a:path w="11429" h="20320">
                  <a:moveTo>
                    <a:pt x="1282" y="16649"/>
                  </a:moveTo>
                  <a:lnTo>
                    <a:pt x="9880" y="16649"/>
                  </a:lnTo>
                </a:path>
                <a:path w="11429" h="20320">
                  <a:moveTo>
                    <a:pt x="1981" y="4660"/>
                  </a:moveTo>
                  <a:lnTo>
                    <a:pt x="9169" y="4660"/>
                  </a:lnTo>
                </a:path>
                <a:path w="11429" h="20320">
                  <a:moveTo>
                    <a:pt x="2120" y="3530"/>
                  </a:moveTo>
                  <a:lnTo>
                    <a:pt x="9169" y="3530"/>
                  </a:lnTo>
                </a:path>
                <a:path w="11429" h="20320">
                  <a:moveTo>
                    <a:pt x="5651" y="990"/>
                  </a:moveTo>
                  <a:lnTo>
                    <a:pt x="5651" y="20040"/>
                  </a:lnTo>
                </a:path>
                <a:path w="11429" h="20320">
                  <a:moveTo>
                    <a:pt x="9029" y="990"/>
                  </a:moveTo>
                  <a:lnTo>
                    <a:pt x="10312" y="20180"/>
                  </a:lnTo>
                </a:path>
                <a:path w="11429" h="20320">
                  <a:moveTo>
                    <a:pt x="2260" y="850"/>
                  </a:moveTo>
                  <a:lnTo>
                    <a:pt x="990" y="20180"/>
                  </a:lnTo>
                </a:path>
                <a:path w="11429" h="20320">
                  <a:moveTo>
                    <a:pt x="11150" y="20180"/>
                  </a:moveTo>
                  <a:lnTo>
                    <a:pt x="10020" y="850"/>
                  </a:lnTo>
                  <a:lnTo>
                    <a:pt x="1282" y="850"/>
                  </a:lnTo>
                  <a:lnTo>
                    <a:pt x="0" y="20040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5" name="object 1177">
              <a:extLst>
                <a:ext uri="{FF2B5EF4-FFF2-40B4-BE49-F238E27FC236}">
                  <a16:creationId xmlns:a16="http://schemas.microsoft.com/office/drawing/2014/main" id="{3F8644DB-1DF3-46CD-8E35-EAFB511696B9}"/>
                </a:ext>
              </a:extLst>
            </p:cNvPr>
            <p:cNvSpPr/>
            <p:nvPr/>
          </p:nvSpPr>
          <p:spPr>
            <a:xfrm>
              <a:off x="8065351" y="6304258"/>
              <a:ext cx="25400" cy="17145"/>
            </a:xfrm>
            <a:custGeom>
              <a:avLst/>
              <a:gdLst/>
              <a:ahLst/>
              <a:cxnLst/>
              <a:rect l="l" t="t" r="r" b="b"/>
              <a:pathLst>
                <a:path w="25400" h="17145">
                  <a:moveTo>
                    <a:pt x="5321" y="9372"/>
                  </a:moveTo>
                  <a:lnTo>
                    <a:pt x="3124" y="9461"/>
                  </a:lnTo>
                  <a:lnTo>
                    <a:pt x="3111" y="9855"/>
                  </a:lnTo>
                  <a:lnTo>
                    <a:pt x="5321" y="9372"/>
                  </a:lnTo>
                  <a:close/>
                </a:path>
                <a:path w="25400" h="17145">
                  <a:moveTo>
                    <a:pt x="5461" y="8636"/>
                  </a:moveTo>
                  <a:lnTo>
                    <a:pt x="38" y="7950"/>
                  </a:lnTo>
                  <a:lnTo>
                    <a:pt x="0" y="9144"/>
                  </a:lnTo>
                  <a:lnTo>
                    <a:pt x="5461" y="8636"/>
                  </a:lnTo>
                  <a:close/>
                </a:path>
                <a:path w="25400" h="17145">
                  <a:moveTo>
                    <a:pt x="5461" y="8216"/>
                  </a:moveTo>
                  <a:lnTo>
                    <a:pt x="2984" y="7391"/>
                  </a:lnTo>
                  <a:lnTo>
                    <a:pt x="2971" y="7785"/>
                  </a:lnTo>
                  <a:lnTo>
                    <a:pt x="5461" y="8216"/>
                  </a:lnTo>
                  <a:close/>
                </a:path>
                <a:path w="25400" h="17145">
                  <a:moveTo>
                    <a:pt x="5549" y="7645"/>
                  </a:moveTo>
                  <a:lnTo>
                    <a:pt x="787" y="4826"/>
                  </a:lnTo>
                  <a:lnTo>
                    <a:pt x="342" y="5867"/>
                  </a:lnTo>
                  <a:lnTo>
                    <a:pt x="5549" y="7645"/>
                  </a:lnTo>
                  <a:close/>
                </a:path>
                <a:path w="25400" h="17145">
                  <a:moveTo>
                    <a:pt x="5715" y="9893"/>
                  </a:moveTo>
                  <a:lnTo>
                    <a:pt x="596" y="11239"/>
                  </a:lnTo>
                  <a:lnTo>
                    <a:pt x="1028" y="12357"/>
                  </a:lnTo>
                  <a:lnTo>
                    <a:pt x="5715" y="9893"/>
                  </a:lnTo>
                  <a:close/>
                </a:path>
                <a:path w="25400" h="17145">
                  <a:moveTo>
                    <a:pt x="5803" y="7124"/>
                  </a:moveTo>
                  <a:lnTo>
                    <a:pt x="3797" y="5448"/>
                  </a:lnTo>
                  <a:lnTo>
                    <a:pt x="3644" y="5816"/>
                  </a:lnTo>
                  <a:lnTo>
                    <a:pt x="5803" y="7124"/>
                  </a:lnTo>
                  <a:close/>
                </a:path>
                <a:path w="25400" h="17145">
                  <a:moveTo>
                    <a:pt x="5829" y="10617"/>
                  </a:moveTo>
                  <a:lnTo>
                    <a:pt x="3835" y="11518"/>
                  </a:lnTo>
                  <a:lnTo>
                    <a:pt x="4127" y="11811"/>
                  </a:lnTo>
                  <a:lnTo>
                    <a:pt x="5829" y="10617"/>
                  </a:lnTo>
                  <a:close/>
                </a:path>
                <a:path w="25400" h="17145">
                  <a:moveTo>
                    <a:pt x="6273" y="6553"/>
                  </a:moveTo>
                  <a:lnTo>
                    <a:pt x="2794" y="2171"/>
                  </a:lnTo>
                  <a:lnTo>
                    <a:pt x="1981" y="2959"/>
                  </a:lnTo>
                  <a:lnTo>
                    <a:pt x="6273" y="6553"/>
                  </a:lnTo>
                  <a:close/>
                </a:path>
                <a:path w="25400" h="17145">
                  <a:moveTo>
                    <a:pt x="6388" y="11023"/>
                  </a:moveTo>
                  <a:lnTo>
                    <a:pt x="2159" y="14274"/>
                  </a:lnTo>
                  <a:lnTo>
                    <a:pt x="3048" y="15138"/>
                  </a:lnTo>
                  <a:lnTo>
                    <a:pt x="6388" y="11023"/>
                  </a:lnTo>
                  <a:close/>
                </a:path>
                <a:path w="25400" h="17145">
                  <a:moveTo>
                    <a:pt x="6794" y="5994"/>
                  </a:moveTo>
                  <a:lnTo>
                    <a:pt x="5384" y="3810"/>
                  </a:lnTo>
                  <a:lnTo>
                    <a:pt x="5105" y="4089"/>
                  </a:lnTo>
                  <a:lnTo>
                    <a:pt x="6794" y="5994"/>
                  </a:lnTo>
                  <a:close/>
                </a:path>
                <a:path w="25400" h="17145">
                  <a:moveTo>
                    <a:pt x="6934" y="11468"/>
                  </a:moveTo>
                  <a:lnTo>
                    <a:pt x="5359" y="13144"/>
                  </a:lnTo>
                  <a:lnTo>
                    <a:pt x="5626" y="13436"/>
                  </a:lnTo>
                  <a:lnTo>
                    <a:pt x="6934" y="11468"/>
                  </a:lnTo>
                  <a:close/>
                </a:path>
                <a:path w="25400" h="17145">
                  <a:moveTo>
                    <a:pt x="7366" y="5638"/>
                  </a:moveTo>
                  <a:lnTo>
                    <a:pt x="5715" y="533"/>
                  </a:lnTo>
                  <a:lnTo>
                    <a:pt x="4673" y="977"/>
                  </a:lnTo>
                  <a:lnTo>
                    <a:pt x="7366" y="5638"/>
                  </a:lnTo>
                  <a:close/>
                </a:path>
                <a:path w="25400" h="17145">
                  <a:moveTo>
                    <a:pt x="7378" y="8953"/>
                  </a:moveTo>
                  <a:lnTo>
                    <a:pt x="6972" y="8483"/>
                  </a:lnTo>
                  <a:lnTo>
                    <a:pt x="7289" y="8051"/>
                  </a:lnTo>
                  <a:lnTo>
                    <a:pt x="6108" y="7785"/>
                  </a:lnTo>
                  <a:lnTo>
                    <a:pt x="5740" y="8343"/>
                  </a:lnTo>
                  <a:lnTo>
                    <a:pt x="5892" y="8953"/>
                  </a:lnTo>
                  <a:lnTo>
                    <a:pt x="6070" y="9334"/>
                  </a:lnTo>
                  <a:lnTo>
                    <a:pt x="7378" y="8953"/>
                  </a:lnTo>
                  <a:close/>
                </a:path>
                <a:path w="25400" h="17145">
                  <a:moveTo>
                    <a:pt x="7391" y="11722"/>
                  </a:moveTo>
                  <a:lnTo>
                    <a:pt x="4902" y="16370"/>
                  </a:lnTo>
                  <a:lnTo>
                    <a:pt x="6057" y="16814"/>
                  </a:lnTo>
                  <a:lnTo>
                    <a:pt x="7391" y="11722"/>
                  </a:lnTo>
                  <a:close/>
                </a:path>
                <a:path w="25400" h="17145">
                  <a:moveTo>
                    <a:pt x="7645" y="7480"/>
                  </a:moveTo>
                  <a:lnTo>
                    <a:pt x="7048" y="6438"/>
                  </a:lnTo>
                  <a:lnTo>
                    <a:pt x="6705" y="6515"/>
                  </a:lnTo>
                  <a:lnTo>
                    <a:pt x="6388" y="6756"/>
                  </a:lnTo>
                  <a:lnTo>
                    <a:pt x="6324" y="7239"/>
                  </a:lnTo>
                  <a:lnTo>
                    <a:pt x="7429" y="7696"/>
                  </a:lnTo>
                  <a:lnTo>
                    <a:pt x="7645" y="7480"/>
                  </a:lnTo>
                  <a:close/>
                </a:path>
                <a:path w="25400" h="17145">
                  <a:moveTo>
                    <a:pt x="7721" y="9677"/>
                  </a:moveTo>
                  <a:lnTo>
                    <a:pt x="7505" y="9474"/>
                  </a:lnTo>
                  <a:lnTo>
                    <a:pt x="6400" y="9944"/>
                  </a:lnTo>
                  <a:lnTo>
                    <a:pt x="6477" y="10426"/>
                  </a:lnTo>
                  <a:lnTo>
                    <a:pt x="6870" y="10731"/>
                  </a:lnTo>
                  <a:lnTo>
                    <a:pt x="7239" y="10795"/>
                  </a:lnTo>
                  <a:lnTo>
                    <a:pt x="7721" y="9677"/>
                  </a:lnTo>
                  <a:close/>
                </a:path>
                <a:path w="25400" h="17145">
                  <a:moveTo>
                    <a:pt x="7950" y="5308"/>
                  </a:moveTo>
                  <a:lnTo>
                    <a:pt x="7670" y="3111"/>
                  </a:lnTo>
                  <a:lnTo>
                    <a:pt x="7264" y="3111"/>
                  </a:lnTo>
                  <a:lnTo>
                    <a:pt x="7950" y="5308"/>
                  </a:lnTo>
                  <a:close/>
                </a:path>
                <a:path w="25400" h="17145">
                  <a:moveTo>
                    <a:pt x="8026" y="11811"/>
                  </a:moveTo>
                  <a:lnTo>
                    <a:pt x="7327" y="14008"/>
                  </a:lnTo>
                  <a:lnTo>
                    <a:pt x="7759" y="14122"/>
                  </a:lnTo>
                  <a:lnTo>
                    <a:pt x="8026" y="11811"/>
                  </a:lnTo>
                  <a:close/>
                </a:path>
                <a:path w="25400" h="17145">
                  <a:moveTo>
                    <a:pt x="9055" y="0"/>
                  </a:moveTo>
                  <a:lnTo>
                    <a:pt x="7924" y="0"/>
                  </a:lnTo>
                  <a:lnTo>
                    <a:pt x="8470" y="5270"/>
                  </a:lnTo>
                  <a:lnTo>
                    <a:pt x="9055" y="0"/>
                  </a:lnTo>
                  <a:close/>
                </a:path>
                <a:path w="25400" h="17145">
                  <a:moveTo>
                    <a:pt x="9258" y="17145"/>
                  </a:moveTo>
                  <a:lnTo>
                    <a:pt x="8648" y="11950"/>
                  </a:lnTo>
                  <a:lnTo>
                    <a:pt x="7988" y="17145"/>
                  </a:lnTo>
                  <a:lnTo>
                    <a:pt x="9258" y="17145"/>
                  </a:lnTo>
                  <a:close/>
                </a:path>
                <a:path w="25400" h="17145">
                  <a:moveTo>
                    <a:pt x="9258" y="6070"/>
                  </a:moveTo>
                  <a:lnTo>
                    <a:pt x="8699" y="5715"/>
                  </a:lnTo>
                  <a:lnTo>
                    <a:pt x="8140" y="5854"/>
                  </a:lnTo>
                  <a:lnTo>
                    <a:pt x="7708" y="6070"/>
                  </a:lnTo>
                  <a:lnTo>
                    <a:pt x="8039" y="7327"/>
                  </a:lnTo>
                  <a:lnTo>
                    <a:pt x="8699" y="6997"/>
                  </a:lnTo>
                  <a:lnTo>
                    <a:pt x="9080" y="7289"/>
                  </a:lnTo>
                  <a:lnTo>
                    <a:pt x="9118" y="6997"/>
                  </a:lnTo>
                  <a:lnTo>
                    <a:pt x="9258" y="6070"/>
                  </a:lnTo>
                  <a:close/>
                </a:path>
                <a:path w="25400" h="17145">
                  <a:moveTo>
                    <a:pt x="9321" y="11074"/>
                  </a:moveTo>
                  <a:lnTo>
                    <a:pt x="9182" y="10223"/>
                  </a:lnTo>
                  <a:lnTo>
                    <a:pt x="8610" y="10223"/>
                  </a:lnTo>
                  <a:lnTo>
                    <a:pt x="7988" y="10223"/>
                  </a:lnTo>
                  <a:lnTo>
                    <a:pt x="7772" y="11074"/>
                  </a:lnTo>
                  <a:lnTo>
                    <a:pt x="8204" y="11290"/>
                  </a:lnTo>
                  <a:lnTo>
                    <a:pt x="8763" y="11430"/>
                  </a:lnTo>
                  <a:lnTo>
                    <a:pt x="9321" y="11074"/>
                  </a:lnTo>
                  <a:close/>
                </a:path>
                <a:path w="25400" h="17145">
                  <a:moveTo>
                    <a:pt x="9537" y="8039"/>
                  </a:moveTo>
                  <a:lnTo>
                    <a:pt x="9131" y="7645"/>
                  </a:lnTo>
                  <a:lnTo>
                    <a:pt x="8140" y="7645"/>
                  </a:lnTo>
                  <a:lnTo>
                    <a:pt x="7734" y="8039"/>
                  </a:lnTo>
                  <a:lnTo>
                    <a:pt x="7734" y="9029"/>
                  </a:lnTo>
                  <a:lnTo>
                    <a:pt x="8140" y="9436"/>
                  </a:lnTo>
                  <a:lnTo>
                    <a:pt x="8636" y="9436"/>
                  </a:lnTo>
                  <a:lnTo>
                    <a:pt x="9131" y="9436"/>
                  </a:lnTo>
                  <a:lnTo>
                    <a:pt x="9537" y="9029"/>
                  </a:lnTo>
                  <a:lnTo>
                    <a:pt x="9537" y="8039"/>
                  </a:lnTo>
                  <a:close/>
                </a:path>
                <a:path w="25400" h="17145">
                  <a:moveTo>
                    <a:pt x="9728" y="3162"/>
                  </a:moveTo>
                  <a:lnTo>
                    <a:pt x="9359" y="3009"/>
                  </a:lnTo>
                  <a:lnTo>
                    <a:pt x="9067" y="5422"/>
                  </a:lnTo>
                  <a:lnTo>
                    <a:pt x="9728" y="3162"/>
                  </a:lnTo>
                  <a:close/>
                </a:path>
                <a:path w="25400" h="17145">
                  <a:moveTo>
                    <a:pt x="9931" y="14020"/>
                  </a:moveTo>
                  <a:lnTo>
                    <a:pt x="9220" y="11874"/>
                  </a:lnTo>
                  <a:lnTo>
                    <a:pt x="9550" y="14084"/>
                  </a:lnTo>
                  <a:lnTo>
                    <a:pt x="9931" y="14020"/>
                  </a:lnTo>
                  <a:close/>
                </a:path>
                <a:path w="25400" h="17145">
                  <a:moveTo>
                    <a:pt x="10731" y="7239"/>
                  </a:moveTo>
                  <a:lnTo>
                    <a:pt x="10655" y="6756"/>
                  </a:lnTo>
                  <a:lnTo>
                    <a:pt x="10274" y="6438"/>
                  </a:lnTo>
                  <a:lnTo>
                    <a:pt x="9918" y="6362"/>
                  </a:lnTo>
                  <a:lnTo>
                    <a:pt x="9410" y="7404"/>
                  </a:lnTo>
                  <a:lnTo>
                    <a:pt x="9702" y="7658"/>
                  </a:lnTo>
                  <a:lnTo>
                    <a:pt x="10731" y="7239"/>
                  </a:lnTo>
                  <a:close/>
                </a:path>
                <a:path w="25400" h="17145">
                  <a:moveTo>
                    <a:pt x="10883" y="9867"/>
                  </a:moveTo>
                  <a:lnTo>
                    <a:pt x="9690" y="9436"/>
                  </a:lnTo>
                  <a:lnTo>
                    <a:pt x="9486" y="9652"/>
                  </a:lnTo>
                  <a:lnTo>
                    <a:pt x="10020" y="10833"/>
                  </a:lnTo>
                  <a:lnTo>
                    <a:pt x="10363" y="10769"/>
                  </a:lnTo>
                  <a:lnTo>
                    <a:pt x="10820" y="10363"/>
                  </a:lnTo>
                  <a:lnTo>
                    <a:pt x="10883" y="9867"/>
                  </a:lnTo>
                  <a:close/>
                </a:path>
                <a:path w="25400" h="17145">
                  <a:moveTo>
                    <a:pt x="11455" y="8394"/>
                  </a:moveTo>
                  <a:lnTo>
                    <a:pt x="11125" y="7823"/>
                  </a:lnTo>
                  <a:lnTo>
                    <a:pt x="9766" y="8039"/>
                  </a:lnTo>
                  <a:lnTo>
                    <a:pt x="10172" y="8356"/>
                  </a:lnTo>
                  <a:lnTo>
                    <a:pt x="9829" y="9017"/>
                  </a:lnTo>
                  <a:lnTo>
                    <a:pt x="11087" y="9372"/>
                  </a:lnTo>
                  <a:lnTo>
                    <a:pt x="11303" y="8953"/>
                  </a:lnTo>
                  <a:lnTo>
                    <a:pt x="11455" y="8394"/>
                  </a:lnTo>
                  <a:close/>
                </a:path>
                <a:path w="25400" h="17145">
                  <a:moveTo>
                    <a:pt x="11734" y="4025"/>
                  </a:moveTo>
                  <a:lnTo>
                    <a:pt x="11442" y="3746"/>
                  </a:lnTo>
                  <a:lnTo>
                    <a:pt x="10325" y="5842"/>
                  </a:lnTo>
                  <a:lnTo>
                    <a:pt x="11734" y="4025"/>
                  </a:lnTo>
                  <a:close/>
                </a:path>
                <a:path w="25400" h="17145">
                  <a:moveTo>
                    <a:pt x="11988" y="13093"/>
                  </a:moveTo>
                  <a:lnTo>
                    <a:pt x="10541" y="11341"/>
                  </a:lnTo>
                  <a:lnTo>
                    <a:pt x="11696" y="13360"/>
                  </a:lnTo>
                  <a:lnTo>
                    <a:pt x="11988" y="13093"/>
                  </a:lnTo>
                  <a:close/>
                </a:path>
                <a:path w="25400" h="17145">
                  <a:moveTo>
                    <a:pt x="12103" y="889"/>
                  </a:moveTo>
                  <a:lnTo>
                    <a:pt x="10947" y="444"/>
                  </a:lnTo>
                  <a:lnTo>
                    <a:pt x="9740" y="5753"/>
                  </a:lnTo>
                  <a:lnTo>
                    <a:pt x="12103" y="889"/>
                  </a:lnTo>
                  <a:close/>
                </a:path>
                <a:path w="25400" h="17145">
                  <a:moveTo>
                    <a:pt x="12560" y="16192"/>
                  </a:moveTo>
                  <a:lnTo>
                    <a:pt x="9956" y="11531"/>
                  </a:lnTo>
                  <a:lnTo>
                    <a:pt x="11391" y="16687"/>
                  </a:lnTo>
                  <a:lnTo>
                    <a:pt x="12560" y="16192"/>
                  </a:lnTo>
                  <a:close/>
                </a:path>
                <a:path w="25400" h="17145">
                  <a:moveTo>
                    <a:pt x="13360" y="5638"/>
                  </a:moveTo>
                  <a:lnTo>
                    <a:pt x="13208" y="5270"/>
                  </a:lnTo>
                  <a:lnTo>
                    <a:pt x="11290" y="6654"/>
                  </a:lnTo>
                  <a:lnTo>
                    <a:pt x="13360" y="5638"/>
                  </a:lnTo>
                  <a:close/>
                </a:path>
                <a:path w="25400" h="17145">
                  <a:moveTo>
                    <a:pt x="13563" y="11303"/>
                  </a:moveTo>
                  <a:lnTo>
                    <a:pt x="11226" y="10274"/>
                  </a:lnTo>
                  <a:lnTo>
                    <a:pt x="13423" y="11671"/>
                  </a:lnTo>
                  <a:lnTo>
                    <a:pt x="13563" y="11303"/>
                  </a:lnTo>
                  <a:close/>
                </a:path>
                <a:path w="25400" h="17145">
                  <a:moveTo>
                    <a:pt x="14122" y="7505"/>
                  </a:moveTo>
                  <a:lnTo>
                    <a:pt x="13957" y="7137"/>
                  </a:lnTo>
                  <a:lnTo>
                    <a:pt x="11785" y="7924"/>
                  </a:lnTo>
                  <a:lnTo>
                    <a:pt x="14122" y="7505"/>
                  </a:lnTo>
                  <a:close/>
                </a:path>
                <a:path w="25400" h="17145">
                  <a:moveTo>
                    <a:pt x="14224" y="9321"/>
                  </a:moveTo>
                  <a:lnTo>
                    <a:pt x="11849" y="9080"/>
                  </a:lnTo>
                  <a:lnTo>
                    <a:pt x="14084" y="9690"/>
                  </a:lnTo>
                  <a:lnTo>
                    <a:pt x="14224" y="9321"/>
                  </a:lnTo>
                  <a:close/>
                </a:path>
                <a:path w="25400" h="17145">
                  <a:moveTo>
                    <a:pt x="14795" y="2819"/>
                  </a:moveTo>
                  <a:lnTo>
                    <a:pt x="13906" y="1955"/>
                  </a:lnTo>
                  <a:lnTo>
                    <a:pt x="10744" y="6400"/>
                  </a:lnTo>
                  <a:lnTo>
                    <a:pt x="14795" y="2819"/>
                  </a:lnTo>
                  <a:close/>
                </a:path>
                <a:path w="25400" h="17145">
                  <a:moveTo>
                    <a:pt x="15176" y="14020"/>
                  </a:moveTo>
                  <a:lnTo>
                    <a:pt x="10934" y="10756"/>
                  </a:lnTo>
                  <a:lnTo>
                    <a:pt x="14363" y="14947"/>
                  </a:lnTo>
                  <a:lnTo>
                    <a:pt x="15176" y="14020"/>
                  </a:lnTo>
                  <a:close/>
                </a:path>
                <a:path w="25400" h="17145">
                  <a:moveTo>
                    <a:pt x="16560" y="5791"/>
                  </a:moveTo>
                  <a:lnTo>
                    <a:pt x="16154" y="4737"/>
                  </a:lnTo>
                  <a:lnTo>
                    <a:pt x="11506" y="7340"/>
                  </a:lnTo>
                  <a:lnTo>
                    <a:pt x="16560" y="5791"/>
                  </a:lnTo>
                  <a:close/>
                </a:path>
                <a:path w="25400" h="17145">
                  <a:moveTo>
                    <a:pt x="16802" y="11061"/>
                  </a:moveTo>
                  <a:lnTo>
                    <a:pt x="11595" y="9626"/>
                  </a:lnTo>
                  <a:lnTo>
                    <a:pt x="16408" y="12242"/>
                  </a:lnTo>
                  <a:lnTo>
                    <a:pt x="16802" y="11061"/>
                  </a:lnTo>
                  <a:close/>
                </a:path>
                <a:path w="25400" h="17145">
                  <a:moveTo>
                    <a:pt x="17043" y="7924"/>
                  </a:moveTo>
                  <a:lnTo>
                    <a:pt x="11734" y="8521"/>
                  </a:lnTo>
                  <a:lnTo>
                    <a:pt x="17005" y="9055"/>
                  </a:lnTo>
                  <a:lnTo>
                    <a:pt x="17043" y="7924"/>
                  </a:lnTo>
                  <a:close/>
                </a:path>
                <a:path w="25400" h="17145">
                  <a:moveTo>
                    <a:pt x="25260" y="6629"/>
                  </a:moveTo>
                  <a:lnTo>
                    <a:pt x="17449" y="8089"/>
                  </a:lnTo>
                  <a:lnTo>
                    <a:pt x="17449" y="8369"/>
                  </a:lnTo>
                  <a:lnTo>
                    <a:pt x="25260" y="7073"/>
                  </a:lnTo>
                  <a:lnTo>
                    <a:pt x="25260" y="6629"/>
                  </a:lnTo>
                  <a:close/>
                </a:path>
                <a:path w="25400" h="17145">
                  <a:moveTo>
                    <a:pt x="25298" y="13081"/>
                  </a:moveTo>
                  <a:lnTo>
                    <a:pt x="17526" y="11328"/>
                  </a:lnTo>
                  <a:lnTo>
                    <a:pt x="17500" y="11633"/>
                  </a:lnTo>
                  <a:lnTo>
                    <a:pt x="25273" y="13538"/>
                  </a:lnTo>
                  <a:lnTo>
                    <a:pt x="25298" y="13081"/>
                  </a:lnTo>
                  <a:close/>
                </a:path>
                <a:path w="25400" h="17145">
                  <a:moveTo>
                    <a:pt x="25298" y="7594"/>
                  </a:moveTo>
                  <a:lnTo>
                    <a:pt x="17487" y="8686"/>
                  </a:lnTo>
                  <a:lnTo>
                    <a:pt x="17487" y="11036"/>
                  </a:lnTo>
                  <a:lnTo>
                    <a:pt x="25298" y="12674"/>
                  </a:lnTo>
                  <a:lnTo>
                    <a:pt x="25298" y="7594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6" name="object 1178">
              <a:extLst>
                <a:ext uri="{FF2B5EF4-FFF2-40B4-BE49-F238E27FC236}">
                  <a16:creationId xmlns:a16="http://schemas.microsoft.com/office/drawing/2014/main" id="{EE92BDAD-66EC-407E-A12D-51D1052D5C48}"/>
                </a:ext>
              </a:extLst>
            </p:cNvPr>
            <p:cNvSpPr/>
            <p:nvPr/>
          </p:nvSpPr>
          <p:spPr>
            <a:xfrm>
              <a:off x="8001661" y="6301518"/>
              <a:ext cx="11430" cy="36195"/>
            </a:xfrm>
            <a:custGeom>
              <a:avLst/>
              <a:gdLst/>
              <a:ahLst/>
              <a:cxnLst/>
              <a:rect l="l" t="t" r="r" b="b"/>
              <a:pathLst>
                <a:path w="11429" h="36195">
                  <a:moveTo>
                    <a:pt x="2743" y="1727"/>
                  </a:moveTo>
                  <a:lnTo>
                    <a:pt x="7912" y="1727"/>
                  </a:lnTo>
                </a:path>
                <a:path w="11429" h="36195">
                  <a:moveTo>
                    <a:pt x="2565" y="5067"/>
                  </a:moveTo>
                  <a:lnTo>
                    <a:pt x="8178" y="5067"/>
                  </a:lnTo>
                </a:path>
                <a:path w="11429" h="36195">
                  <a:moveTo>
                    <a:pt x="2057" y="10337"/>
                  </a:moveTo>
                  <a:lnTo>
                    <a:pt x="8509" y="10337"/>
                  </a:lnTo>
                </a:path>
                <a:path w="11429" h="36195">
                  <a:moveTo>
                    <a:pt x="4140" y="1193"/>
                  </a:moveTo>
                  <a:lnTo>
                    <a:pt x="3683" y="0"/>
                  </a:lnTo>
                </a:path>
                <a:path w="11429" h="36195">
                  <a:moveTo>
                    <a:pt x="6413" y="1193"/>
                  </a:moveTo>
                  <a:lnTo>
                    <a:pt x="6858" y="0"/>
                  </a:lnTo>
                </a:path>
                <a:path w="11429" h="36195">
                  <a:moveTo>
                    <a:pt x="6489" y="4889"/>
                  </a:moveTo>
                  <a:lnTo>
                    <a:pt x="7861" y="2374"/>
                  </a:lnTo>
                  <a:lnTo>
                    <a:pt x="5359" y="0"/>
                  </a:lnTo>
                  <a:lnTo>
                    <a:pt x="2590" y="3022"/>
                  </a:lnTo>
                  <a:lnTo>
                    <a:pt x="4038" y="4889"/>
                  </a:lnTo>
                </a:path>
                <a:path w="11429" h="36195">
                  <a:moveTo>
                    <a:pt x="6946" y="10198"/>
                  </a:moveTo>
                  <a:lnTo>
                    <a:pt x="8128" y="6464"/>
                  </a:lnTo>
                  <a:lnTo>
                    <a:pt x="5359" y="3670"/>
                  </a:lnTo>
                  <a:lnTo>
                    <a:pt x="2324" y="6680"/>
                  </a:lnTo>
                  <a:lnTo>
                    <a:pt x="3416" y="10198"/>
                  </a:lnTo>
                </a:path>
                <a:path w="11429" h="36195">
                  <a:moveTo>
                    <a:pt x="2768" y="0"/>
                  </a:moveTo>
                  <a:lnTo>
                    <a:pt x="7670" y="0"/>
                  </a:lnTo>
                  <a:lnTo>
                    <a:pt x="8763" y="13576"/>
                  </a:lnTo>
                  <a:lnTo>
                    <a:pt x="5359" y="7010"/>
                  </a:lnTo>
                  <a:lnTo>
                    <a:pt x="1778" y="13462"/>
                  </a:lnTo>
                  <a:lnTo>
                    <a:pt x="2768" y="0"/>
                  </a:lnTo>
                  <a:close/>
                </a:path>
                <a:path w="11429" h="36195">
                  <a:moveTo>
                    <a:pt x="1422" y="17424"/>
                  </a:moveTo>
                  <a:lnTo>
                    <a:pt x="9512" y="17424"/>
                  </a:lnTo>
                </a:path>
                <a:path w="11429" h="36195">
                  <a:moveTo>
                    <a:pt x="977" y="22631"/>
                  </a:moveTo>
                  <a:lnTo>
                    <a:pt x="9766" y="22631"/>
                  </a:lnTo>
                </a:path>
                <a:path w="11429" h="36195">
                  <a:moveTo>
                    <a:pt x="431" y="30873"/>
                  </a:moveTo>
                  <a:lnTo>
                    <a:pt x="10502" y="30873"/>
                  </a:lnTo>
                </a:path>
                <a:path w="11429" h="36195">
                  <a:moveTo>
                    <a:pt x="3632" y="16459"/>
                  </a:moveTo>
                  <a:lnTo>
                    <a:pt x="2971" y="14732"/>
                  </a:lnTo>
                </a:path>
                <a:path w="11429" h="36195">
                  <a:moveTo>
                    <a:pt x="7289" y="16548"/>
                  </a:moveTo>
                  <a:lnTo>
                    <a:pt x="7937" y="14732"/>
                  </a:lnTo>
                </a:path>
                <a:path w="11429" h="36195">
                  <a:moveTo>
                    <a:pt x="1562" y="14732"/>
                  </a:moveTo>
                  <a:lnTo>
                    <a:pt x="9220" y="14732"/>
                  </a:lnTo>
                  <a:lnTo>
                    <a:pt x="10922" y="35928"/>
                  </a:lnTo>
                  <a:lnTo>
                    <a:pt x="5359" y="25666"/>
                  </a:lnTo>
                  <a:lnTo>
                    <a:pt x="0" y="35763"/>
                  </a:lnTo>
                  <a:lnTo>
                    <a:pt x="1562" y="14732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7" name="object 1179">
              <a:extLst>
                <a:ext uri="{FF2B5EF4-FFF2-40B4-BE49-F238E27FC236}">
                  <a16:creationId xmlns:a16="http://schemas.microsoft.com/office/drawing/2014/main" id="{4D1BF072-F1F1-4838-8166-DE3BBA1919FC}"/>
                </a:ext>
              </a:extLst>
            </p:cNvPr>
            <p:cNvSpPr/>
            <p:nvPr/>
          </p:nvSpPr>
          <p:spPr>
            <a:xfrm>
              <a:off x="8003964" y="6300834"/>
              <a:ext cx="6350" cy="1905"/>
            </a:xfrm>
            <a:custGeom>
              <a:avLst/>
              <a:gdLst/>
              <a:ahLst/>
              <a:cxnLst/>
              <a:rect l="l" t="t" r="r" b="b"/>
              <a:pathLst>
                <a:path w="6350" h="1904">
                  <a:moveTo>
                    <a:pt x="355" y="1333"/>
                  </a:moveTo>
                  <a:lnTo>
                    <a:pt x="635" y="660"/>
                  </a:lnTo>
                  <a:lnTo>
                    <a:pt x="5181" y="660"/>
                  </a:lnTo>
                  <a:lnTo>
                    <a:pt x="5321" y="1498"/>
                  </a:lnTo>
                  <a:lnTo>
                    <a:pt x="5816" y="0"/>
                  </a:lnTo>
                  <a:lnTo>
                    <a:pt x="0" y="0"/>
                  </a:lnTo>
                  <a:lnTo>
                    <a:pt x="355" y="1333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8" name="object 1180">
              <a:extLst>
                <a:ext uri="{FF2B5EF4-FFF2-40B4-BE49-F238E27FC236}">
                  <a16:creationId xmlns:a16="http://schemas.microsoft.com/office/drawing/2014/main" id="{8FF45182-9F97-4131-B779-129C21F031E8}"/>
                </a:ext>
              </a:extLst>
            </p:cNvPr>
            <p:cNvSpPr/>
            <p:nvPr/>
          </p:nvSpPr>
          <p:spPr>
            <a:xfrm>
              <a:off x="8005774" y="6299245"/>
              <a:ext cx="2540" cy="1905"/>
            </a:xfrm>
            <a:custGeom>
              <a:avLst/>
              <a:gdLst/>
              <a:ahLst/>
              <a:cxnLst/>
              <a:rect l="l" t="t" r="r" b="b"/>
              <a:pathLst>
                <a:path w="2540" h="1904">
                  <a:moveTo>
                    <a:pt x="0" y="1473"/>
                  </a:moveTo>
                  <a:lnTo>
                    <a:pt x="0" y="0"/>
                  </a:lnTo>
                  <a:lnTo>
                    <a:pt x="2273" y="0"/>
                  </a:lnTo>
                  <a:lnTo>
                    <a:pt x="2273" y="1473"/>
                  </a:lnTo>
                  <a:lnTo>
                    <a:pt x="0" y="139"/>
                  </a:lnTo>
                  <a:lnTo>
                    <a:pt x="2273" y="139"/>
                  </a:lnTo>
                  <a:lnTo>
                    <a:pt x="0" y="1473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89" name="object 1181">
              <a:extLst>
                <a:ext uri="{FF2B5EF4-FFF2-40B4-BE49-F238E27FC236}">
                  <a16:creationId xmlns:a16="http://schemas.microsoft.com/office/drawing/2014/main" id="{34F6E2F8-A408-4B00-AB2C-9F2FB26433CF}"/>
                </a:ext>
              </a:extLst>
            </p:cNvPr>
            <p:cNvSpPr/>
            <p:nvPr/>
          </p:nvSpPr>
          <p:spPr>
            <a:xfrm>
              <a:off x="8001377" y="6301607"/>
              <a:ext cx="15875" cy="39370"/>
            </a:xfrm>
            <a:custGeom>
              <a:avLst/>
              <a:gdLst/>
              <a:ahLst/>
              <a:cxnLst/>
              <a:rect l="l" t="t" r="r" b="b"/>
              <a:pathLst>
                <a:path w="15875" h="39370">
                  <a:moveTo>
                    <a:pt x="8369" y="30454"/>
                  </a:moveTo>
                  <a:lnTo>
                    <a:pt x="10299" y="24904"/>
                  </a:lnTo>
                  <a:lnTo>
                    <a:pt x="5651" y="20358"/>
                  </a:lnTo>
                  <a:lnTo>
                    <a:pt x="1130" y="24904"/>
                  </a:lnTo>
                  <a:lnTo>
                    <a:pt x="1104" y="27825"/>
                  </a:lnTo>
                  <a:lnTo>
                    <a:pt x="2082" y="28244"/>
                  </a:lnTo>
                  <a:lnTo>
                    <a:pt x="2171" y="30175"/>
                  </a:lnTo>
                  <a:lnTo>
                    <a:pt x="2590" y="33185"/>
                  </a:lnTo>
                  <a:lnTo>
                    <a:pt x="3047" y="33185"/>
                  </a:lnTo>
                  <a:lnTo>
                    <a:pt x="3924" y="33172"/>
                  </a:lnTo>
                  <a:lnTo>
                    <a:pt x="3390" y="31432"/>
                  </a:lnTo>
                  <a:lnTo>
                    <a:pt x="4991" y="31267"/>
                  </a:lnTo>
                </a:path>
                <a:path w="15875" h="39370">
                  <a:moveTo>
                    <a:pt x="8801" y="35775"/>
                  </a:moveTo>
                  <a:lnTo>
                    <a:pt x="8801" y="39179"/>
                  </a:lnTo>
                  <a:lnTo>
                    <a:pt x="15468" y="39179"/>
                  </a:lnTo>
                  <a:lnTo>
                    <a:pt x="15608" y="35636"/>
                  </a:lnTo>
                  <a:lnTo>
                    <a:pt x="292" y="35636"/>
                  </a:lnTo>
                  <a:lnTo>
                    <a:pt x="0" y="39319"/>
                  </a:lnTo>
                </a:path>
                <a:path w="15875" h="39370">
                  <a:moveTo>
                    <a:pt x="6235" y="13550"/>
                  </a:moveTo>
                  <a:lnTo>
                    <a:pt x="6235" y="0"/>
                  </a:lnTo>
                </a:path>
                <a:path w="15875" h="39370">
                  <a:moveTo>
                    <a:pt x="6235" y="26238"/>
                  </a:moveTo>
                  <a:lnTo>
                    <a:pt x="6235" y="14592"/>
                  </a:lnTo>
                </a:path>
                <a:path w="15875" h="39370">
                  <a:moveTo>
                    <a:pt x="4965" y="13550"/>
                  </a:moveTo>
                  <a:lnTo>
                    <a:pt x="4965" y="165"/>
                  </a:lnTo>
                </a:path>
                <a:path w="15875" h="39370">
                  <a:moveTo>
                    <a:pt x="4965" y="26238"/>
                  </a:moveTo>
                  <a:lnTo>
                    <a:pt x="4965" y="14516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0" name="object 1182">
              <a:extLst>
                <a:ext uri="{FF2B5EF4-FFF2-40B4-BE49-F238E27FC236}">
                  <a16:creationId xmlns:a16="http://schemas.microsoft.com/office/drawing/2014/main" id="{AB73DCA2-7BD5-4A13-8803-79C79ECDCADE}"/>
                </a:ext>
              </a:extLst>
            </p:cNvPr>
            <p:cNvSpPr/>
            <p:nvPr/>
          </p:nvSpPr>
          <p:spPr>
            <a:xfrm>
              <a:off x="8006492" y="6333050"/>
              <a:ext cx="1270" cy="7620"/>
            </a:xfrm>
            <a:custGeom>
              <a:avLst/>
              <a:gdLst/>
              <a:ahLst/>
              <a:cxnLst/>
              <a:rect l="l" t="t" r="r" b="b"/>
              <a:pathLst>
                <a:path w="1270" h="7620">
                  <a:moveTo>
                    <a:pt x="533" y="0"/>
                  </a:moveTo>
                  <a:lnTo>
                    <a:pt x="0" y="368"/>
                  </a:lnTo>
                  <a:lnTo>
                    <a:pt x="0" y="7594"/>
                  </a:lnTo>
                  <a:lnTo>
                    <a:pt x="1130" y="7594"/>
                  </a:lnTo>
                  <a:lnTo>
                    <a:pt x="1130" y="368"/>
                  </a:lnTo>
                  <a:lnTo>
                    <a:pt x="533" y="0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1" name="object 1183">
              <a:extLst>
                <a:ext uri="{FF2B5EF4-FFF2-40B4-BE49-F238E27FC236}">
                  <a16:creationId xmlns:a16="http://schemas.microsoft.com/office/drawing/2014/main" id="{AB0BB05A-B9A7-49B1-B83C-65B11584ED2E}"/>
                </a:ext>
              </a:extLst>
            </p:cNvPr>
            <p:cNvSpPr/>
            <p:nvPr/>
          </p:nvSpPr>
          <p:spPr>
            <a:xfrm>
              <a:off x="8006492" y="6327310"/>
              <a:ext cx="1270" cy="13335"/>
            </a:xfrm>
            <a:custGeom>
              <a:avLst/>
              <a:gdLst/>
              <a:ahLst/>
              <a:cxnLst/>
              <a:rect l="l" t="t" r="r" b="b"/>
              <a:pathLst>
                <a:path w="1270" h="13334">
                  <a:moveTo>
                    <a:pt x="533" y="0"/>
                  </a:moveTo>
                  <a:lnTo>
                    <a:pt x="533" y="5740"/>
                  </a:lnTo>
                  <a:lnTo>
                    <a:pt x="1130" y="6108"/>
                  </a:lnTo>
                  <a:lnTo>
                    <a:pt x="1130" y="13335"/>
                  </a:lnTo>
                  <a:lnTo>
                    <a:pt x="0" y="13335"/>
                  </a:lnTo>
                  <a:lnTo>
                    <a:pt x="0" y="6108"/>
                  </a:lnTo>
                  <a:lnTo>
                    <a:pt x="533" y="5740"/>
                  </a:lnTo>
                  <a:lnTo>
                    <a:pt x="533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2" name="object 1184">
              <a:extLst>
                <a:ext uri="{FF2B5EF4-FFF2-40B4-BE49-F238E27FC236}">
                  <a16:creationId xmlns:a16="http://schemas.microsoft.com/office/drawing/2014/main" id="{3D100742-3C23-4024-B761-76BDC4846529}"/>
                </a:ext>
              </a:extLst>
            </p:cNvPr>
            <p:cNvSpPr/>
            <p:nvPr/>
          </p:nvSpPr>
          <p:spPr>
            <a:xfrm>
              <a:off x="8012583" y="6337385"/>
              <a:ext cx="635" cy="3810"/>
            </a:xfrm>
            <a:custGeom>
              <a:avLst/>
              <a:gdLst/>
              <a:ahLst/>
              <a:cxnLst/>
              <a:rect l="l" t="t" r="r" b="b"/>
              <a:pathLst>
                <a:path w="634" h="3809">
                  <a:moveTo>
                    <a:pt x="0" y="0"/>
                  </a:moveTo>
                  <a:lnTo>
                    <a:pt x="431" y="3403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3" name="object 1185">
              <a:extLst>
                <a:ext uri="{FF2B5EF4-FFF2-40B4-BE49-F238E27FC236}">
                  <a16:creationId xmlns:a16="http://schemas.microsoft.com/office/drawing/2014/main" id="{B8C843FB-4F8E-4AE6-B13B-189D525E88E7}"/>
                </a:ext>
              </a:extLst>
            </p:cNvPr>
            <p:cNvSpPr/>
            <p:nvPr/>
          </p:nvSpPr>
          <p:spPr>
            <a:xfrm>
              <a:off x="7998955" y="6336313"/>
              <a:ext cx="5715" cy="5080"/>
            </a:xfrm>
            <a:custGeom>
              <a:avLst/>
              <a:gdLst/>
              <a:ahLst/>
              <a:cxnLst/>
              <a:rect l="l" t="t" r="r" b="b"/>
              <a:pathLst>
                <a:path w="5715" h="5079">
                  <a:moveTo>
                    <a:pt x="5651" y="3238"/>
                  </a:moveTo>
                  <a:lnTo>
                    <a:pt x="5194" y="2679"/>
                  </a:lnTo>
                  <a:lnTo>
                    <a:pt x="4902" y="2362"/>
                  </a:lnTo>
                  <a:lnTo>
                    <a:pt x="4622" y="2095"/>
                  </a:lnTo>
                  <a:lnTo>
                    <a:pt x="4102" y="1574"/>
                  </a:lnTo>
                  <a:lnTo>
                    <a:pt x="4191" y="736"/>
                  </a:lnTo>
                  <a:lnTo>
                    <a:pt x="4254" y="0"/>
                  </a:lnTo>
                  <a:lnTo>
                    <a:pt x="4051" y="101"/>
                  </a:lnTo>
                  <a:lnTo>
                    <a:pt x="3860" y="254"/>
                  </a:lnTo>
                  <a:lnTo>
                    <a:pt x="3822" y="457"/>
                  </a:lnTo>
                  <a:lnTo>
                    <a:pt x="3721" y="876"/>
                  </a:lnTo>
                  <a:lnTo>
                    <a:pt x="3924" y="1320"/>
                  </a:lnTo>
                  <a:lnTo>
                    <a:pt x="3759" y="2197"/>
                  </a:lnTo>
                  <a:lnTo>
                    <a:pt x="3378" y="2578"/>
                  </a:lnTo>
                  <a:lnTo>
                    <a:pt x="2857" y="2768"/>
                  </a:lnTo>
                  <a:lnTo>
                    <a:pt x="3149" y="3213"/>
                  </a:lnTo>
                  <a:lnTo>
                    <a:pt x="711" y="2921"/>
                  </a:lnTo>
                  <a:lnTo>
                    <a:pt x="0" y="3771"/>
                  </a:lnTo>
                  <a:lnTo>
                    <a:pt x="571" y="3352"/>
                  </a:lnTo>
                  <a:lnTo>
                    <a:pt x="3200" y="3352"/>
                  </a:lnTo>
                  <a:lnTo>
                    <a:pt x="2717" y="4140"/>
                  </a:lnTo>
                  <a:lnTo>
                    <a:pt x="3086" y="4356"/>
                  </a:lnTo>
                  <a:lnTo>
                    <a:pt x="3632" y="4673"/>
                  </a:lnTo>
                  <a:lnTo>
                    <a:pt x="4470" y="4470"/>
                  </a:lnTo>
                  <a:lnTo>
                    <a:pt x="5181" y="4635"/>
                  </a:lnTo>
                  <a:lnTo>
                    <a:pt x="4787" y="4368"/>
                  </a:lnTo>
                  <a:lnTo>
                    <a:pt x="5156" y="4076"/>
                  </a:lnTo>
                  <a:lnTo>
                    <a:pt x="5359" y="3543"/>
                  </a:lnTo>
                  <a:lnTo>
                    <a:pt x="5651" y="3238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4" name="object 1186">
              <a:extLst>
                <a:ext uri="{FF2B5EF4-FFF2-40B4-BE49-F238E27FC236}">
                  <a16:creationId xmlns:a16="http://schemas.microsoft.com/office/drawing/2014/main" id="{EF4DD5C8-98AE-4433-B3E1-C431116861B5}"/>
                </a:ext>
              </a:extLst>
            </p:cNvPr>
            <p:cNvSpPr/>
            <p:nvPr/>
          </p:nvSpPr>
          <p:spPr>
            <a:xfrm>
              <a:off x="7999962" y="6340786"/>
              <a:ext cx="10795" cy="0"/>
            </a:xfrm>
            <a:custGeom>
              <a:avLst/>
              <a:gdLst/>
              <a:ahLst/>
              <a:cxnLst/>
              <a:rect l="l" t="t" r="r" b="b"/>
              <a:pathLst>
                <a:path w="10795">
                  <a:moveTo>
                    <a:pt x="0" y="0"/>
                  </a:moveTo>
                  <a:lnTo>
                    <a:pt x="10223" y="0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5" name="object 1187">
              <a:extLst>
                <a:ext uri="{FF2B5EF4-FFF2-40B4-BE49-F238E27FC236}">
                  <a16:creationId xmlns:a16="http://schemas.microsoft.com/office/drawing/2014/main" id="{2DD90497-3961-4501-935A-51276D1404CC}"/>
                </a:ext>
              </a:extLst>
            </p:cNvPr>
            <p:cNvSpPr/>
            <p:nvPr/>
          </p:nvSpPr>
          <p:spPr>
            <a:xfrm>
              <a:off x="8004996" y="6339833"/>
              <a:ext cx="6350" cy="1270"/>
            </a:xfrm>
            <a:custGeom>
              <a:avLst/>
              <a:gdLst/>
              <a:ahLst/>
              <a:cxnLst/>
              <a:rect l="l" t="t" r="r" b="b"/>
              <a:pathLst>
                <a:path w="6350" h="1270">
                  <a:moveTo>
                    <a:pt x="2222" y="0"/>
                  </a:moveTo>
                  <a:lnTo>
                    <a:pt x="1816" y="0"/>
                  </a:lnTo>
                  <a:lnTo>
                    <a:pt x="1473" y="190"/>
                  </a:lnTo>
                  <a:lnTo>
                    <a:pt x="622" y="406"/>
                  </a:lnTo>
                  <a:lnTo>
                    <a:pt x="0" y="444"/>
                  </a:lnTo>
                  <a:lnTo>
                    <a:pt x="76" y="952"/>
                  </a:lnTo>
                  <a:lnTo>
                    <a:pt x="3898" y="952"/>
                  </a:lnTo>
                  <a:lnTo>
                    <a:pt x="4978" y="1041"/>
                  </a:lnTo>
                  <a:lnTo>
                    <a:pt x="5803" y="812"/>
                  </a:lnTo>
                  <a:lnTo>
                    <a:pt x="5740" y="660"/>
                  </a:lnTo>
                  <a:lnTo>
                    <a:pt x="4406" y="609"/>
                  </a:lnTo>
                  <a:lnTo>
                    <a:pt x="3390" y="495"/>
                  </a:lnTo>
                  <a:lnTo>
                    <a:pt x="3213" y="190"/>
                  </a:lnTo>
                  <a:lnTo>
                    <a:pt x="2222" y="0"/>
                  </a:lnTo>
                  <a:close/>
                </a:path>
                <a:path w="6350" h="1270">
                  <a:moveTo>
                    <a:pt x="5435" y="419"/>
                  </a:moveTo>
                  <a:lnTo>
                    <a:pt x="4406" y="609"/>
                  </a:lnTo>
                  <a:lnTo>
                    <a:pt x="5676" y="609"/>
                  </a:lnTo>
                  <a:lnTo>
                    <a:pt x="5435" y="419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6" name="object 1188">
              <a:extLst>
                <a:ext uri="{FF2B5EF4-FFF2-40B4-BE49-F238E27FC236}">
                  <a16:creationId xmlns:a16="http://schemas.microsoft.com/office/drawing/2014/main" id="{FDA67F26-5CA1-43A3-901F-E42F709CB00C}"/>
                </a:ext>
              </a:extLst>
            </p:cNvPr>
            <p:cNvSpPr/>
            <p:nvPr/>
          </p:nvSpPr>
          <p:spPr>
            <a:xfrm>
              <a:off x="8002412" y="6316249"/>
              <a:ext cx="9525" cy="12065"/>
            </a:xfrm>
            <a:custGeom>
              <a:avLst/>
              <a:gdLst/>
              <a:ahLst/>
              <a:cxnLst/>
              <a:rect l="l" t="t" r="r" b="b"/>
              <a:pathLst>
                <a:path w="9525" h="12065">
                  <a:moveTo>
                    <a:pt x="5346" y="11595"/>
                  </a:moveTo>
                  <a:lnTo>
                    <a:pt x="8750" y="4203"/>
                  </a:lnTo>
                  <a:lnTo>
                    <a:pt x="4610" y="0"/>
                  </a:lnTo>
                  <a:lnTo>
                    <a:pt x="520" y="4203"/>
                  </a:lnTo>
                  <a:lnTo>
                    <a:pt x="3784" y="11595"/>
                  </a:lnTo>
                </a:path>
                <a:path w="9525" h="12065">
                  <a:moveTo>
                    <a:pt x="0" y="11595"/>
                  </a:moveTo>
                  <a:lnTo>
                    <a:pt x="9359" y="11595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7" name="object 1189">
              <a:extLst>
                <a:ext uri="{FF2B5EF4-FFF2-40B4-BE49-F238E27FC236}">
                  <a16:creationId xmlns:a16="http://schemas.microsoft.com/office/drawing/2014/main" id="{F73950BC-AD0E-47C4-BF6A-2F8CF209A5AE}"/>
                </a:ext>
              </a:extLst>
            </p:cNvPr>
            <p:cNvSpPr/>
            <p:nvPr/>
          </p:nvSpPr>
          <p:spPr>
            <a:xfrm>
              <a:off x="8002796" y="6315240"/>
              <a:ext cx="8890" cy="1905"/>
            </a:xfrm>
            <a:custGeom>
              <a:avLst/>
              <a:gdLst/>
              <a:ahLst/>
              <a:cxnLst/>
              <a:rect l="l" t="t" r="r" b="b"/>
              <a:pathLst>
                <a:path w="8890" h="1904">
                  <a:moveTo>
                    <a:pt x="279" y="1676"/>
                  </a:moveTo>
                  <a:lnTo>
                    <a:pt x="419" y="838"/>
                  </a:lnTo>
                  <a:lnTo>
                    <a:pt x="8077" y="838"/>
                  </a:lnTo>
                  <a:lnTo>
                    <a:pt x="8229" y="1841"/>
                  </a:lnTo>
                  <a:lnTo>
                    <a:pt x="8648" y="0"/>
                  </a:lnTo>
                  <a:lnTo>
                    <a:pt x="0" y="0"/>
                  </a:lnTo>
                  <a:lnTo>
                    <a:pt x="279" y="1676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8" name="object 1190">
              <a:extLst>
                <a:ext uri="{FF2B5EF4-FFF2-40B4-BE49-F238E27FC236}">
                  <a16:creationId xmlns:a16="http://schemas.microsoft.com/office/drawing/2014/main" id="{8B9F8DF0-5E90-481A-99E2-ED6035431B73}"/>
                </a:ext>
              </a:extLst>
            </p:cNvPr>
            <p:cNvSpPr/>
            <p:nvPr/>
          </p:nvSpPr>
          <p:spPr>
            <a:xfrm>
              <a:off x="8033118" y="6364903"/>
              <a:ext cx="29209" cy="7620"/>
            </a:xfrm>
            <a:custGeom>
              <a:avLst/>
              <a:gdLst/>
              <a:ahLst/>
              <a:cxnLst/>
              <a:rect l="l" t="t" r="r" b="b"/>
              <a:pathLst>
                <a:path w="29209" h="7620">
                  <a:moveTo>
                    <a:pt x="0" y="4800"/>
                  </a:moveTo>
                  <a:lnTo>
                    <a:pt x="28651" y="7340"/>
                  </a:lnTo>
                  <a:lnTo>
                    <a:pt x="28651" y="2540"/>
                  </a:lnTo>
                  <a:lnTo>
                    <a:pt x="0" y="0"/>
                  </a:lnTo>
                  <a:lnTo>
                    <a:pt x="0" y="480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99" name="object 1191">
              <a:extLst>
                <a:ext uri="{FF2B5EF4-FFF2-40B4-BE49-F238E27FC236}">
                  <a16:creationId xmlns:a16="http://schemas.microsoft.com/office/drawing/2014/main" id="{72ADB714-7909-42D5-9EAE-137F595073C0}"/>
                </a:ext>
              </a:extLst>
            </p:cNvPr>
            <p:cNvSpPr/>
            <p:nvPr/>
          </p:nvSpPr>
          <p:spPr>
            <a:xfrm>
              <a:off x="8033111" y="6344017"/>
              <a:ext cx="26034" cy="26034"/>
            </a:xfrm>
            <a:custGeom>
              <a:avLst/>
              <a:gdLst/>
              <a:ahLst/>
              <a:cxnLst/>
              <a:rect l="l" t="t" r="r" b="b"/>
              <a:pathLst>
                <a:path w="26034" h="26034">
                  <a:moveTo>
                    <a:pt x="5511" y="19837"/>
                  </a:moveTo>
                  <a:lnTo>
                    <a:pt x="5448" y="15976"/>
                  </a:lnTo>
                  <a:lnTo>
                    <a:pt x="5384" y="12585"/>
                  </a:lnTo>
                  <a:lnTo>
                    <a:pt x="5321" y="9423"/>
                  </a:lnTo>
                  <a:lnTo>
                    <a:pt x="11290" y="2120"/>
                  </a:lnTo>
                  <a:lnTo>
                    <a:pt x="12077" y="0"/>
                  </a:lnTo>
                  <a:lnTo>
                    <a:pt x="16090" y="431"/>
                  </a:lnTo>
                  <a:lnTo>
                    <a:pt x="16802" y="990"/>
                  </a:lnTo>
                  <a:lnTo>
                    <a:pt x="16941" y="152"/>
                  </a:lnTo>
                  <a:lnTo>
                    <a:pt x="17640" y="1841"/>
                  </a:lnTo>
                  <a:lnTo>
                    <a:pt x="19761" y="2412"/>
                  </a:lnTo>
                  <a:lnTo>
                    <a:pt x="20459" y="4241"/>
                  </a:lnTo>
                  <a:lnTo>
                    <a:pt x="21882" y="5079"/>
                  </a:lnTo>
                  <a:lnTo>
                    <a:pt x="23710" y="7632"/>
                  </a:lnTo>
                  <a:lnTo>
                    <a:pt x="23850" y="9321"/>
                  </a:lnTo>
                  <a:lnTo>
                    <a:pt x="25552" y="11429"/>
                  </a:lnTo>
                  <a:lnTo>
                    <a:pt x="25552" y="12852"/>
                  </a:lnTo>
                  <a:lnTo>
                    <a:pt x="24282" y="15239"/>
                  </a:lnTo>
                  <a:lnTo>
                    <a:pt x="23787" y="16001"/>
                  </a:lnTo>
                  <a:lnTo>
                    <a:pt x="23672" y="16205"/>
                  </a:lnTo>
                  <a:lnTo>
                    <a:pt x="23761" y="16700"/>
                  </a:lnTo>
                  <a:lnTo>
                    <a:pt x="23583" y="17437"/>
                  </a:lnTo>
                  <a:lnTo>
                    <a:pt x="23609" y="17957"/>
                  </a:lnTo>
                </a:path>
                <a:path w="26034" h="26034">
                  <a:moveTo>
                    <a:pt x="9702" y="22529"/>
                  </a:moveTo>
                  <a:lnTo>
                    <a:pt x="152" y="21742"/>
                  </a:lnTo>
                </a:path>
                <a:path w="26034" h="26034">
                  <a:moveTo>
                    <a:pt x="0" y="24980"/>
                  </a:moveTo>
                  <a:lnTo>
                    <a:pt x="9702" y="25768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0" name="object 1192">
              <a:extLst>
                <a:ext uri="{FF2B5EF4-FFF2-40B4-BE49-F238E27FC236}">
                  <a16:creationId xmlns:a16="http://schemas.microsoft.com/office/drawing/2014/main" id="{1E45E05F-887D-4A87-9542-8A37C4445DB2}"/>
                </a:ext>
              </a:extLst>
            </p:cNvPr>
            <p:cNvSpPr/>
            <p:nvPr/>
          </p:nvSpPr>
          <p:spPr>
            <a:xfrm>
              <a:off x="8057747" y="6355713"/>
              <a:ext cx="8255" cy="1905"/>
            </a:xfrm>
            <a:custGeom>
              <a:avLst/>
              <a:gdLst/>
              <a:ahLst/>
              <a:cxnLst/>
              <a:rect l="l" t="t" r="r" b="b"/>
              <a:pathLst>
                <a:path w="8254" h="1904">
                  <a:moveTo>
                    <a:pt x="25" y="0"/>
                  </a:moveTo>
                  <a:lnTo>
                    <a:pt x="0" y="1104"/>
                  </a:lnTo>
                  <a:lnTo>
                    <a:pt x="7162" y="1295"/>
                  </a:lnTo>
                  <a:lnTo>
                    <a:pt x="7543" y="1295"/>
                  </a:lnTo>
                  <a:lnTo>
                    <a:pt x="7886" y="723"/>
                  </a:lnTo>
                  <a:lnTo>
                    <a:pt x="7467" y="203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1" name="object 1193">
              <a:extLst>
                <a:ext uri="{FF2B5EF4-FFF2-40B4-BE49-F238E27FC236}">
                  <a16:creationId xmlns:a16="http://schemas.microsoft.com/office/drawing/2014/main" id="{482F87E5-E400-4CE8-9248-A23BEFB80E37}"/>
                </a:ext>
              </a:extLst>
            </p:cNvPr>
            <p:cNvSpPr/>
            <p:nvPr/>
          </p:nvSpPr>
          <p:spPr>
            <a:xfrm>
              <a:off x="8056895" y="6355713"/>
              <a:ext cx="8890" cy="8890"/>
            </a:xfrm>
            <a:custGeom>
              <a:avLst/>
              <a:gdLst/>
              <a:ahLst/>
              <a:cxnLst/>
              <a:rect l="l" t="t" r="r" b="b"/>
              <a:pathLst>
                <a:path w="8890" h="8890">
                  <a:moveTo>
                    <a:pt x="5359" y="6515"/>
                  </a:moveTo>
                  <a:lnTo>
                    <a:pt x="6350" y="1790"/>
                  </a:lnTo>
                  <a:lnTo>
                    <a:pt x="6489" y="5308"/>
                  </a:lnTo>
                  <a:lnTo>
                    <a:pt x="5435" y="8763"/>
                  </a:lnTo>
                  <a:lnTo>
                    <a:pt x="5359" y="6515"/>
                  </a:lnTo>
                  <a:close/>
                </a:path>
                <a:path w="8890" h="8890">
                  <a:moveTo>
                    <a:pt x="5435" y="8763"/>
                  </a:moveTo>
                  <a:lnTo>
                    <a:pt x="5359" y="6591"/>
                  </a:lnTo>
                  <a:lnTo>
                    <a:pt x="0" y="6159"/>
                  </a:lnTo>
                  <a:lnTo>
                    <a:pt x="0" y="8140"/>
                  </a:lnTo>
                  <a:lnTo>
                    <a:pt x="5435" y="8763"/>
                  </a:lnTo>
                  <a:close/>
                </a:path>
                <a:path w="8890" h="8890">
                  <a:moveTo>
                    <a:pt x="876" y="0"/>
                  </a:moveTo>
                  <a:lnTo>
                    <a:pt x="850" y="1104"/>
                  </a:lnTo>
                  <a:lnTo>
                    <a:pt x="8013" y="1308"/>
                  </a:lnTo>
                  <a:lnTo>
                    <a:pt x="8394" y="1308"/>
                  </a:lnTo>
                  <a:lnTo>
                    <a:pt x="8737" y="723"/>
                  </a:lnTo>
                  <a:lnTo>
                    <a:pt x="8318" y="203"/>
                  </a:lnTo>
                  <a:lnTo>
                    <a:pt x="876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2" name="object 1194">
              <a:extLst>
                <a:ext uri="{FF2B5EF4-FFF2-40B4-BE49-F238E27FC236}">
                  <a16:creationId xmlns:a16="http://schemas.microsoft.com/office/drawing/2014/main" id="{979F8DA2-3F4C-4797-B1F7-23EE641EF0C0}"/>
                </a:ext>
              </a:extLst>
            </p:cNvPr>
            <p:cNvSpPr/>
            <p:nvPr/>
          </p:nvSpPr>
          <p:spPr>
            <a:xfrm>
              <a:off x="8063221" y="6354862"/>
              <a:ext cx="1905" cy="3175"/>
            </a:xfrm>
            <a:custGeom>
              <a:avLst/>
              <a:gdLst/>
              <a:ahLst/>
              <a:cxnLst/>
              <a:rect l="l" t="t" r="r" b="b"/>
              <a:pathLst>
                <a:path w="1904" h="3175">
                  <a:moveTo>
                    <a:pt x="495" y="0"/>
                  </a:moveTo>
                  <a:lnTo>
                    <a:pt x="0" y="241"/>
                  </a:lnTo>
                  <a:lnTo>
                    <a:pt x="177" y="2451"/>
                  </a:lnTo>
                  <a:lnTo>
                    <a:pt x="507" y="2870"/>
                  </a:lnTo>
                  <a:lnTo>
                    <a:pt x="1384" y="2895"/>
                  </a:lnTo>
                  <a:lnTo>
                    <a:pt x="1066" y="2362"/>
                  </a:lnTo>
                  <a:lnTo>
                    <a:pt x="876" y="634"/>
                  </a:lnTo>
                  <a:lnTo>
                    <a:pt x="1244" y="12"/>
                  </a:lnTo>
                  <a:lnTo>
                    <a:pt x="495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3" name="object 1195">
              <a:extLst>
                <a:ext uri="{FF2B5EF4-FFF2-40B4-BE49-F238E27FC236}">
                  <a16:creationId xmlns:a16="http://schemas.microsoft.com/office/drawing/2014/main" id="{4522CA67-81FE-445F-9586-ADCA0A3F6C7E}"/>
                </a:ext>
              </a:extLst>
            </p:cNvPr>
            <p:cNvSpPr/>
            <p:nvPr/>
          </p:nvSpPr>
          <p:spPr>
            <a:xfrm>
              <a:off x="8063221" y="6354862"/>
              <a:ext cx="1905" cy="3175"/>
            </a:xfrm>
            <a:custGeom>
              <a:avLst/>
              <a:gdLst/>
              <a:ahLst/>
              <a:cxnLst/>
              <a:rect l="l" t="t" r="r" b="b"/>
              <a:pathLst>
                <a:path w="1904" h="3175">
                  <a:moveTo>
                    <a:pt x="1244" y="12"/>
                  </a:moveTo>
                  <a:lnTo>
                    <a:pt x="495" y="0"/>
                  </a:lnTo>
                  <a:lnTo>
                    <a:pt x="0" y="241"/>
                  </a:lnTo>
                  <a:lnTo>
                    <a:pt x="177" y="2451"/>
                  </a:lnTo>
                  <a:lnTo>
                    <a:pt x="507" y="2870"/>
                  </a:lnTo>
                  <a:lnTo>
                    <a:pt x="1384" y="2895"/>
                  </a:lnTo>
                  <a:lnTo>
                    <a:pt x="1066" y="2362"/>
                  </a:lnTo>
                  <a:lnTo>
                    <a:pt x="876" y="634"/>
                  </a:lnTo>
                  <a:lnTo>
                    <a:pt x="1244" y="12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4" name="object 1196">
              <a:extLst>
                <a:ext uri="{FF2B5EF4-FFF2-40B4-BE49-F238E27FC236}">
                  <a16:creationId xmlns:a16="http://schemas.microsoft.com/office/drawing/2014/main" id="{DBA59FE7-AC5C-48E5-8AF7-EFBFBDBDA4A1}"/>
                </a:ext>
              </a:extLst>
            </p:cNvPr>
            <p:cNvSpPr/>
            <p:nvPr/>
          </p:nvSpPr>
          <p:spPr>
            <a:xfrm>
              <a:off x="8056895" y="6357355"/>
              <a:ext cx="6350" cy="4445"/>
            </a:xfrm>
            <a:custGeom>
              <a:avLst/>
              <a:gdLst/>
              <a:ahLst/>
              <a:cxnLst/>
              <a:rect l="l" t="t" r="r" b="b"/>
              <a:pathLst>
                <a:path w="6350" h="4445">
                  <a:moveTo>
                    <a:pt x="0" y="4444"/>
                  </a:moveTo>
                  <a:lnTo>
                    <a:pt x="1905" y="0"/>
                  </a:lnTo>
                  <a:lnTo>
                    <a:pt x="6350" y="76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5" name="object 1197">
              <a:extLst>
                <a:ext uri="{FF2B5EF4-FFF2-40B4-BE49-F238E27FC236}">
                  <a16:creationId xmlns:a16="http://schemas.microsoft.com/office/drawing/2014/main" id="{17C3CB1E-8F9E-4B47-ABE5-A188014C3751}"/>
                </a:ext>
              </a:extLst>
            </p:cNvPr>
            <p:cNvSpPr/>
            <p:nvPr/>
          </p:nvSpPr>
          <p:spPr>
            <a:xfrm>
              <a:off x="8061737" y="6361258"/>
              <a:ext cx="1905" cy="11430"/>
            </a:xfrm>
            <a:custGeom>
              <a:avLst/>
              <a:gdLst/>
              <a:ahLst/>
              <a:cxnLst/>
              <a:rect l="l" t="t" r="r" b="b"/>
              <a:pathLst>
                <a:path w="1904" h="11429">
                  <a:moveTo>
                    <a:pt x="0" y="11150"/>
                  </a:moveTo>
                  <a:lnTo>
                    <a:pt x="1905" y="1422"/>
                  </a:lnTo>
                  <a:lnTo>
                    <a:pt x="1905" y="0"/>
                  </a:lnTo>
                  <a:lnTo>
                    <a:pt x="0" y="6350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6" name="object 1198">
              <a:extLst>
                <a:ext uri="{FF2B5EF4-FFF2-40B4-BE49-F238E27FC236}">
                  <a16:creationId xmlns:a16="http://schemas.microsoft.com/office/drawing/2014/main" id="{13B22A84-B1D4-4F4F-BB39-5F143B211BA4}"/>
                </a:ext>
              </a:extLst>
            </p:cNvPr>
            <p:cNvSpPr/>
            <p:nvPr/>
          </p:nvSpPr>
          <p:spPr>
            <a:xfrm>
              <a:off x="8042231" y="6344749"/>
              <a:ext cx="7620" cy="20320"/>
            </a:xfrm>
            <a:custGeom>
              <a:avLst/>
              <a:gdLst/>
              <a:ahLst/>
              <a:cxnLst/>
              <a:rect l="l" t="t" r="r" b="b"/>
              <a:pathLst>
                <a:path w="7620" h="20320">
                  <a:moveTo>
                    <a:pt x="7086" y="0"/>
                  </a:moveTo>
                  <a:lnTo>
                    <a:pt x="6248" y="1130"/>
                  </a:lnTo>
                  <a:lnTo>
                    <a:pt x="3073" y="7200"/>
                  </a:lnTo>
                  <a:lnTo>
                    <a:pt x="6527" y="19900"/>
                  </a:lnTo>
                </a:path>
                <a:path w="7620" h="20320">
                  <a:moveTo>
                    <a:pt x="2006" y="1549"/>
                  </a:moveTo>
                  <a:lnTo>
                    <a:pt x="2146" y="1409"/>
                  </a:lnTo>
                  <a:lnTo>
                    <a:pt x="2006" y="1549"/>
                  </a:lnTo>
                  <a:lnTo>
                    <a:pt x="634" y="2921"/>
                  </a:lnTo>
                  <a:lnTo>
                    <a:pt x="203" y="6946"/>
                  </a:lnTo>
                  <a:lnTo>
                    <a:pt x="101" y="10553"/>
                  </a:lnTo>
                  <a:lnTo>
                    <a:pt x="0" y="14020"/>
                  </a:lnTo>
                  <a:lnTo>
                    <a:pt x="215" y="17094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7" name="object 1199">
              <a:extLst>
                <a:ext uri="{FF2B5EF4-FFF2-40B4-BE49-F238E27FC236}">
                  <a16:creationId xmlns:a16="http://schemas.microsoft.com/office/drawing/2014/main" id="{E65BAC07-0D69-43E9-95F1-FDE175BA7CBC}"/>
                </a:ext>
              </a:extLst>
            </p:cNvPr>
            <p:cNvSpPr/>
            <p:nvPr/>
          </p:nvSpPr>
          <p:spPr>
            <a:xfrm>
              <a:off x="8042719" y="6345990"/>
              <a:ext cx="10795" cy="18415"/>
            </a:xfrm>
            <a:custGeom>
              <a:avLst/>
              <a:gdLst/>
              <a:ahLst/>
              <a:cxnLst/>
              <a:rect l="l" t="t" r="r" b="b"/>
              <a:pathLst>
                <a:path w="10795" h="18415">
                  <a:moveTo>
                    <a:pt x="10401" y="17246"/>
                  </a:moveTo>
                  <a:lnTo>
                    <a:pt x="8394" y="11214"/>
                  </a:lnTo>
                  <a:lnTo>
                    <a:pt x="9766" y="4546"/>
                  </a:lnTo>
                  <a:lnTo>
                    <a:pt x="10337" y="2438"/>
                  </a:lnTo>
                  <a:lnTo>
                    <a:pt x="10274" y="1562"/>
                  </a:lnTo>
                  <a:lnTo>
                    <a:pt x="8077" y="0"/>
                  </a:lnTo>
                  <a:lnTo>
                    <a:pt x="7683" y="495"/>
                  </a:lnTo>
                  <a:lnTo>
                    <a:pt x="4673" y="4305"/>
                  </a:lnTo>
                  <a:lnTo>
                    <a:pt x="101" y="4267"/>
                  </a:lnTo>
                  <a:lnTo>
                    <a:pt x="0" y="5257"/>
                  </a:lnTo>
                  <a:lnTo>
                    <a:pt x="4546" y="5295"/>
                  </a:lnTo>
                  <a:lnTo>
                    <a:pt x="4622" y="4864"/>
                  </a:lnTo>
                  <a:lnTo>
                    <a:pt x="5981" y="14363"/>
                  </a:lnTo>
                  <a:lnTo>
                    <a:pt x="7378" y="17995"/>
                  </a:lnTo>
                  <a:lnTo>
                    <a:pt x="9372" y="18122"/>
                  </a:lnTo>
                  <a:lnTo>
                    <a:pt x="10401" y="17246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8" name="object 1200">
              <a:extLst>
                <a:ext uri="{FF2B5EF4-FFF2-40B4-BE49-F238E27FC236}">
                  <a16:creationId xmlns:a16="http://schemas.microsoft.com/office/drawing/2014/main" id="{826DCDDD-B4B4-4F14-8F69-D967294D8E70}"/>
                </a:ext>
              </a:extLst>
            </p:cNvPr>
            <p:cNvSpPr/>
            <p:nvPr/>
          </p:nvSpPr>
          <p:spPr>
            <a:xfrm>
              <a:off x="8049403" y="6347806"/>
              <a:ext cx="4445" cy="3175"/>
            </a:xfrm>
            <a:custGeom>
              <a:avLst/>
              <a:gdLst/>
              <a:ahLst/>
              <a:cxnLst/>
              <a:rect l="l" t="t" r="r" b="b"/>
              <a:pathLst>
                <a:path w="4445" h="3175">
                  <a:moveTo>
                    <a:pt x="393" y="0"/>
                  </a:moveTo>
                  <a:lnTo>
                    <a:pt x="139" y="584"/>
                  </a:lnTo>
                  <a:lnTo>
                    <a:pt x="0" y="1333"/>
                  </a:lnTo>
                  <a:lnTo>
                    <a:pt x="2882" y="1536"/>
                  </a:lnTo>
                  <a:lnTo>
                    <a:pt x="3174" y="2527"/>
                  </a:lnTo>
                  <a:lnTo>
                    <a:pt x="3924" y="3073"/>
                  </a:lnTo>
                  <a:lnTo>
                    <a:pt x="2984" y="126"/>
                  </a:lnTo>
                  <a:lnTo>
                    <a:pt x="393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09" name="object 1201">
              <a:extLst>
                <a:ext uri="{FF2B5EF4-FFF2-40B4-BE49-F238E27FC236}">
                  <a16:creationId xmlns:a16="http://schemas.microsoft.com/office/drawing/2014/main" id="{AAE61152-77CD-450A-BF7D-82B02066D995}"/>
                </a:ext>
              </a:extLst>
            </p:cNvPr>
            <p:cNvSpPr/>
            <p:nvPr/>
          </p:nvSpPr>
          <p:spPr>
            <a:xfrm>
              <a:off x="8049403" y="6347806"/>
              <a:ext cx="4445" cy="3175"/>
            </a:xfrm>
            <a:custGeom>
              <a:avLst/>
              <a:gdLst/>
              <a:ahLst/>
              <a:cxnLst/>
              <a:rect l="l" t="t" r="r" b="b"/>
              <a:pathLst>
                <a:path w="4445" h="3175">
                  <a:moveTo>
                    <a:pt x="393" y="0"/>
                  </a:moveTo>
                  <a:lnTo>
                    <a:pt x="139" y="584"/>
                  </a:lnTo>
                  <a:lnTo>
                    <a:pt x="0" y="1333"/>
                  </a:lnTo>
                  <a:lnTo>
                    <a:pt x="2882" y="1536"/>
                  </a:lnTo>
                  <a:lnTo>
                    <a:pt x="3174" y="2527"/>
                  </a:lnTo>
                  <a:lnTo>
                    <a:pt x="3924" y="3073"/>
                  </a:lnTo>
                  <a:lnTo>
                    <a:pt x="2984" y="126"/>
                  </a:lnTo>
                  <a:lnTo>
                    <a:pt x="393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0" name="object 1202">
              <a:extLst>
                <a:ext uri="{FF2B5EF4-FFF2-40B4-BE49-F238E27FC236}">
                  <a16:creationId xmlns:a16="http://schemas.microsoft.com/office/drawing/2014/main" id="{22DB4D11-0E4F-4BDC-927C-59C90D3E3059}"/>
                </a:ext>
              </a:extLst>
            </p:cNvPr>
            <p:cNvSpPr/>
            <p:nvPr/>
          </p:nvSpPr>
          <p:spPr>
            <a:xfrm>
              <a:off x="8048707" y="6352589"/>
              <a:ext cx="4445" cy="2540"/>
            </a:xfrm>
            <a:custGeom>
              <a:avLst/>
              <a:gdLst/>
              <a:ahLst/>
              <a:cxnLst/>
              <a:rect l="l" t="t" r="r" b="b"/>
              <a:pathLst>
                <a:path w="4445" h="2540">
                  <a:moveTo>
                    <a:pt x="25" y="0"/>
                  </a:moveTo>
                  <a:lnTo>
                    <a:pt x="0" y="673"/>
                  </a:lnTo>
                  <a:lnTo>
                    <a:pt x="50" y="1295"/>
                  </a:lnTo>
                  <a:lnTo>
                    <a:pt x="1498" y="1447"/>
                  </a:lnTo>
                  <a:lnTo>
                    <a:pt x="3454" y="1778"/>
                  </a:lnTo>
                  <a:lnTo>
                    <a:pt x="4279" y="2044"/>
                  </a:lnTo>
                  <a:lnTo>
                    <a:pt x="3124" y="38"/>
                  </a:lnTo>
                  <a:lnTo>
                    <a:pt x="25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1" name="object 1203">
              <a:extLst>
                <a:ext uri="{FF2B5EF4-FFF2-40B4-BE49-F238E27FC236}">
                  <a16:creationId xmlns:a16="http://schemas.microsoft.com/office/drawing/2014/main" id="{DF716A24-B1AB-46B9-90AA-1C25E5B5418D}"/>
                </a:ext>
              </a:extLst>
            </p:cNvPr>
            <p:cNvSpPr/>
            <p:nvPr/>
          </p:nvSpPr>
          <p:spPr>
            <a:xfrm>
              <a:off x="8048707" y="6352589"/>
              <a:ext cx="4445" cy="2540"/>
            </a:xfrm>
            <a:custGeom>
              <a:avLst/>
              <a:gdLst/>
              <a:ahLst/>
              <a:cxnLst/>
              <a:rect l="l" t="t" r="r" b="b"/>
              <a:pathLst>
                <a:path w="4445" h="2540">
                  <a:moveTo>
                    <a:pt x="25" y="0"/>
                  </a:moveTo>
                  <a:lnTo>
                    <a:pt x="0" y="673"/>
                  </a:lnTo>
                  <a:lnTo>
                    <a:pt x="50" y="1295"/>
                  </a:lnTo>
                  <a:lnTo>
                    <a:pt x="1498" y="1447"/>
                  </a:lnTo>
                  <a:lnTo>
                    <a:pt x="3454" y="1778"/>
                  </a:lnTo>
                  <a:lnTo>
                    <a:pt x="4279" y="2044"/>
                  </a:lnTo>
                  <a:lnTo>
                    <a:pt x="3124" y="38"/>
                  </a:lnTo>
                  <a:lnTo>
                    <a:pt x="25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2" name="object 1204">
              <a:extLst>
                <a:ext uri="{FF2B5EF4-FFF2-40B4-BE49-F238E27FC236}">
                  <a16:creationId xmlns:a16="http://schemas.microsoft.com/office/drawing/2014/main" id="{86AAF9FC-6B0A-492A-81F7-172825935806}"/>
                </a:ext>
              </a:extLst>
            </p:cNvPr>
            <p:cNvSpPr/>
            <p:nvPr/>
          </p:nvSpPr>
          <p:spPr>
            <a:xfrm>
              <a:off x="8049199" y="6358016"/>
              <a:ext cx="4445" cy="2540"/>
            </a:xfrm>
            <a:custGeom>
              <a:avLst/>
              <a:gdLst/>
              <a:ahLst/>
              <a:cxnLst/>
              <a:rect l="l" t="t" r="r" b="b"/>
              <a:pathLst>
                <a:path w="4445" h="2540">
                  <a:moveTo>
                    <a:pt x="3860" y="0"/>
                  </a:moveTo>
                  <a:lnTo>
                    <a:pt x="1231" y="977"/>
                  </a:lnTo>
                  <a:lnTo>
                    <a:pt x="0" y="1015"/>
                  </a:lnTo>
                  <a:lnTo>
                    <a:pt x="203" y="2374"/>
                  </a:lnTo>
                  <a:lnTo>
                    <a:pt x="1130" y="2336"/>
                  </a:lnTo>
                  <a:lnTo>
                    <a:pt x="3136" y="1536"/>
                  </a:lnTo>
                  <a:lnTo>
                    <a:pt x="3860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3" name="object 1205">
              <a:extLst>
                <a:ext uri="{FF2B5EF4-FFF2-40B4-BE49-F238E27FC236}">
                  <a16:creationId xmlns:a16="http://schemas.microsoft.com/office/drawing/2014/main" id="{9E1F4F29-28F1-4F4A-AF46-4D2E6E2BCB72}"/>
                </a:ext>
              </a:extLst>
            </p:cNvPr>
            <p:cNvSpPr/>
            <p:nvPr/>
          </p:nvSpPr>
          <p:spPr>
            <a:xfrm>
              <a:off x="8049199" y="6358016"/>
              <a:ext cx="4445" cy="2540"/>
            </a:xfrm>
            <a:custGeom>
              <a:avLst/>
              <a:gdLst/>
              <a:ahLst/>
              <a:cxnLst/>
              <a:rect l="l" t="t" r="r" b="b"/>
              <a:pathLst>
                <a:path w="4445" h="2540">
                  <a:moveTo>
                    <a:pt x="0" y="1015"/>
                  </a:moveTo>
                  <a:lnTo>
                    <a:pt x="203" y="2374"/>
                  </a:lnTo>
                  <a:lnTo>
                    <a:pt x="1130" y="2336"/>
                  </a:lnTo>
                  <a:lnTo>
                    <a:pt x="3136" y="1536"/>
                  </a:lnTo>
                  <a:lnTo>
                    <a:pt x="3860" y="0"/>
                  </a:lnTo>
                  <a:lnTo>
                    <a:pt x="1231" y="977"/>
                  </a:lnTo>
                  <a:lnTo>
                    <a:pt x="0" y="1015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4" name="object 1206">
              <a:extLst>
                <a:ext uri="{FF2B5EF4-FFF2-40B4-BE49-F238E27FC236}">
                  <a16:creationId xmlns:a16="http://schemas.microsoft.com/office/drawing/2014/main" id="{6AE28651-F1F2-4C2B-AE97-CF03F455A2E4}"/>
                </a:ext>
              </a:extLst>
            </p:cNvPr>
            <p:cNvSpPr/>
            <p:nvPr/>
          </p:nvSpPr>
          <p:spPr>
            <a:xfrm>
              <a:off x="8052358" y="6349232"/>
              <a:ext cx="4445" cy="13970"/>
            </a:xfrm>
            <a:custGeom>
              <a:avLst/>
              <a:gdLst/>
              <a:ahLst/>
              <a:cxnLst/>
              <a:rect l="l" t="t" r="r" b="b"/>
              <a:pathLst>
                <a:path w="4445" h="13970">
                  <a:moveTo>
                    <a:pt x="2349" y="749"/>
                  </a:moveTo>
                  <a:lnTo>
                    <a:pt x="2933" y="1396"/>
                  </a:lnTo>
                  <a:lnTo>
                    <a:pt x="3644" y="2489"/>
                  </a:lnTo>
                  <a:lnTo>
                    <a:pt x="3911" y="3619"/>
                  </a:lnTo>
                  <a:lnTo>
                    <a:pt x="3695" y="4063"/>
                  </a:lnTo>
                  <a:lnTo>
                    <a:pt x="3327" y="11048"/>
                  </a:lnTo>
                  <a:lnTo>
                    <a:pt x="3873" y="11887"/>
                  </a:lnTo>
                  <a:lnTo>
                    <a:pt x="1612" y="13868"/>
                  </a:lnTo>
                  <a:lnTo>
                    <a:pt x="0" y="9766"/>
                  </a:lnTo>
                  <a:lnTo>
                    <a:pt x="660" y="1269"/>
                  </a:lnTo>
                  <a:lnTo>
                    <a:pt x="1447" y="0"/>
                  </a:lnTo>
                  <a:lnTo>
                    <a:pt x="1866" y="215"/>
                  </a:lnTo>
                  <a:lnTo>
                    <a:pt x="2349" y="749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5" name="object 1207">
              <a:extLst>
                <a:ext uri="{FF2B5EF4-FFF2-40B4-BE49-F238E27FC236}">
                  <a16:creationId xmlns:a16="http://schemas.microsoft.com/office/drawing/2014/main" id="{CB8E0E4A-1220-43B3-A86C-D5914430A9C5}"/>
                </a:ext>
              </a:extLst>
            </p:cNvPr>
            <p:cNvSpPr/>
            <p:nvPr/>
          </p:nvSpPr>
          <p:spPr>
            <a:xfrm>
              <a:off x="8053284" y="6354325"/>
              <a:ext cx="2540" cy="1270"/>
            </a:xfrm>
            <a:custGeom>
              <a:avLst/>
              <a:gdLst/>
              <a:ahLst/>
              <a:cxnLst/>
              <a:rect l="l" t="t" r="r" b="b"/>
              <a:pathLst>
                <a:path w="2540" h="1270">
                  <a:moveTo>
                    <a:pt x="0" y="0"/>
                  </a:moveTo>
                  <a:lnTo>
                    <a:pt x="50" y="469"/>
                  </a:lnTo>
                  <a:lnTo>
                    <a:pt x="2387" y="825"/>
                  </a:lnTo>
                  <a:lnTo>
                    <a:pt x="2425" y="609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6" name="object 1208">
              <a:extLst>
                <a:ext uri="{FF2B5EF4-FFF2-40B4-BE49-F238E27FC236}">
                  <a16:creationId xmlns:a16="http://schemas.microsoft.com/office/drawing/2014/main" id="{1AC786A3-F18B-4BF1-9109-4CEA1F2FF6C7}"/>
                </a:ext>
              </a:extLst>
            </p:cNvPr>
            <p:cNvSpPr/>
            <p:nvPr/>
          </p:nvSpPr>
          <p:spPr>
            <a:xfrm>
              <a:off x="8056290" y="6354041"/>
              <a:ext cx="2540" cy="5715"/>
            </a:xfrm>
            <a:custGeom>
              <a:avLst/>
              <a:gdLst/>
              <a:ahLst/>
              <a:cxnLst/>
              <a:rect l="l" t="t" r="r" b="b"/>
              <a:pathLst>
                <a:path w="2540" h="5715">
                  <a:moveTo>
                    <a:pt x="393" y="0"/>
                  </a:moveTo>
                  <a:lnTo>
                    <a:pt x="253" y="558"/>
                  </a:lnTo>
                  <a:lnTo>
                    <a:pt x="0" y="4533"/>
                  </a:lnTo>
                  <a:lnTo>
                    <a:pt x="355" y="5092"/>
                  </a:lnTo>
                  <a:lnTo>
                    <a:pt x="1485" y="3886"/>
                  </a:lnTo>
                  <a:lnTo>
                    <a:pt x="2184" y="1701"/>
                  </a:lnTo>
                  <a:lnTo>
                    <a:pt x="393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7" name="object 1209">
              <a:extLst>
                <a:ext uri="{FF2B5EF4-FFF2-40B4-BE49-F238E27FC236}">
                  <a16:creationId xmlns:a16="http://schemas.microsoft.com/office/drawing/2014/main" id="{08087B49-F500-46C4-B98B-6239CA57A58C}"/>
                </a:ext>
              </a:extLst>
            </p:cNvPr>
            <p:cNvSpPr/>
            <p:nvPr/>
          </p:nvSpPr>
          <p:spPr>
            <a:xfrm>
              <a:off x="8048866" y="6346981"/>
              <a:ext cx="2540" cy="16510"/>
            </a:xfrm>
            <a:custGeom>
              <a:avLst/>
              <a:gdLst/>
              <a:ahLst/>
              <a:cxnLst/>
              <a:rect l="l" t="t" r="r" b="b"/>
              <a:pathLst>
                <a:path w="2540" h="16509">
                  <a:moveTo>
                    <a:pt x="609" y="7493"/>
                  </a:moveTo>
                  <a:lnTo>
                    <a:pt x="469" y="7366"/>
                  </a:lnTo>
                  <a:lnTo>
                    <a:pt x="139" y="7366"/>
                  </a:lnTo>
                  <a:lnTo>
                    <a:pt x="0" y="7493"/>
                  </a:lnTo>
                  <a:lnTo>
                    <a:pt x="0" y="7823"/>
                  </a:lnTo>
                  <a:lnTo>
                    <a:pt x="139" y="7962"/>
                  </a:lnTo>
                  <a:lnTo>
                    <a:pt x="304" y="7962"/>
                  </a:lnTo>
                  <a:lnTo>
                    <a:pt x="469" y="7962"/>
                  </a:lnTo>
                  <a:lnTo>
                    <a:pt x="609" y="7823"/>
                  </a:lnTo>
                  <a:lnTo>
                    <a:pt x="609" y="7493"/>
                  </a:lnTo>
                  <a:close/>
                </a:path>
                <a:path w="2540" h="16509">
                  <a:moveTo>
                    <a:pt x="609" y="5842"/>
                  </a:moveTo>
                  <a:lnTo>
                    <a:pt x="469" y="5715"/>
                  </a:lnTo>
                  <a:lnTo>
                    <a:pt x="139" y="5715"/>
                  </a:lnTo>
                  <a:lnTo>
                    <a:pt x="0" y="5842"/>
                  </a:lnTo>
                  <a:lnTo>
                    <a:pt x="0" y="6184"/>
                  </a:lnTo>
                  <a:lnTo>
                    <a:pt x="139" y="6311"/>
                  </a:lnTo>
                  <a:lnTo>
                    <a:pt x="304" y="6311"/>
                  </a:lnTo>
                  <a:lnTo>
                    <a:pt x="469" y="6311"/>
                  </a:lnTo>
                  <a:lnTo>
                    <a:pt x="609" y="6184"/>
                  </a:lnTo>
                  <a:lnTo>
                    <a:pt x="609" y="5842"/>
                  </a:lnTo>
                  <a:close/>
                </a:path>
                <a:path w="2540" h="16509">
                  <a:moveTo>
                    <a:pt x="685" y="9245"/>
                  </a:moveTo>
                  <a:lnTo>
                    <a:pt x="546" y="9118"/>
                  </a:lnTo>
                  <a:lnTo>
                    <a:pt x="215" y="9118"/>
                  </a:lnTo>
                  <a:lnTo>
                    <a:pt x="88" y="9245"/>
                  </a:lnTo>
                  <a:lnTo>
                    <a:pt x="88" y="9575"/>
                  </a:lnTo>
                  <a:lnTo>
                    <a:pt x="215" y="9715"/>
                  </a:lnTo>
                  <a:lnTo>
                    <a:pt x="381" y="9715"/>
                  </a:lnTo>
                  <a:lnTo>
                    <a:pt x="546" y="9715"/>
                  </a:lnTo>
                  <a:lnTo>
                    <a:pt x="685" y="9575"/>
                  </a:lnTo>
                  <a:lnTo>
                    <a:pt x="685" y="9245"/>
                  </a:lnTo>
                  <a:close/>
                </a:path>
                <a:path w="2540" h="16509">
                  <a:moveTo>
                    <a:pt x="749" y="4419"/>
                  </a:moveTo>
                  <a:lnTo>
                    <a:pt x="609" y="4292"/>
                  </a:lnTo>
                  <a:lnTo>
                    <a:pt x="279" y="4292"/>
                  </a:lnTo>
                  <a:lnTo>
                    <a:pt x="152" y="4419"/>
                  </a:lnTo>
                  <a:lnTo>
                    <a:pt x="152" y="4762"/>
                  </a:lnTo>
                  <a:lnTo>
                    <a:pt x="279" y="4889"/>
                  </a:lnTo>
                  <a:lnTo>
                    <a:pt x="444" y="4889"/>
                  </a:lnTo>
                  <a:lnTo>
                    <a:pt x="609" y="4889"/>
                  </a:lnTo>
                  <a:lnTo>
                    <a:pt x="749" y="4762"/>
                  </a:lnTo>
                  <a:lnTo>
                    <a:pt x="749" y="4419"/>
                  </a:lnTo>
                  <a:close/>
                </a:path>
                <a:path w="2540" h="16509">
                  <a:moveTo>
                    <a:pt x="774" y="10909"/>
                  </a:moveTo>
                  <a:lnTo>
                    <a:pt x="647" y="10769"/>
                  </a:lnTo>
                  <a:lnTo>
                    <a:pt x="317" y="10769"/>
                  </a:lnTo>
                  <a:lnTo>
                    <a:pt x="190" y="10909"/>
                  </a:lnTo>
                  <a:lnTo>
                    <a:pt x="190" y="11239"/>
                  </a:lnTo>
                  <a:lnTo>
                    <a:pt x="317" y="11366"/>
                  </a:lnTo>
                  <a:lnTo>
                    <a:pt x="482" y="11366"/>
                  </a:lnTo>
                  <a:lnTo>
                    <a:pt x="647" y="11366"/>
                  </a:lnTo>
                  <a:lnTo>
                    <a:pt x="774" y="11239"/>
                  </a:lnTo>
                  <a:lnTo>
                    <a:pt x="774" y="10909"/>
                  </a:lnTo>
                  <a:close/>
                </a:path>
                <a:path w="2540" h="16509">
                  <a:moveTo>
                    <a:pt x="952" y="12420"/>
                  </a:moveTo>
                  <a:lnTo>
                    <a:pt x="825" y="12280"/>
                  </a:lnTo>
                  <a:lnTo>
                    <a:pt x="495" y="12280"/>
                  </a:lnTo>
                  <a:lnTo>
                    <a:pt x="355" y="12420"/>
                  </a:lnTo>
                  <a:lnTo>
                    <a:pt x="355" y="12750"/>
                  </a:lnTo>
                  <a:lnTo>
                    <a:pt x="495" y="12890"/>
                  </a:lnTo>
                  <a:lnTo>
                    <a:pt x="660" y="12890"/>
                  </a:lnTo>
                  <a:lnTo>
                    <a:pt x="825" y="12890"/>
                  </a:lnTo>
                  <a:lnTo>
                    <a:pt x="952" y="12750"/>
                  </a:lnTo>
                  <a:lnTo>
                    <a:pt x="952" y="12420"/>
                  </a:lnTo>
                  <a:close/>
                </a:path>
                <a:path w="2540" h="16509">
                  <a:moveTo>
                    <a:pt x="1028" y="2959"/>
                  </a:moveTo>
                  <a:lnTo>
                    <a:pt x="901" y="2832"/>
                  </a:lnTo>
                  <a:lnTo>
                    <a:pt x="571" y="2832"/>
                  </a:lnTo>
                  <a:lnTo>
                    <a:pt x="431" y="2959"/>
                  </a:lnTo>
                  <a:lnTo>
                    <a:pt x="431" y="3302"/>
                  </a:lnTo>
                  <a:lnTo>
                    <a:pt x="571" y="3429"/>
                  </a:lnTo>
                  <a:lnTo>
                    <a:pt x="736" y="3429"/>
                  </a:lnTo>
                  <a:lnTo>
                    <a:pt x="901" y="3429"/>
                  </a:lnTo>
                  <a:lnTo>
                    <a:pt x="1028" y="3302"/>
                  </a:lnTo>
                  <a:lnTo>
                    <a:pt x="1028" y="2959"/>
                  </a:lnTo>
                  <a:close/>
                </a:path>
                <a:path w="2540" h="16509">
                  <a:moveTo>
                    <a:pt x="1257" y="13754"/>
                  </a:moveTo>
                  <a:lnTo>
                    <a:pt x="1117" y="13614"/>
                  </a:lnTo>
                  <a:lnTo>
                    <a:pt x="787" y="13614"/>
                  </a:lnTo>
                  <a:lnTo>
                    <a:pt x="660" y="13754"/>
                  </a:lnTo>
                  <a:lnTo>
                    <a:pt x="660" y="14084"/>
                  </a:lnTo>
                  <a:lnTo>
                    <a:pt x="787" y="14211"/>
                  </a:lnTo>
                  <a:lnTo>
                    <a:pt x="952" y="14211"/>
                  </a:lnTo>
                  <a:lnTo>
                    <a:pt x="1117" y="14211"/>
                  </a:lnTo>
                  <a:lnTo>
                    <a:pt x="1257" y="14084"/>
                  </a:lnTo>
                  <a:lnTo>
                    <a:pt x="1257" y="13754"/>
                  </a:lnTo>
                  <a:close/>
                </a:path>
                <a:path w="2540" h="16509">
                  <a:moveTo>
                    <a:pt x="1524" y="14947"/>
                  </a:moveTo>
                  <a:lnTo>
                    <a:pt x="1397" y="14820"/>
                  </a:lnTo>
                  <a:lnTo>
                    <a:pt x="1066" y="14820"/>
                  </a:lnTo>
                  <a:lnTo>
                    <a:pt x="939" y="14947"/>
                  </a:lnTo>
                  <a:lnTo>
                    <a:pt x="939" y="15278"/>
                  </a:lnTo>
                  <a:lnTo>
                    <a:pt x="1066" y="15417"/>
                  </a:lnTo>
                  <a:lnTo>
                    <a:pt x="1231" y="15417"/>
                  </a:lnTo>
                  <a:lnTo>
                    <a:pt x="1397" y="15417"/>
                  </a:lnTo>
                  <a:lnTo>
                    <a:pt x="1524" y="15278"/>
                  </a:lnTo>
                  <a:lnTo>
                    <a:pt x="1524" y="14947"/>
                  </a:lnTo>
                  <a:close/>
                </a:path>
                <a:path w="2540" h="16509">
                  <a:moveTo>
                    <a:pt x="1803" y="15811"/>
                  </a:moveTo>
                  <a:lnTo>
                    <a:pt x="1676" y="15684"/>
                  </a:lnTo>
                  <a:lnTo>
                    <a:pt x="1346" y="15684"/>
                  </a:lnTo>
                  <a:lnTo>
                    <a:pt x="1206" y="15811"/>
                  </a:lnTo>
                  <a:lnTo>
                    <a:pt x="1206" y="16141"/>
                  </a:lnTo>
                  <a:lnTo>
                    <a:pt x="1346" y="16281"/>
                  </a:lnTo>
                  <a:lnTo>
                    <a:pt x="1511" y="16281"/>
                  </a:lnTo>
                  <a:lnTo>
                    <a:pt x="1676" y="16281"/>
                  </a:lnTo>
                  <a:lnTo>
                    <a:pt x="1803" y="16141"/>
                  </a:lnTo>
                  <a:lnTo>
                    <a:pt x="1803" y="15811"/>
                  </a:lnTo>
                  <a:close/>
                </a:path>
                <a:path w="2540" h="16509">
                  <a:moveTo>
                    <a:pt x="2095" y="127"/>
                  </a:moveTo>
                  <a:lnTo>
                    <a:pt x="1955" y="0"/>
                  </a:lnTo>
                  <a:lnTo>
                    <a:pt x="1625" y="0"/>
                  </a:lnTo>
                  <a:lnTo>
                    <a:pt x="1498" y="127"/>
                  </a:lnTo>
                  <a:lnTo>
                    <a:pt x="1498" y="469"/>
                  </a:lnTo>
                  <a:lnTo>
                    <a:pt x="1625" y="596"/>
                  </a:lnTo>
                  <a:lnTo>
                    <a:pt x="1790" y="596"/>
                  </a:lnTo>
                  <a:lnTo>
                    <a:pt x="1955" y="596"/>
                  </a:lnTo>
                  <a:lnTo>
                    <a:pt x="2095" y="469"/>
                  </a:lnTo>
                  <a:lnTo>
                    <a:pt x="2095" y="127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8" name="object 1210">
              <a:extLst>
                <a:ext uri="{FF2B5EF4-FFF2-40B4-BE49-F238E27FC236}">
                  <a16:creationId xmlns:a16="http://schemas.microsoft.com/office/drawing/2014/main" id="{E650A016-1C68-4A07-AF48-88DDDCFA3A29}"/>
                </a:ext>
              </a:extLst>
            </p:cNvPr>
            <p:cNvSpPr/>
            <p:nvPr/>
          </p:nvSpPr>
          <p:spPr>
            <a:xfrm>
              <a:off x="8032879" y="6355410"/>
              <a:ext cx="6350" cy="9525"/>
            </a:xfrm>
            <a:custGeom>
              <a:avLst/>
              <a:gdLst/>
              <a:ahLst/>
              <a:cxnLst/>
              <a:rect l="l" t="t" r="r" b="b"/>
              <a:pathLst>
                <a:path w="6350" h="9525">
                  <a:moveTo>
                    <a:pt x="3809" y="1549"/>
                  </a:moveTo>
                  <a:lnTo>
                    <a:pt x="4724" y="139"/>
                  </a:lnTo>
                  <a:lnTo>
                    <a:pt x="558" y="0"/>
                  </a:lnTo>
                  <a:lnTo>
                    <a:pt x="76" y="203"/>
                  </a:lnTo>
                  <a:lnTo>
                    <a:pt x="0" y="2247"/>
                  </a:lnTo>
                  <a:lnTo>
                    <a:pt x="279" y="2527"/>
                  </a:lnTo>
                  <a:lnTo>
                    <a:pt x="3809" y="2743"/>
                  </a:lnTo>
                  <a:lnTo>
                    <a:pt x="3809" y="1625"/>
                  </a:lnTo>
                  <a:lnTo>
                    <a:pt x="5435" y="1625"/>
                  </a:lnTo>
                  <a:lnTo>
                    <a:pt x="3809" y="1625"/>
                  </a:lnTo>
                  <a:lnTo>
                    <a:pt x="3809" y="6413"/>
                  </a:lnTo>
                </a:path>
                <a:path w="6350" h="9525">
                  <a:moveTo>
                    <a:pt x="228" y="9524"/>
                  </a:moveTo>
                  <a:lnTo>
                    <a:pt x="3746" y="6489"/>
                  </a:lnTo>
                  <a:lnTo>
                    <a:pt x="5791" y="6553"/>
                  </a:lnTo>
                  <a:lnTo>
                    <a:pt x="5714" y="5714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19" name="object 1211">
              <a:extLst>
                <a:ext uri="{FF2B5EF4-FFF2-40B4-BE49-F238E27FC236}">
                  <a16:creationId xmlns:a16="http://schemas.microsoft.com/office/drawing/2014/main" id="{6B015D81-FD4A-4098-8192-CBE826052883}"/>
                </a:ext>
              </a:extLst>
            </p:cNvPr>
            <p:cNvSpPr/>
            <p:nvPr/>
          </p:nvSpPr>
          <p:spPr>
            <a:xfrm>
              <a:off x="8037255" y="6357449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634" y="0"/>
                  </a:moveTo>
                  <a:lnTo>
                    <a:pt x="0" y="0"/>
                  </a:lnTo>
                  <a:lnTo>
                    <a:pt x="0" y="3886"/>
                  </a:lnTo>
                  <a:lnTo>
                    <a:pt x="1054" y="3886"/>
                  </a:lnTo>
                  <a:lnTo>
                    <a:pt x="1054" y="2895"/>
                  </a:lnTo>
                  <a:lnTo>
                    <a:pt x="634" y="2895"/>
                  </a:lnTo>
                  <a:lnTo>
                    <a:pt x="634" y="0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0" name="object 1212">
              <a:extLst>
                <a:ext uri="{FF2B5EF4-FFF2-40B4-BE49-F238E27FC236}">
                  <a16:creationId xmlns:a16="http://schemas.microsoft.com/office/drawing/2014/main" id="{860A19F4-BFC2-4885-B598-AC54F32B3775}"/>
                </a:ext>
              </a:extLst>
            </p:cNvPr>
            <p:cNvSpPr/>
            <p:nvPr/>
          </p:nvSpPr>
          <p:spPr>
            <a:xfrm>
              <a:off x="8034261" y="6347717"/>
              <a:ext cx="16510" cy="11430"/>
            </a:xfrm>
            <a:custGeom>
              <a:avLst/>
              <a:gdLst/>
              <a:ahLst/>
              <a:cxnLst/>
              <a:rect l="l" t="t" r="r" b="b"/>
              <a:pathLst>
                <a:path w="16509" h="11429">
                  <a:moveTo>
                    <a:pt x="2362" y="6921"/>
                  </a:moveTo>
                  <a:lnTo>
                    <a:pt x="1155" y="6921"/>
                  </a:lnTo>
                  <a:lnTo>
                    <a:pt x="76" y="7378"/>
                  </a:lnTo>
                  <a:lnTo>
                    <a:pt x="0" y="11074"/>
                  </a:lnTo>
                  <a:lnTo>
                    <a:pt x="444" y="11290"/>
                  </a:lnTo>
                  <a:lnTo>
                    <a:pt x="1714" y="11290"/>
                  </a:lnTo>
                  <a:lnTo>
                    <a:pt x="1435" y="11074"/>
                  </a:lnTo>
                  <a:lnTo>
                    <a:pt x="1651" y="7543"/>
                  </a:lnTo>
                  <a:lnTo>
                    <a:pt x="2362" y="6921"/>
                  </a:lnTo>
                  <a:close/>
                </a:path>
                <a:path w="16509" h="11429">
                  <a:moveTo>
                    <a:pt x="16268" y="139"/>
                  </a:moveTo>
                  <a:lnTo>
                    <a:pt x="16129" y="0"/>
                  </a:lnTo>
                  <a:lnTo>
                    <a:pt x="15798" y="0"/>
                  </a:lnTo>
                  <a:lnTo>
                    <a:pt x="15671" y="139"/>
                  </a:lnTo>
                  <a:lnTo>
                    <a:pt x="15671" y="469"/>
                  </a:lnTo>
                  <a:lnTo>
                    <a:pt x="15798" y="609"/>
                  </a:lnTo>
                  <a:lnTo>
                    <a:pt x="15963" y="609"/>
                  </a:lnTo>
                  <a:lnTo>
                    <a:pt x="16129" y="609"/>
                  </a:lnTo>
                  <a:lnTo>
                    <a:pt x="16268" y="469"/>
                  </a:lnTo>
                  <a:lnTo>
                    <a:pt x="16268" y="139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1" name="object 1213">
              <a:extLst>
                <a:ext uri="{FF2B5EF4-FFF2-40B4-BE49-F238E27FC236}">
                  <a16:creationId xmlns:a16="http://schemas.microsoft.com/office/drawing/2014/main" id="{C0180200-424E-4836-82B5-AD6751A74B63}"/>
                </a:ext>
              </a:extLst>
            </p:cNvPr>
            <p:cNvSpPr/>
            <p:nvPr/>
          </p:nvSpPr>
          <p:spPr>
            <a:xfrm>
              <a:off x="8034266" y="6354634"/>
              <a:ext cx="2540" cy="4445"/>
            </a:xfrm>
            <a:custGeom>
              <a:avLst/>
              <a:gdLst/>
              <a:ahLst/>
              <a:cxnLst/>
              <a:rect l="l" t="t" r="r" b="b"/>
              <a:pathLst>
                <a:path w="2540" h="4445">
                  <a:moveTo>
                    <a:pt x="1155" y="0"/>
                  </a:moveTo>
                  <a:lnTo>
                    <a:pt x="2362" y="0"/>
                  </a:lnTo>
                  <a:lnTo>
                    <a:pt x="1651" y="622"/>
                  </a:lnTo>
                  <a:lnTo>
                    <a:pt x="1435" y="4152"/>
                  </a:lnTo>
                  <a:lnTo>
                    <a:pt x="1714" y="4368"/>
                  </a:lnTo>
                  <a:lnTo>
                    <a:pt x="444" y="4368"/>
                  </a:lnTo>
                  <a:lnTo>
                    <a:pt x="0" y="4152"/>
                  </a:lnTo>
                  <a:lnTo>
                    <a:pt x="76" y="457"/>
                  </a:lnTo>
                  <a:lnTo>
                    <a:pt x="1155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2" name="object 1214">
              <a:extLst>
                <a:ext uri="{FF2B5EF4-FFF2-40B4-BE49-F238E27FC236}">
                  <a16:creationId xmlns:a16="http://schemas.microsoft.com/office/drawing/2014/main" id="{60013B0C-B50A-4573-84AA-94700D068C4B}"/>
                </a:ext>
              </a:extLst>
            </p:cNvPr>
            <p:cNvSpPr/>
            <p:nvPr/>
          </p:nvSpPr>
          <p:spPr>
            <a:xfrm>
              <a:off x="8035749" y="6354671"/>
              <a:ext cx="1270" cy="4445"/>
            </a:xfrm>
            <a:custGeom>
              <a:avLst/>
              <a:gdLst/>
              <a:ahLst/>
              <a:cxnLst/>
              <a:rect l="l" t="t" r="r" b="b"/>
              <a:pathLst>
                <a:path w="1270" h="4445">
                  <a:moveTo>
                    <a:pt x="952" y="0"/>
                  </a:moveTo>
                  <a:lnTo>
                    <a:pt x="406" y="50"/>
                  </a:lnTo>
                  <a:lnTo>
                    <a:pt x="0" y="4318"/>
                  </a:lnTo>
                  <a:lnTo>
                    <a:pt x="228" y="4330"/>
                  </a:lnTo>
                  <a:lnTo>
                    <a:pt x="736" y="4191"/>
                  </a:lnTo>
                  <a:lnTo>
                    <a:pt x="876" y="3492"/>
                  </a:lnTo>
                  <a:lnTo>
                    <a:pt x="571" y="3429"/>
                  </a:lnTo>
                  <a:lnTo>
                    <a:pt x="469" y="2476"/>
                  </a:lnTo>
                  <a:lnTo>
                    <a:pt x="774" y="1079"/>
                  </a:lnTo>
                  <a:lnTo>
                    <a:pt x="889" y="723"/>
                  </a:lnTo>
                  <a:lnTo>
                    <a:pt x="1155" y="723"/>
                  </a:lnTo>
                  <a:lnTo>
                    <a:pt x="1155" y="215"/>
                  </a:lnTo>
                  <a:lnTo>
                    <a:pt x="952" y="0"/>
                  </a:lnTo>
                  <a:close/>
                </a:path>
                <a:path w="1270" h="4445">
                  <a:moveTo>
                    <a:pt x="1155" y="723"/>
                  </a:moveTo>
                  <a:lnTo>
                    <a:pt x="889" y="723"/>
                  </a:lnTo>
                  <a:lnTo>
                    <a:pt x="1155" y="876"/>
                  </a:lnTo>
                  <a:lnTo>
                    <a:pt x="1155" y="723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3" name="object 1215">
              <a:extLst>
                <a:ext uri="{FF2B5EF4-FFF2-40B4-BE49-F238E27FC236}">
                  <a16:creationId xmlns:a16="http://schemas.microsoft.com/office/drawing/2014/main" id="{6A3BD47C-2974-46A0-BB75-38141F473449}"/>
                </a:ext>
              </a:extLst>
            </p:cNvPr>
            <p:cNvSpPr/>
            <p:nvPr/>
          </p:nvSpPr>
          <p:spPr>
            <a:xfrm>
              <a:off x="8033160" y="6350261"/>
              <a:ext cx="10160" cy="6350"/>
            </a:xfrm>
            <a:custGeom>
              <a:avLst/>
              <a:gdLst/>
              <a:ahLst/>
              <a:cxnLst/>
              <a:rect l="l" t="t" r="r" b="b"/>
              <a:pathLst>
                <a:path w="10159" h="6350">
                  <a:moveTo>
                    <a:pt x="5867" y="507"/>
                  </a:moveTo>
                  <a:lnTo>
                    <a:pt x="7251" y="0"/>
                  </a:lnTo>
                  <a:lnTo>
                    <a:pt x="9601" y="139"/>
                  </a:lnTo>
                </a:path>
                <a:path w="10159" h="6350">
                  <a:moveTo>
                    <a:pt x="5156" y="5283"/>
                  </a:moveTo>
                  <a:lnTo>
                    <a:pt x="4444" y="5283"/>
                  </a:lnTo>
                </a:path>
                <a:path w="10159" h="6350">
                  <a:moveTo>
                    <a:pt x="0" y="5841"/>
                  </a:moveTo>
                  <a:lnTo>
                    <a:pt x="1485" y="5841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4" name="object 1216">
              <a:extLst>
                <a:ext uri="{FF2B5EF4-FFF2-40B4-BE49-F238E27FC236}">
                  <a16:creationId xmlns:a16="http://schemas.microsoft.com/office/drawing/2014/main" id="{64391848-343C-4CCB-82A9-017152EA2879}"/>
                </a:ext>
              </a:extLst>
            </p:cNvPr>
            <p:cNvSpPr/>
            <p:nvPr/>
          </p:nvSpPr>
          <p:spPr>
            <a:xfrm>
              <a:off x="8051931" y="6362748"/>
              <a:ext cx="6350" cy="3810"/>
            </a:xfrm>
            <a:custGeom>
              <a:avLst/>
              <a:gdLst/>
              <a:ahLst/>
              <a:cxnLst/>
              <a:rect l="l" t="t" r="r" b="b"/>
              <a:pathLst>
                <a:path w="6350" h="3809">
                  <a:moveTo>
                    <a:pt x="0" y="3174"/>
                  </a:moveTo>
                  <a:lnTo>
                    <a:pt x="2679" y="1193"/>
                  </a:lnTo>
                  <a:lnTo>
                    <a:pt x="4368" y="0"/>
                  </a:lnTo>
                  <a:lnTo>
                    <a:pt x="4724" y="0"/>
                  </a:lnTo>
                  <a:lnTo>
                    <a:pt x="4800" y="1269"/>
                  </a:lnTo>
                  <a:lnTo>
                    <a:pt x="6134" y="1396"/>
                  </a:lnTo>
                  <a:lnTo>
                    <a:pt x="4305" y="3454"/>
                  </a:lnTo>
                  <a:lnTo>
                    <a:pt x="0" y="3174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5" name="object 1217">
              <a:extLst>
                <a:ext uri="{FF2B5EF4-FFF2-40B4-BE49-F238E27FC236}">
                  <a16:creationId xmlns:a16="http://schemas.microsoft.com/office/drawing/2014/main" id="{2C83E039-9DF7-4DCF-B5B0-0E75ED366BFC}"/>
                </a:ext>
              </a:extLst>
            </p:cNvPr>
            <p:cNvSpPr/>
            <p:nvPr/>
          </p:nvSpPr>
          <p:spPr>
            <a:xfrm>
              <a:off x="8043088" y="6348975"/>
              <a:ext cx="4445" cy="3810"/>
            </a:xfrm>
            <a:custGeom>
              <a:avLst/>
              <a:gdLst/>
              <a:ahLst/>
              <a:cxnLst/>
              <a:rect l="l" t="t" r="r" b="b"/>
              <a:pathLst>
                <a:path w="4445" h="3809">
                  <a:moveTo>
                    <a:pt x="609" y="2959"/>
                  </a:moveTo>
                  <a:lnTo>
                    <a:pt x="469" y="2819"/>
                  </a:lnTo>
                  <a:lnTo>
                    <a:pt x="139" y="2819"/>
                  </a:lnTo>
                  <a:lnTo>
                    <a:pt x="0" y="2959"/>
                  </a:lnTo>
                  <a:lnTo>
                    <a:pt x="0" y="3289"/>
                  </a:lnTo>
                  <a:lnTo>
                    <a:pt x="139" y="3429"/>
                  </a:lnTo>
                  <a:lnTo>
                    <a:pt x="304" y="3429"/>
                  </a:lnTo>
                  <a:lnTo>
                    <a:pt x="469" y="3429"/>
                  </a:lnTo>
                  <a:lnTo>
                    <a:pt x="609" y="3289"/>
                  </a:lnTo>
                  <a:lnTo>
                    <a:pt x="609" y="2959"/>
                  </a:lnTo>
                  <a:close/>
                </a:path>
                <a:path w="4445" h="3809">
                  <a:moveTo>
                    <a:pt x="1016" y="203"/>
                  </a:moveTo>
                  <a:lnTo>
                    <a:pt x="889" y="76"/>
                  </a:lnTo>
                  <a:lnTo>
                    <a:pt x="558" y="76"/>
                  </a:lnTo>
                  <a:lnTo>
                    <a:pt x="419" y="203"/>
                  </a:lnTo>
                  <a:lnTo>
                    <a:pt x="419" y="533"/>
                  </a:lnTo>
                  <a:lnTo>
                    <a:pt x="584" y="749"/>
                  </a:lnTo>
                  <a:lnTo>
                    <a:pt x="723" y="673"/>
                  </a:lnTo>
                  <a:lnTo>
                    <a:pt x="889" y="584"/>
                  </a:lnTo>
                  <a:lnTo>
                    <a:pt x="1016" y="533"/>
                  </a:lnTo>
                  <a:lnTo>
                    <a:pt x="1016" y="203"/>
                  </a:lnTo>
                  <a:close/>
                </a:path>
                <a:path w="4445" h="3809">
                  <a:moveTo>
                    <a:pt x="3568" y="2882"/>
                  </a:moveTo>
                  <a:lnTo>
                    <a:pt x="3429" y="2755"/>
                  </a:lnTo>
                  <a:lnTo>
                    <a:pt x="3098" y="2755"/>
                  </a:lnTo>
                  <a:lnTo>
                    <a:pt x="2971" y="2882"/>
                  </a:lnTo>
                  <a:lnTo>
                    <a:pt x="2971" y="3213"/>
                  </a:lnTo>
                  <a:lnTo>
                    <a:pt x="3098" y="3352"/>
                  </a:lnTo>
                  <a:lnTo>
                    <a:pt x="3263" y="3352"/>
                  </a:lnTo>
                  <a:lnTo>
                    <a:pt x="3429" y="3352"/>
                  </a:lnTo>
                  <a:lnTo>
                    <a:pt x="3568" y="3213"/>
                  </a:lnTo>
                  <a:lnTo>
                    <a:pt x="3568" y="2882"/>
                  </a:lnTo>
                  <a:close/>
                </a:path>
                <a:path w="4445" h="3809">
                  <a:moveTo>
                    <a:pt x="3848" y="127"/>
                  </a:moveTo>
                  <a:lnTo>
                    <a:pt x="3708" y="0"/>
                  </a:lnTo>
                  <a:lnTo>
                    <a:pt x="3378" y="0"/>
                  </a:lnTo>
                  <a:lnTo>
                    <a:pt x="3251" y="127"/>
                  </a:lnTo>
                  <a:lnTo>
                    <a:pt x="3251" y="457"/>
                  </a:lnTo>
                  <a:lnTo>
                    <a:pt x="3378" y="596"/>
                  </a:lnTo>
                  <a:lnTo>
                    <a:pt x="3543" y="596"/>
                  </a:lnTo>
                  <a:lnTo>
                    <a:pt x="3708" y="596"/>
                  </a:lnTo>
                  <a:lnTo>
                    <a:pt x="3848" y="457"/>
                  </a:lnTo>
                  <a:lnTo>
                    <a:pt x="3848" y="127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6" name="object 1218">
              <a:extLst>
                <a:ext uri="{FF2B5EF4-FFF2-40B4-BE49-F238E27FC236}">
                  <a16:creationId xmlns:a16="http://schemas.microsoft.com/office/drawing/2014/main" id="{1CA2D818-310D-4FFD-A581-C1066768525E}"/>
                </a:ext>
              </a:extLst>
            </p:cNvPr>
            <p:cNvSpPr/>
            <p:nvPr/>
          </p:nvSpPr>
          <p:spPr>
            <a:xfrm>
              <a:off x="8063224" y="6361258"/>
              <a:ext cx="635" cy="635"/>
            </a:xfrm>
            <a:custGeom>
              <a:avLst/>
              <a:gdLst/>
              <a:ahLst/>
              <a:cxnLst/>
              <a:rect l="l" t="t" r="r" b="b"/>
              <a:pathLst>
                <a:path w="634" h="634">
                  <a:moveTo>
                    <a:pt x="419" y="76"/>
                  </a:moveTo>
                  <a:lnTo>
                    <a:pt x="0" y="0"/>
                  </a:lnTo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7" name="object 1219">
              <a:extLst>
                <a:ext uri="{FF2B5EF4-FFF2-40B4-BE49-F238E27FC236}">
                  <a16:creationId xmlns:a16="http://schemas.microsoft.com/office/drawing/2014/main" id="{70B0B393-ADAF-4B06-B910-4A571BE10B94}"/>
                </a:ext>
              </a:extLst>
            </p:cNvPr>
            <p:cNvSpPr/>
            <p:nvPr/>
          </p:nvSpPr>
          <p:spPr>
            <a:xfrm>
              <a:off x="8038605" y="6350816"/>
              <a:ext cx="20955" cy="15875"/>
            </a:xfrm>
            <a:custGeom>
              <a:avLst/>
              <a:gdLst/>
              <a:ahLst/>
              <a:cxnLst/>
              <a:rect l="l" t="t" r="r" b="b"/>
              <a:pathLst>
                <a:path w="20954" h="15875">
                  <a:moveTo>
                    <a:pt x="4991" y="13233"/>
                  </a:moveTo>
                  <a:lnTo>
                    <a:pt x="4292" y="11442"/>
                  </a:lnTo>
                  <a:lnTo>
                    <a:pt x="4343" y="10185"/>
                  </a:lnTo>
                  <a:lnTo>
                    <a:pt x="4000" y="14097"/>
                  </a:lnTo>
                  <a:lnTo>
                    <a:pt x="3797" y="13538"/>
                  </a:lnTo>
                  <a:lnTo>
                    <a:pt x="0" y="13233"/>
                  </a:lnTo>
                  <a:lnTo>
                    <a:pt x="0" y="14160"/>
                  </a:lnTo>
                  <a:lnTo>
                    <a:pt x="4140" y="14516"/>
                  </a:lnTo>
                  <a:lnTo>
                    <a:pt x="4483" y="14097"/>
                  </a:lnTo>
                  <a:lnTo>
                    <a:pt x="4940" y="13538"/>
                  </a:lnTo>
                  <a:lnTo>
                    <a:pt x="4991" y="13233"/>
                  </a:lnTo>
                  <a:close/>
                </a:path>
                <a:path w="20954" h="15875">
                  <a:moveTo>
                    <a:pt x="10134" y="13817"/>
                  </a:moveTo>
                  <a:lnTo>
                    <a:pt x="9474" y="11658"/>
                  </a:lnTo>
                  <a:lnTo>
                    <a:pt x="9271" y="10007"/>
                  </a:lnTo>
                  <a:lnTo>
                    <a:pt x="9067" y="12585"/>
                  </a:lnTo>
                  <a:lnTo>
                    <a:pt x="8750" y="14909"/>
                  </a:lnTo>
                  <a:lnTo>
                    <a:pt x="10134" y="13817"/>
                  </a:lnTo>
                  <a:close/>
                </a:path>
                <a:path w="20954" h="15875">
                  <a:moveTo>
                    <a:pt x="15443" y="14579"/>
                  </a:moveTo>
                  <a:lnTo>
                    <a:pt x="15227" y="14478"/>
                  </a:lnTo>
                  <a:lnTo>
                    <a:pt x="14668" y="14478"/>
                  </a:lnTo>
                  <a:lnTo>
                    <a:pt x="14452" y="14579"/>
                  </a:lnTo>
                  <a:lnTo>
                    <a:pt x="14452" y="14795"/>
                  </a:lnTo>
                  <a:lnTo>
                    <a:pt x="14668" y="14884"/>
                  </a:lnTo>
                  <a:lnTo>
                    <a:pt x="14947" y="14884"/>
                  </a:lnTo>
                  <a:lnTo>
                    <a:pt x="15227" y="14884"/>
                  </a:lnTo>
                  <a:lnTo>
                    <a:pt x="15443" y="14795"/>
                  </a:lnTo>
                  <a:lnTo>
                    <a:pt x="15443" y="14579"/>
                  </a:lnTo>
                  <a:close/>
                </a:path>
                <a:path w="20954" h="15875">
                  <a:moveTo>
                    <a:pt x="15455" y="8026"/>
                  </a:moveTo>
                  <a:lnTo>
                    <a:pt x="15316" y="7899"/>
                  </a:lnTo>
                  <a:lnTo>
                    <a:pt x="14986" y="7899"/>
                  </a:lnTo>
                  <a:lnTo>
                    <a:pt x="14846" y="8026"/>
                  </a:lnTo>
                  <a:lnTo>
                    <a:pt x="14846" y="8356"/>
                  </a:lnTo>
                  <a:lnTo>
                    <a:pt x="14986" y="8496"/>
                  </a:lnTo>
                  <a:lnTo>
                    <a:pt x="15151" y="8496"/>
                  </a:lnTo>
                  <a:lnTo>
                    <a:pt x="15316" y="8496"/>
                  </a:lnTo>
                  <a:lnTo>
                    <a:pt x="15455" y="8356"/>
                  </a:lnTo>
                  <a:lnTo>
                    <a:pt x="15455" y="8026"/>
                  </a:lnTo>
                  <a:close/>
                </a:path>
                <a:path w="20954" h="15875">
                  <a:moveTo>
                    <a:pt x="15671" y="9372"/>
                  </a:moveTo>
                  <a:lnTo>
                    <a:pt x="15532" y="9232"/>
                  </a:lnTo>
                  <a:lnTo>
                    <a:pt x="15201" y="9232"/>
                  </a:lnTo>
                  <a:lnTo>
                    <a:pt x="15074" y="9372"/>
                  </a:lnTo>
                  <a:lnTo>
                    <a:pt x="15074" y="9690"/>
                  </a:lnTo>
                  <a:lnTo>
                    <a:pt x="15201" y="9829"/>
                  </a:lnTo>
                  <a:lnTo>
                    <a:pt x="15367" y="9829"/>
                  </a:lnTo>
                  <a:lnTo>
                    <a:pt x="15532" y="9829"/>
                  </a:lnTo>
                  <a:lnTo>
                    <a:pt x="15671" y="9690"/>
                  </a:lnTo>
                  <a:lnTo>
                    <a:pt x="15671" y="9372"/>
                  </a:lnTo>
                  <a:close/>
                </a:path>
                <a:path w="20954" h="15875">
                  <a:moveTo>
                    <a:pt x="15671" y="2730"/>
                  </a:moveTo>
                  <a:lnTo>
                    <a:pt x="15532" y="2603"/>
                  </a:lnTo>
                  <a:lnTo>
                    <a:pt x="15201" y="2603"/>
                  </a:lnTo>
                  <a:lnTo>
                    <a:pt x="15074" y="2730"/>
                  </a:lnTo>
                  <a:lnTo>
                    <a:pt x="15074" y="3060"/>
                  </a:lnTo>
                  <a:lnTo>
                    <a:pt x="15201" y="3200"/>
                  </a:lnTo>
                  <a:lnTo>
                    <a:pt x="15367" y="3200"/>
                  </a:lnTo>
                  <a:lnTo>
                    <a:pt x="15532" y="3200"/>
                  </a:lnTo>
                  <a:lnTo>
                    <a:pt x="15671" y="3060"/>
                  </a:lnTo>
                  <a:lnTo>
                    <a:pt x="15671" y="2730"/>
                  </a:lnTo>
                  <a:close/>
                </a:path>
                <a:path w="20954" h="15875">
                  <a:moveTo>
                    <a:pt x="15887" y="10718"/>
                  </a:moveTo>
                  <a:lnTo>
                    <a:pt x="15748" y="10579"/>
                  </a:lnTo>
                  <a:lnTo>
                    <a:pt x="15417" y="10579"/>
                  </a:lnTo>
                  <a:lnTo>
                    <a:pt x="15290" y="10718"/>
                  </a:lnTo>
                  <a:lnTo>
                    <a:pt x="15290" y="11049"/>
                  </a:lnTo>
                  <a:lnTo>
                    <a:pt x="15417" y="11176"/>
                  </a:lnTo>
                  <a:lnTo>
                    <a:pt x="15582" y="11176"/>
                  </a:lnTo>
                  <a:lnTo>
                    <a:pt x="15748" y="11176"/>
                  </a:lnTo>
                  <a:lnTo>
                    <a:pt x="15887" y="11049"/>
                  </a:lnTo>
                  <a:lnTo>
                    <a:pt x="15887" y="10718"/>
                  </a:lnTo>
                  <a:close/>
                </a:path>
                <a:path w="20954" h="15875">
                  <a:moveTo>
                    <a:pt x="15887" y="1384"/>
                  </a:moveTo>
                  <a:lnTo>
                    <a:pt x="15748" y="1257"/>
                  </a:lnTo>
                  <a:lnTo>
                    <a:pt x="15417" y="1257"/>
                  </a:lnTo>
                  <a:lnTo>
                    <a:pt x="15290" y="1384"/>
                  </a:lnTo>
                  <a:lnTo>
                    <a:pt x="15290" y="1727"/>
                  </a:lnTo>
                  <a:lnTo>
                    <a:pt x="15417" y="1854"/>
                  </a:lnTo>
                  <a:lnTo>
                    <a:pt x="15582" y="1854"/>
                  </a:lnTo>
                  <a:lnTo>
                    <a:pt x="15748" y="1854"/>
                  </a:lnTo>
                  <a:lnTo>
                    <a:pt x="15887" y="1727"/>
                  </a:lnTo>
                  <a:lnTo>
                    <a:pt x="15887" y="1384"/>
                  </a:lnTo>
                  <a:close/>
                </a:path>
                <a:path w="20954" h="15875">
                  <a:moveTo>
                    <a:pt x="16090" y="127"/>
                  </a:moveTo>
                  <a:lnTo>
                    <a:pt x="15951" y="0"/>
                  </a:lnTo>
                  <a:lnTo>
                    <a:pt x="15621" y="0"/>
                  </a:lnTo>
                  <a:lnTo>
                    <a:pt x="15494" y="127"/>
                  </a:lnTo>
                  <a:lnTo>
                    <a:pt x="15494" y="457"/>
                  </a:lnTo>
                  <a:lnTo>
                    <a:pt x="15621" y="596"/>
                  </a:lnTo>
                  <a:lnTo>
                    <a:pt x="15786" y="596"/>
                  </a:lnTo>
                  <a:lnTo>
                    <a:pt x="15951" y="596"/>
                  </a:lnTo>
                  <a:lnTo>
                    <a:pt x="16090" y="457"/>
                  </a:lnTo>
                  <a:lnTo>
                    <a:pt x="16090" y="127"/>
                  </a:lnTo>
                  <a:close/>
                </a:path>
                <a:path w="20954" h="15875">
                  <a:moveTo>
                    <a:pt x="17767" y="14782"/>
                  </a:moveTo>
                  <a:lnTo>
                    <a:pt x="17551" y="14706"/>
                  </a:lnTo>
                  <a:lnTo>
                    <a:pt x="16992" y="14706"/>
                  </a:lnTo>
                  <a:lnTo>
                    <a:pt x="16776" y="14782"/>
                  </a:lnTo>
                  <a:lnTo>
                    <a:pt x="16776" y="15011"/>
                  </a:lnTo>
                  <a:lnTo>
                    <a:pt x="16992" y="15100"/>
                  </a:lnTo>
                  <a:lnTo>
                    <a:pt x="17272" y="15100"/>
                  </a:lnTo>
                  <a:lnTo>
                    <a:pt x="17551" y="15100"/>
                  </a:lnTo>
                  <a:lnTo>
                    <a:pt x="17767" y="15011"/>
                  </a:lnTo>
                  <a:lnTo>
                    <a:pt x="17767" y="14782"/>
                  </a:lnTo>
                  <a:close/>
                </a:path>
                <a:path w="20954" h="15875">
                  <a:moveTo>
                    <a:pt x="20447" y="14084"/>
                  </a:moveTo>
                  <a:lnTo>
                    <a:pt x="20231" y="13995"/>
                  </a:lnTo>
                  <a:lnTo>
                    <a:pt x="19672" y="13995"/>
                  </a:lnTo>
                  <a:lnTo>
                    <a:pt x="19456" y="14084"/>
                  </a:lnTo>
                  <a:lnTo>
                    <a:pt x="19456" y="14312"/>
                  </a:lnTo>
                  <a:lnTo>
                    <a:pt x="19672" y="14401"/>
                  </a:lnTo>
                  <a:lnTo>
                    <a:pt x="19951" y="14401"/>
                  </a:lnTo>
                  <a:lnTo>
                    <a:pt x="20231" y="14401"/>
                  </a:lnTo>
                  <a:lnTo>
                    <a:pt x="20447" y="14312"/>
                  </a:lnTo>
                  <a:lnTo>
                    <a:pt x="20447" y="14084"/>
                  </a:lnTo>
                  <a:close/>
                </a:path>
                <a:path w="20954" h="15875">
                  <a:moveTo>
                    <a:pt x="20739" y="15138"/>
                  </a:moveTo>
                  <a:lnTo>
                    <a:pt x="20294" y="15049"/>
                  </a:lnTo>
                  <a:lnTo>
                    <a:pt x="19189" y="15049"/>
                  </a:lnTo>
                  <a:lnTo>
                    <a:pt x="18745" y="15138"/>
                  </a:lnTo>
                  <a:lnTo>
                    <a:pt x="18745" y="15354"/>
                  </a:lnTo>
                  <a:lnTo>
                    <a:pt x="19189" y="15443"/>
                  </a:lnTo>
                  <a:lnTo>
                    <a:pt x="19735" y="15443"/>
                  </a:lnTo>
                  <a:lnTo>
                    <a:pt x="20294" y="15443"/>
                  </a:lnTo>
                  <a:lnTo>
                    <a:pt x="20739" y="15354"/>
                  </a:lnTo>
                  <a:lnTo>
                    <a:pt x="20739" y="15138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8" name="object 1220">
              <a:extLst>
                <a:ext uri="{FF2B5EF4-FFF2-40B4-BE49-F238E27FC236}">
                  <a16:creationId xmlns:a16="http://schemas.microsoft.com/office/drawing/2014/main" id="{8E3D2FF5-44CA-46B0-AE5B-CEC39ED2256F}"/>
                </a:ext>
              </a:extLst>
            </p:cNvPr>
            <p:cNvSpPr/>
            <p:nvPr/>
          </p:nvSpPr>
          <p:spPr>
            <a:xfrm>
              <a:off x="8049548" y="6348693"/>
              <a:ext cx="635" cy="635"/>
            </a:xfrm>
            <a:custGeom>
              <a:avLst/>
              <a:gdLst/>
              <a:ahLst/>
              <a:cxnLst/>
              <a:rect l="l" t="t" r="r" b="b"/>
              <a:pathLst>
                <a:path w="634" h="634">
                  <a:moveTo>
                    <a:pt x="469" y="0"/>
                  </a:moveTo>
                  <a:lnTo>
                    <a:pt x="139" y="0"/>
                  </a:lnTo>
                  <a:lnTo>
                    <a:pt x="0" y="139"/>
                  </a:lnTo>
                  <a:lnTo>
                    <a:pt x="0" y="457"/>
                  </a:lnTo>
                  <a:lnTo>
                    <a:pt x="139" y="596"/>
                  </a:lnTo>
                  <a:lnTo>
                    <a:pt x="304" y="596"/>
                  </a:lnTo>
                  <a:lnTo>
                    <a:pt x="469" y="596"/>
                  </a:lnTo>
                  <a:lnTo>
                    <a:pt x="596" y="457"/>
                  </a:lnTo>
                  <a:lnTo>
                    <a:pt x="596" y="139"/>
                  </a:lnTo>
                  <a:lnTo>
                    <a:pt x="469" y="0"/>
                  </a:lnTo>
                  <a:close/>
                </a:path>
              </a:pathLst>
            </a:custGeom>
            <a:solidFill>
              <a:srgbClr val="006A4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29" name="object 1221">
              <a:extLst>
                <a:ext uri="{FF2B5EF4-FFF2-40B4-BE49-F238E27FC236}">
                  <a16:creationId xmlns:a16="http://schemas.microsoft.com/office/drawing/2014/main" id="{BB345164-135E-4425-B3CD-CB4512921443}"/>
                </a:ext>
              </a:extLst>
            </p:cNvPr>
            <p:cNvSpPr/>
            <p:nvPr/>
          </p:nvSpPr>
          <p:spPr>
            <a:xfrm>
              <a:off x="8034732" y="6355143"/>
              <a:ext cx="1905" cy="1270"/>
            </a:xfrm>
            <a:custGeom>
              <a:avLst/>
              <a:gdLst/>
              <a:ahLst/>
              <a:cxnLst/>
              <a:rect l="l" t="t" r="r" b="b"/>
              <a:pathLst>
                <a:path w="1904" h="1270">
                  <a:moveTo>
                    <a:pt x="1562" y="0"/>
                  </a:moveTo>
                  <a:lnTo>
                    <a:pt x="253" y="38"/>
                  </a:lnTo>
                  <a:lnTo>
                    <a:pt x="0" y="736"/>
                  </a:lnTo>
                  <a:lnTo>
                    <a:pt x="1371" y="736"/>
                  </a:lnTo>
                  <a:lnTo>
                    <a:pt x="1562" y="0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0" name="object 1222">
              <a:extLst>
                <a:ext uri="{FF2B5EF4-FFF2-40B4-BE49-F238E27FC236}">
                  <a16:creationId xmlns:a16="http://schemas.microsoft.com/office/drawing/2014/main" id="{FBAE2AA5-433A-4BB2-8243-48EAD10A792A}"/>
                </a:ext>
              </a:extLst>
            </p:cNvPr>
            <p:cNvSpPr/>
            <p:nvPr/>
          </p:nvSpPr>
          <p:spPr>
            <a:xfrm>
              <a:off x="8053208" y="6356854"/>
              <a:ext cx="2540" cy="1905"/>
            </a:xfrm>
            <a:custGeom>
              <a:avLst/>
              <a:gdLst/>
              <a:ahLst/>
              <a:cxnLst/>
              <a:rect l="l" t="t" r="r" b="b"/>
              <a:pathLst>
                <a:path w="2540" h="1904">
                  <a:moveTo>
                    <a:pt x="76" y="1003"/>
                  </a:moveTo>
                  <a:lnTo>
                    <a:pt x="126" y="1473"/>
                  </a:lnTo>
                  <a:lnTo>
                    <a:pt x="2463" y="1066"/>
                  </a:lnTo>
                  <a:lnTo>
                    <a:pt x="2501" y="622"/>
                  </a:lnTo>
                  <a:lnTo>
                    <a:pt x="76" y="1003"/>
                  </a:lnTo>
                  <a:close/>
                </a:path>
                <a:path w="2540" h="1904">
                  <a:moveTo>
                    <a:pt x="0" y="0"/>
                  </a:moveTo>
                  <a:lnTo>
                    <a:pt x="50" y="469"/>
                  </a:lnTo>
                  <a:lnTo>
                    <a:pt x="2463" y="304"/>
                  </a:lnTo>
                  <a:lnTo>
                    <a:pt x="2501" y="0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1" name="object 1223">
              <a:extLst>
                <a:ext uri="{FF2B5EF4-FFF2-40B4-BE49-F238E27FC236}">
                  <a16:creationId xmlns:a16="http://schemas.microsoft.com/office/drawing/2014/main" id="{833D3262-20F1-4AB3-9761-320FF7D05F2F}"/>
                </a:ext>
              </a:extLst>
            </p:cNvPr>
            <p:cNvSpPr/>
            <p:nvPr/>
          </p:nvSpPr>
          <p:spPr>
            <a:xfrm>
              <a:off x="8064346" y="6354880"/>
              <a:ext cx="635" cy="3175"/>
            </a:xfrm>
            <a:custGeom>
              <a:avLst/>
              <a:gdLst/>
              <a:ahLst/>
              <a:cxnLst/>
              <a:rect l="l" t="t" r="r" b="b"/>
              <a:pathLst>
                <a:path w="634" h="3175">
                  <a:moveTo>
                    <a:pt x="285" y="0"/>
                  </a:moveTo>
                  <a:lnTo>
                    <a:pt x="5" y="12"/>
                  </a:lnTo>
                  <a:lnTo>
                    <a:pt x="0" y="2108"/>
                  </a:lnTo>
                  <a:lnTo>
                    <a:pt x="158" y="2844"/>
                  </a:lnTo>
                  <a:lnTo>
                    <a:pt x="399" y="2819"/>
                  </a:lnTo>
                  <a:lnTo>
                    <a:pt x="501" y="2146"/>
                  </a:lnTo>
                  <a:lnTo>
                    <a:pt x="259" y="2108"/>
                  </a:lnTo>
                  <a:lnTo>
                    <a:pt x="31" y="1371"/>
                  </a:lnTo>
                  <a:lnTo>
                    <a:pt x="196" y="1028"/>
                  </a:lnTo>
                  <a:lnTo>
                    <a:pt x="436" y="1028"/>
                  </a:lnTo>
                  <a:lnTo>
                    <a:pt x="374" y="393"/>
                  </a:lnTo>
                  <a:lnTo>
                    <a:pt x="285" y="0"/>
                  </a:lnTo>
                  <a:close/>
                </a:path>
                <a:path w="634" h="3175">
                  <a:moveTo>
                    <a:pt x="436" y="1028"/>
                  </a:moveTo>
                  <a:lnTo>
                    <a:pt x="196" y="1028"/>
                  </a:lnTo>
                  <a:lnTo>
                    <a:pt x="437" y="1041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2" name="object 1224">
              <a:extLst>
                <a:ext uri="{FF2B5EF4-FFF2-40B4-BE49-F238E27FC236}">
                  <a16:creationId xmlns:a16="http://schemas.microsoft.com/office/drawing/2014/main" id="{E43D2BB5-4E71-4E1E-B163-CDA2212F3F2D}"/>
                </a:ext>
              </a:extLst>
            </p:cNvPr>
            <p:cNvSpPr/>
            <p:nvPr/>
          </p:nvSpPr>
          <p:spPr>
            <a:xfrm>
              <a:off x="8065000" y="6355911"/>
              <a:ext cx="635" cy="1270"/>
            </a:xfrm>
            <a:custGeom>
              <a:avLst/>
              <a:gdLst/>
              <a:ahLst/>
              <a:cxnLst/>
              <a:rect l="l" t="t" r="r" b="b"/>
              <a:pathLst>
                <a:path w="634" h="1270">
                  <a:moveTo>
                    <a:pt x="152" y="0"/>
                  </a:moveTo>
                  <a:lnTo>
                    <a:pt x="0" y="342"/>
                  </a:lnTo>
                  <a:lnTo>
                    <a:pt x="228" y="1079"/>
                  </a:lnTo>
                </a:path>
              </a:pathLst>
            </a:custGeom>
            <a:ln w="3175">
              <a:solidFill>
                <a:srgbClr val="C19D2E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3" name="object 1225">
              <a:extLst>
                <a:ext uri="{FF2B5EF4-FFF2-40B4-BE49-F238E27FC236}">
                  <a16:creationId xmlns:a16="http://schemas.microsoft.com/office/drawing/2014/main" id="{4FB5FD28-B217-44D4-9131-C4A16A0702DC}"/>
                </a:ext>
              </a:extLst>
            </p:cNvPr>
            <p:cNvSpPr/>
            <p:nvPr/>
          </p:nvSpPr>
          <p:spPr>
            <a:xfrm>
              <a:off x="8040319" y="6259170"/>
              <a:ext cx="10160" cy="29209"/>
            </a:xfrm>
            <a:custGeom>
              <a:avLst/>
              <a:gdLst/>
              <a:ahLst/>
              <a:cxnLst/>
              <a:rect l="l" t="t" r="r" b="b"/>
              <a:pathLst>
                <a:path w="10159" h="29209">
                  <a:moveTo>
                    <a:pt x="4787" y="29133"/>
                  </a:moveTo>
                  <a:lnTo>
                    <a:pt x="7429" y="29133"/>
                  </a:lnTo>
                  <a:lnTo>
                    <a:pt x="9575" y="22605"/>
                  </a:lnTo>
                  <a:lnTo>
                    <a:pt x="9575" y="14566"/>
                  </a:lnTo>
                  <a:lnTo>
                    <a:pt x="9575" y="6515"/>
                  </a:lnTo>
                  <a:lnTo>
                    <a:pt x="7429" y="0"/>
                  </a:lnTo>
                  <a:lnTo>
                    <a:pt x="4787" y="0"/>
                  </a:lnTo>
                  <a:lnTo>
                    <a:pt x="2146" y="0"/>
                  </a:lnTo>
                  <a:lnTo>
                    <a:pt x="0" y="6515"/>
                  </a:lnTo>
                  <a:lnTo>
                    <a:pt x="0" y="14566"/>
                  </a:lnTo>
                  <a:lnTo>
                    <a:pt x="0" y="22605"/>
                  </a:lnTo>
                  <a:lnTo>
                    <a:pt x="2146" y="29133"/>
                  </a:lnTo>
                  <a:lnTo>
                    <a:pt x="4787" y="29133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4" name="object 1226">
              <a:extLst>
                <a:ext uri="{FF2B5EF4-FFF2-40B4-BE49-F238E27FC236}">
                  <a16:creationId xmlns:a16="http://schemas.microsoft.com/office/drawing/2014/main" id="{7AFBDE3E-4F3C-4F98-9A1A-E00E84AFAF7A}"/>
                </a:ext>
              </a:extLst>
            </p:cNvPr>
            <p:cNvSpPr/>
            <p:nvPr/>
          </p:nvSpPr>
          <p:spPr>
            <a:xfrm>
              <a:off x="8044433" y="6262485"/>
              <a:ext cx="6985" cy="26034"/>
            </a:xfrm>
            <a:custGeom>
              <a:avLst/>
              <a:gdLst/>
              <a:ahLst/>
              <a:cxnLst/>
              <a:rect l="l" t="t" r="r" b="b"/>
              <a:pathLst>
                <a:path w="6984" h="26034">
                  <a:moveTo>
                    <a:pt x="3949" y="0"/>
                  </a:moveTo>
                  <a:lnTo>
                    <a:pt x="3530" y="114"/>
                  </a:lnTo>
                  <a:lnTo>
                    <a:pt x="4063" y="1752"/>
                  </a:lnTo>
                  <a:lnTo>
                    <a:pt x="5333" y="7886"/>
                  </a:lnTo>
                  <a:lnTo>
                    <a:pt x="4584" y="16027"/>
                  </a:lnTo>
                  <a:lnTo>
                    <a:pt x="4305" y="16217"/>
                  </a:lnTo>
                  <a:lnTo>
                    <a:pt x="4122" y="16497"/>
                  </a:lnTo>
                  <a:lnTo>
                    <a:pt x="4089" y="17271"/>
                  </a:lnTo>
                  <a:lnTo>
                    <a:pt x="4216" y="17564"/>
                  </a:lnTo>
                  <a:lnTo>
                    <a:pt x="4470" y="17805"/>
                  </a:lnTo>
                  <a:lnTo>
                    <a:pt x="3949" y="20472"/>
                  </a:lnTo>
                  <a:lnTo>
                    <a:pt x="2819" y="24434"/>
                  </a:lnTo>
                  <a:lnTo>
                    <a:pt x="1473" y="25463"/>
                  </a:lnTo>
                  <a:lnTo>
                    <a:pt x="0" y="25539"/>
                  </a:lnTo>
                  <a:lnTo>
                    <a:pt x="0" y="25882"/>
                  </a:lnTo>
                  <a:lnTo>
                    <a:pt x="2463" y="26022"/>
                  </a:lnTo>
                  <a:lnTo>
                    <a:pt x="4889" y="20650"/>
                  </a:lnTo>
                  <a:lnTo>
                    <a:pt x="5359" y="18707"/>
                  </a:lnTo>
                  <a:lnTo>
                    <a:pt x="5524" y="17906"/>
                  </a:lnTo>
                  <a:lnTo>
                    <a:pt x="5690" y="17805"/>
                  </a:lnTo>
                  <a:lnTo>
                    <a:pt x="5943" y="17564"/>
                  </a:lnTo>
                  <a:lnTo>
                    <a:pt x="5968" y="16497"/>
                  </a:lnTo>
                  <a:lnTo>
                    <a:pt x="5869" y="16027"/>
                  </a:lnTo>
                  <a:lnTo>
                    <a:pt x="6565" y="9029"/>
                  </a:lnTo>
                  <a:lnTo>
                    <a:pt x="4889" y="2984"/>
                  </a:lnTo>
                  <a:lnTo>
                    <a:pt x="3949" y="0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5" name="object 1227">
              <a:extLst>
                <a:ext uri="{FF2B5EF4-FFF2-40B4-BE49-F238E27FC236}">
                  <a16:creationId xmlns:a16="http://schemas.microsoft.com/office/drawing/2014/main" id="{3C561549-2013-44F6-B94F-3BDED981D2A5}"/>
                </a:ext>
              </a:extLst>
            </p:cNvPr>
            <p:cNvSpPr/>
            <p:nvPr/>
          </p:nvSpPr>
          <p:spPr>
            <a:xfrm>
              <a:off x="8030533" y="6260892"/>
              <a:ext cx="29209" cy="25400"/>
            </a:xfrm>
            <a:custGeom>
              <a:avLst/>
              <a:gdLst/>
              <a:ahLst/>
              <a:cxnLst/>
              <a:rect l="l" t="t" r="r" b="b"/>
              <a:pathLst>
                <a:path w="29209" h="25400">
                  <a:moveTo>
                    <a:pt x="24206" y="1765"/>
                  </a:moveTo>
                  <a:lnTo>
                    <a:pt x="2832" y="21729"/>
                  </a:lnTo>
                  <a:lnTo>
                    <a:pt x="4800" y="23495"/>
                  </a:lnTo>
                  <a:lnTo>
                    <a:pt x="6769" y="25260"/>
                  </a:lnTo>
                  <a:lnTo>
                    <a:pt x="12712" y="21818"/>
                  </a:lnTo>
                  <a:lnTo>
                    <a:pt x="18072" y="15824"/>
                  </a:lnTo>
                  <a:lnTo>
                    <a:pt x="23431" y="9817"/>
                  </a:lnTo>
                  <a:lnTo>
                    <a:pt x="26174" y="3530"/>
                  </a:lnTo>
                  <a:lnTo>
                    <a:pt x="24206" y="1765"/>
                  </a:lnTo>
                  <a:close/>
                </a:path>
                <a:path w="29209" h="25400">
                  <a:moveTo>
                    <a:pt x="25641" y="22174"/>
                  </a:moveTo>
                  <a:lnTo>
                    <a:pt x="5219" y="1219"/>
                  </a:lnTo>
                  <a:lnTo>
                    <a:pt x="3505" y="3225"/>
                  </a:lnTo>
                  <a:lnTo>
                    <a:pt x="1790" y="5245"/>
                  </a:lnTo>
                  <a:lnTo>
                    <a:pt x="5346" y="11112"/>
                  </a:lnTo>
                  <a:lnTo>
                    <a:pt x="11455" y="16332"/>
                  </a:lnTo>
                  <a:lnTo>
                    <a:pt x="17564" y="21577"/>
                  </a:lnTo>
                  <a:lnTo>
                    <a:pt x="23914" y="24180"/>
                  </a:lnTo>
                  <a:lnTo>
                    <a:pt x="25641" y="22174"/>
                  </a:lnTo>
                  <a:close/>
                </a:path>
                <a:path w="29209" h="25400">
                  <a:moveTo>
                    <a:pt x="29146" y="12700"/>
                  </a:moveTo>
                  <a:lnTo>
                    <a:pt x="29146" y="9956"/>
                  </a:lnTo>
                  <a:lnTo>
                    <a:pt x="22415" y="7912"/>
                  </a:lnTo>
                  <a:lnTo>
                    <a:pt x="14566" y="7912"/>
                  </a:lnTo>
                  <a:lnTo>
                    <a:pt x="6527" y="7912"/>
                  </a:lnTo>
                  <a:lnTo>
                    <a:pt x="0" y="10058"/>
                  </a:lnTo>
                  <a:lnTo>
                    <a:pt x="0" y="12700"/>
                  </a:lnTo>
                  <a:lnTo>
                    <a:pt x="0" y="15341"/>
                  </a:lnTo>
                  <a:lnTo>
                    <a:pt x="6527" y="17487"/>
                  </a:lnTo>
                  <a:lnTo>
                    <a:pt x="14566" y="17487"/>
                  </a:lnTo>
                  <a:lnTo>
                    <a:pt x="22618" y="17487"/>
                  </a:lnTo>
                  <a:lnTo>
                    <a:pt x="29146" y="15341"/>
                  </a:lnTo>
                  <a:lnTo>
                    <a:pt x="29146" y="12700"/>
                  </a:lnTo>
                  <a:close/>
                </a:path>
              </a:pathLst>
            </a:custGeom>
            <a:ln w="3175">
              <a:solidFill>
                <a:srgbClr val="FED42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6" name="object 1228">
              <a:extLst>
                <a:ext uri="{FF2B5EF4-FFF2-40B4-BE49-F238E27FC236}">
                  <a16:creationId xmlns:a16="http://schemas.microsoft.com/office/drawing/2014/main" id="{74138FD9-3CAB-4A42-BF3C-7F46831DD693}"/>
                </a:ext>
              </a:extLst>
            </p:cNvPr>
            <p:cNvSpPr/>
            <p:nvPr/>
          </p:nvSpPr>
          <p:spPr>
            <a:xfrm>
              <a:off x="8030730" y="6263059"/>
              <a:ext cx="27940" cy="20955"/>
            </a:xfrm>
            <a:custGeom>
              <a:avLst/>
              <a:gdLst/>
              <a:ahLst/>
              <a:cxnLst/>
              <a:rect l="l" t="t" r="r" b="b"/>
              <a:pathLst>
                <a:path w="27940" h="20954">
                  <a:moveTo>
                    <a:pt x="16941" y="9080"/>
                  </a:moveTo>
                  <a:lnTo>
                    <a:pt x="15760" y="7899"/>
                  </a:lnTo>
                  <a:lnTo>
                    <a:pt x="12839" y="7899"/>
                  </a:lnTo>
                  <a:lnTo>
                    <a:pt x="11658" y="9080"/>
                  </a:lnTo>
                  <a:lnTo>
                    <a:pt x="11658" y="12001"/>
                  </a:lnTo>
                  <a:lnTo>
                    <a:pt x="12839" y="13182"/>
                  </a:lnTo>
                  <a:lnTo>
                    <a:pt x="14300" y="13182"/>
                  </a:lnTo>
                  <a:lnTo>
                    <a:pt x="15760" y="13182"/>
                  </a:lnTo>
                  <a:lnTo>
                    <a:pt x="16941" y="12001"/>
                  </a:lnTo>
                  <a:lnTo>
                    <a:pt x="16941" y="9080"/>
                  </a:lnTo>
                  <a:close/>
                </a:path>
                <a:path w="27940" h="20954">
                  <a:moveTo>
                    <a:pt x="27774" y="8356"/>
                  </a:moveTo>
                  <a:lnTo>
                    <a:pt x="27749" y="8153"/>
                  </a:lnTo>
                  <a:lnTo>
                    <a:pt x="26174" y="7086"/>
                  </a:lnTo>
                  <a:lnTo>
                    <a:pt x="24345" y="6388"/>
                  </a:lnTo>
                  <a:lnTo>
                    <a:pt x="20485" y="5016"/>
                  </a:lnTo>
                  <a:lnTo>
                    <a:pt x="15811" y="5016"/>
                  </a:lnTo>
                  <a:lnTo>
                    <a:pt x="14655" y="3924"/>
                  </a:lnTo>
                  <a:lnTo>
                    <a:pt x="14655" y="5016"/>
                  </a:lnTo>
                  <a:lnTo>
                    <a:pt x="13068" y="5016"/>
                  </a:lnTo>
                  <a:lnTo>
                    <a:pt x="13881" y="4381"/>
                  </a:lnTo>
                  <a:lnTo>
                    <a:pt x="14655" y="5016"/>
                  </a:lnTo>
                  <a:lnTo>
                    <a:pt x="14655" y="3924"/>
                  </a:lnTo>
                  <a:lnTo>
                    <a:pt x="15062" y="3441"/>
                  </a:lnTo>
                  <a:lnTo>
                    <a:pt x="14909" y="3289"/>
                  </a:lnTo>
                  <a:lnTo>
                    <a:pt x="14757" y="3136"/>
                  </a:lnTo>
                  <a:lnTo>
                    <a:pt x="14173" y="3492"/>
                  </a:lnTo>
                  <a:lnTo>
                    <a:pt x="11049" y="1587"/>
                  </a:lnTo>
                  <a:lnTo>
                    <a:pt x="9906" y="939"/>
                  </a:lnTo>
                  <a:lnTo>
                    <a:pt x="9855" y="723"/>
                  </a:lnTo>
                  <a:lnTo>
                    <a:pt x="9766" y="533"/>
                  </a:lnTo>
                  <a:lnTo>
                    <a:pt x="9385" y="152"/>
                  </a:lnTo>
                  <a:lnTo>
                    <a:pt x="9067" y="25"/>
                  </a:lnTo>
                  <a:lnTo>
                    <a:pt x="8407" y="25"/>
                  </a:lnTo>
                  <a:lnTo>
                    <a:pt x="8102" y="152"/>
                  </a:lnTo>
                  <a:lnTo>
                    <a:pt x="7886" y="368"/>
                  </a:lnTo>
                  <a:lnTo>
                    <a:pt x="5778" y="0"/>
                  </a:lnTo>
                  <a:lnTo>
                    <a:pt x="5029" y="76"/>
                  </a:lnTo>
                  <a:lnTo>
                    <a:pt x="4889" y="495"/>
                  </a:lnTo>
                  <a:lnTo>
                    <a:pt x="4991" y="635"/>
                  </a:lnTo>
                  <a:lnTo>
                    <a:pt x="6451" y="850"/>
                  </a:lnTo>
                  <a:lnTo>
                    <a:pt x="6985" y="1130"/>
                  </a:lnTo>
                  <a:lnTo>
                    <a:pt x="7569" y="1320"/>
                  </a:lnTo>
                  <a:lnTo>
                    <a:pt x="7607" y="1562"/>
                  </a:lnTo>
                  <a:lnTo>
                    <a:pt x="7696" y="1790"/>
                  </a:lnTo>
                  <a:lnTo>
                    <a:pt x="8102" y="2197"/>
                  </a:lnTo>
                  <a:lnTo>
                    <a:pt x="8420" y="2324"/>
                  </a:lnTo>
                  <a:lnTo>
                    <a:pt x="8890" y="2324"/>
                  </a:lnTo>
                  <a:lnTo>
                    <a:pt x="9169" y="2235"/>
                  </a:lnTo>
                  <a:lnTo>
                    <a:pt x="12979" y="3632"/>
                  </a:lnTo>
                  <a:lnTo>
                    <a:pt x="13449" y="4025"/>
                  </a:lnTo>
                  <a:lnTo>
                    <a:pt x="12331" y="5016"/>
                  </a:lnTo>
                  <a:lnTo>
                    <a:pt x="7175" y="5016"/>
                  </a:lnTo>
                  <a:lnTo>
                    <a:pt x="3276" y="6731"/>
                  </a:lnTo>
                  <a:lnTo>
                    <a:pt x="558" y="8356"/>
                  </a:lnTo>
                  <a:lnTo>
                    <a:pt x="0" y="9461"/>
                  </a:lnTo>
                  <a:lnTo>
                    <a:pt x="1638" y="8572"/>
                  </a:lnTo>
                  <a:lnTo>
                    <a:pt x="4889" y="6718"/>
                  </a:lnTo>
                  <a:lnTo>
                    <a:pt x="8737" y="6388"/>
                  </a:lnTo>
                  <a:lnTo>
                    <a:pt x="10795" y="6388"/>
                  </a:lnTo>
                  <a:lnTo>
                    <a:pt x="9626" y="7442"/>
                  </a:lnTo>
                  <a:lnTo>
                    <a:pt x="6654" y="11176"/>
                  </a:lnTo>
                  <a:lnTo>
                    <a:pt x="6007" y="12179"/>
                  </a:lnTo>
                  <a:lnTo>
                    <a:pt x="5524" y="12306"/>
                  </a:lnTo>
                  <a:lnTo>
                    <a:pt x="5168" y="12750"/>
                  </a:lnTo>
                  <a:lnTo>
                    <a:pt x="5168" y="13525"/>
                  </a:lnTo>
                  <a:lnTo>
                    <a:pt x="5232" y="13728"/>
                  </a:lnTo>
                  <a:lnTo>
                    <a:pt x="5334" y="13906"/>
                  </a:lnTo>
                  <a:lnTo>
                    <a:pt x="4876" y="14808"/>
                  </a:lnTo>
                  <a:lnTo>
                    <a:pt x="4013" y="16738"/>
                  </a:lnTo>
                  <a:lnTo>
                    <a:pt x="3873" y="18605"/>
                  </a:lnTo>
                  <a:lnTo>
                    <a:pt x="3873" y="20510"/>
                  </a:lnTo>
                  <a:lnTo>
                    <a:pt x="4470" y="20612"/>
                  </a:lnTo>
                  <a:lnTo>
                    <a:pt x="3962" y="19608"/>
                  </a:lnTo>
                  <a:lnTo>
                    <a:pt x="4279" y="18300"/>
                  </a:lnTo>
                  <a:lnTo>
                    <a:pt x="4940" y="16205"/>
                  </a:lnTo>
                  <a:lnTo>
                    <a:pt x="6159" y="14478"/>
                  </a:lnTo>
                  <a:lnTo>
                    <a:pt x="6515" y="14490"/>
                  </a:lnTo>
                  <a:lnTo>
                    <a:pt x="6769" y="14389"/>
                  </a:lnTo>
                  <a:lnTo>
                    <a:pt x="7188" y="13957"/>
                  </a:lnTo>
                  <a:lnTo>
                    <a:pt x="7315" y="13639"/>
                  </a:lnTo>
                  <a:lnTo>
                    <a:pt x="7315" y="13233"/>
                  </a:lnTo>
                  <a:lnTo>
                    <a:pt x="7277" y="13093"/>
                  </a:lnTo>
                  <a:lnTo>
                    <a:pt x="8864" y="9867"/>
                  </a:lnTo>
                  <a:lnTo>
                    <a:pt x="11874" y="6388"/>
                  </a:lnTo>
                  <a:lnTo>
                    <a:pt x="16357" y="6388"/>
                  </a:lnTo>
                  <a:lnTo>
                    <a:pt x="17068" y="6959"/>
                  </a:lnTo>
                  <a:lnTo>
                    <a:pt x="17957" y="7607"/>
                  </a:lnTo>
                  <a:lnTo>
                    <a:pt x="18224" y="7302"/>
                  </a:lnTo>
                  <a:lnTo>
                    <a:pt x="17627" y="6718"/>
                  </a:lnTo>
                  <a:lnTo>
                    <a:pt x="17272" y="6388"/>
                  </a:lnTo>
                  <a:lnTo>
                    <a:pt x="19989" y="6388"/>
                  </a:lnTo>
                  <a:lnTo>
                    <a:pt x="24879" y="7391"/>
                  </a:lnTo>
                  <a:lnTo>
                    <a:pt x="26301" y="7937"/>
                  </a:lnTo>
                  <a:lnTo>
                    <a:pt x="27774" y="8356"/>
                  </a:lnTo>
                  <a:close/>
                </a:path>
              </a:pathLst>
            </a:custGeom>
            <a:solidFill>
              <a:srgbClr val="FED4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7" name="object 1229">
              <a:extLst>
                <a:ext uri="{FF2B5EF4-FFF2-40B4-BE49-F238E27FC236}">
                  <a16:creationId xmlns:a16="http://schemas.microsoft.com/office/drawing/2014/main" id="{376EE4E3-0930-44E8-A7CB-1BC2C84C6984}"/>
                </a:ext>
              </a:extLst>
            </p:cNvPr>
            <p:cNvSpPr/>
            <p:nvPr/>
          </p:nvSpPr>
          <p:spPr>
            <a:xfrm>
              <a:off x="8043514" y="6323882"/>
              <a:ext cx="8890" cy="2540"/>
            </a:xfrm>
            <a:custGeom>
              <a:avLst/>
              <a:gdLst/>
              <a:ahLst/>
              <a:cxnLst/>
              <a:rect l="l" t="t" r="r" b="b"/>
              <a:pathLst>
                <a:path w="8890" h="2540">
                  <a:moveTo>
                    <a:pt x="0" y="0"/>
                  </a:moveTo>
                  <a:lnTo>
                    <a:pt x="50" y="800"/>
                  </a:lnTo>
                  <a:lnTo>
                    <a:pt x="8420" y="2006"/>
                  </a:lnTo>
                  <a:lnTo>
                    <a:pt x="8216" y="1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1C95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8" name="object 1230">
              <a:extLst>
                <a:ext uri="{FF2B5EF4-FFF2-40B4-BE49-F238E27FC236}">
                  <a16:creationId xmlns:a16="http://schemas.microsoft.com/office/drawing/2014/main" id="{B4004199-71E9-47F2-B199-A1255499C804}"/>
                </a:ext>
              </a:extLst>
            </p:cNvPr>
            <p:cNvSpPr/>
            <p:nvPr/>
          </p:nvSpPr>
          <p:spPr>
            <a:xfrm>
              <a:off x="8010013" y="6248319"/>
              <a:ext cx="89535" cy="118745"/>
            </a:xfrm>
            <a:custGeom>
              <a:avLst/>
              <a:gdLst/>
              <a:ahLst/>
              <a:cxnLst/>
              <a:rect l="l" t="t" r="r" b="b"/>
              <a:pathLst>
                <a:path w="89534" h="118745">
                  <a:moveTo>
                    <a:pt x="89153" y="0"/>
                  </a:moveTo>
                  <a:lnTo>
                    <a:pt x="87693" y="1320"/>
                  </a:lnTo>
                  <a:lnTo>
                    <a:pt x="31622" y="54013"/>
                  </a:lnTo>
                  <a:lnTo>
                    <a:pt x="31191" y="54610"/>
                  </a:lnTo>
                  <a:lnTo>
                    <a:pt x="34518" y="54889"/>
                  </a:lnTo>
                  <a:lnTo>
                    <a:pt x="38061" y="55778"/>
                  </a:lnTo>
                  <a:lnTo>
                    <a:pt x="27812" y="67627"/>
                  </a:lnTo>
                  <a:lnTo>
                    <a:pt x="18160" y="80810"/>
                  </a:lnTo>
                  <a:lnTo>
                    <a:pt x="16687" y="82270"/>
                  </a:lnTo>
                  <a:lnTo>
                    <a:pt x="17868" y="81978"/>
                  </a:lnTo>
                  <a:lnTo>
                    <a:pt x="23139" y="82270"/>
                  </a:lnTo>
                  <a:lnTo>
                    <a:pt x="25031" y="81978"/>
                  </a:lnTo>
                  <a:lnTo>
                    <a:pt x="0" y="118592"/>
                  </a:lnTo>
                  <a:lnTo>
                    <a:pt x="16346" y="99683"/>
                  </a:lnTo>
                  <a:lnTo>
                    <a:pt x="24041" y="90043"/>
                  </a:lnTo>
                  <a:lnTo>
                    <a:pt x="28257" y="86194"/>
                  </a:lnTo>
                  <a:lnTo>
                    <a:pt x="31597" y="81356"/>
                  </a:lnTo>
                  <a:lnTo>
                    <a:pt x="32042" y="79832"/>
                  </a:lnTo>
                  <a:lnTo>
                    <a:pt x="30606" y="78092"/>
                  </a:lnTo>
                  <a:lnTo>
                    <a:pt x="29387" y="77355"/>
                  </a:lnTo>
                  <a:lnTo>
                    <a:pt x="31699" y="72974"/>
                  </a:lnTo>
                  <a:lnTo>
                    <a:pt x="33832" y="70345"/>
                  </a:lnTo>
                  <a:lnTo>
                    <a:pt x="42824" y="62090"/>
                  </a:lnTo>
                  <a:lnTo>
                    <a:pt x="46062" y="58204"/>
                  </a:lnTo>
                  <a:lnTo>
                    <a:pt x="50241" y="51612"/>
                  </a:lnTo>
                  <a:lnTo>
                    <a:pt x="51028" y="49009"/>
                  </a:lnTo>
                  <a:lnTo>
                    <a:pt x="50596" y="46863"/>
                  </a:lnTo>
                  <a:lnTo>
                    <a:pt x="51523" y="44894"/>
                  </a:lnTo>
                  <a:lnTo>
                    <a:pt x="53708" y="41630"/>
                  </a:lnTo>
                  <a:lnTo>
                    <a:pt x="59588" y="36601"/>
                  </a:lnTo>
                  <a:lnTo>
                    <a:pt x="80300" y="17021"/>
                  </a:lnTo>
                  <a:lnTo>
                    <a:pt x="85347" y="11732"/>
                  </a:lnTo>
                  <a:lnTo>
                    <a:pt x="87845" y="8204"/>
                  </a:lnTo>
                  <a:lnTo>
                    <a:pt x="89014" y="4978"/>
                  </a:lnTo>
                  <a:lnTo>
                    <a:pt x="89153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39" name="object 1231">
              <a:extLst>
                <a:ext uri="{FF2B5EF4-FFF2-40B4-BE49-F238E27FC236}">
                  <a16:creationId xmlns:a16="http://schemas.microsoft.com/office/drawing/2014/main" id="{F3D94CB5-D9BB-4273-AAAA-F276832E03F0}"/>
                </a:ext>
              </a:extLst>
            </p:cNvPr>
            <p:cNvSpPr/>
            <p:nvPr/>
          </p:nvSpPr>
          <p:spPr>
            <a:xfrm>
              <a:off x="8010411" y="6248858"/>
              <a:ext cx="88265" cy="118110"/>
            </a:xfrm>
            <a:custGeom>
              <a:avLst/>
              <a:gdLst/>
              <a:ahLst/>
              <a:cxnLst/>
              <a:rect l="l" t="t" r="r" b="b"/>
              <a:pathLst>
                <a:path w="88265" h="118109">
                  <a:moveTo>
                    <a:pt x="88226" y="0"/>
                  </a:moveTo>
                  <a:lnTo>
                    <a:pt x="86753" y="1320"/>
                  </a:lnTo>
                  <a:lnTo>
                    <a:pt x="31267" y="53466"/>
                  </a:lnTo>
                  <a:lnTo>
                    <a:pt x="30822" y="54051"/>
                  </a:lnTo>
                  <a:lnTo>
                    <a:pt x="34163" y="54343"/>
                  </a:lnTo>
                  <a:lnTo>
                    <a:pt x="37719" y="55219"/>
                  </a:lnTo>
                  <a:lnTo>
                    <a:pt x="27457" y="67094"/>
                  </a:lnTo>
                  <a:lnTo>
                    <a:pt x="17805" y="80251"/>
                  </a:lnTo>
                  <a:lnTo>
                    <a:pt x="16344" y="81711"/>
                  </a:lnTo>
                  <a:lnTo>
                    <a:pt x="17538" y="81406"/>
                  </a:lnTo>
                  <a:lnTo>
                    <a:pt x="22809" y="81711"/>
                  </a:lnTo>
                  <a:lnTo>
                    <a:pt x="24701" y="81432"/>
                  </a:lnTo>
                  <a:lnTo>
                    <a:pt x="0" y="117487"/>
                  </a:lnTo>
                  <a:lnTo>
                    <a:pt x="15916" y="99047"/>
                  </a:lnTo>
                  <a:lnTo>
                    <a:pt x="23596" y="89420"/>
                  </a:lnTo>
                  <a:lnTo>
                    <a:pt x="27724" y="85636"/>
                  </a:lnTo>
                  <a:lnTo>
                    <a:pt x="31026" y="80860"/>
                  </a:lnTo>
                  <a:lnTo>
                    <a:pt x="31457" y="79336"/>
                  </a:lnTo>
                  <a:lnTo>
                    <a:pt x="30010" y="77635"/>
                  </a:lnTo>
                  <a:lnTo>
                    <a:pt x="28765" y="76898"/>
                  </a:lnTo>
                  <a:lnTo>
                    <a:pt x="30873" y="72643"/>
                  </a:lnTo>
                  <a:lnTo>
                    <a:pt x="33235" y="69735"/>
                  </a:lnTo>
                  <a:lnTo>
                    <a:pt x="42240" y="61379"/>
                  </a:lnTo>
                  <a:lnTo>
                    <a:pt x="45389" y="57581"/>
                  </a:lnTo>
                  <a:lnTo>
                    <a:pt x="49415" y="51180"/>
                  </a:lnTo>
                  <a:lnTo>
                    <a:pt x="50152" y="48666"/>
                  </a:lnTo>
                  <a:lnTo>
                    <a:pt x="49657" y="46583"/>
                  </a:lnTo>
                  <a:lnTo>
                    <a:pt x="49847" y="45694"/>
                  </a:lnTo>
                  <a:lnTo>
                    <a:pt x="53149" y="40982"/>
                  </a:lnTo>
                  <a:lnTo>
                    <a:pt x="58978" y="36004"/>
                  </a:lnTo>
                  <a:lnTo>
                    <a:pt x="79276" y="16811"/>
                  </a:lnTo>
                  <a:lnTo>
                    <a:pt x="84243" y="11620"/>
                  </a:lnTo>
                  <a:lnTo>
                    <a:pt x="86766" y="8102"/>
                  </a:lnTo>
                  <a:lnTo>
                    <a:pt x="87985" y="4914"/>
                  </a:lnTo>
                  <a:lnTo>
                    <a:pt x="88226" y="0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0" name="object 1232">
              <a:extLst>
                <a:ext uri="{FF2B5EF4-FFF2-40B4-BE49-F238E27FC236}">
                  <a16:creationId xmlns:a16="http://schemas.microsoft.com/office/drawing/2014/main" id="{AC10B790-9856-4BE8-9B73-FFBDC0EA77CA}"/>
                </a:ext>
              </a:extLst>
            </p:cNvPr>
            <p:cNvSpPr/>
            <p:nvPr/>
          </p:nvSpPr>
          <p:spPr>
            <a:xfrm>
              <a:off x="8010804" y="6249399"/>
              <a:ext cx="87630" cy="116839"/>
            </a:xfrm>
            <a:custGeom>
              <a:avLst/>
              <a:gdLst/>
              <a:ahLst/>
              <a:cxnLst/>
              <a:rect l="l" t="t" r="r" b="b"/>
              <a:pathLst>
                <a:path w="87629" h="116840">
                  <a:moveTo>
                    <a:pt x="87287" y="0"/>
                  </a:moveTo>
                  <a:lnTo>
                    <a:pt x="85826" y="1320"/>
                  </a:lnTo>
                  <a:lnTo>
                    <a:pt x="30911" y="52920"/>
                  </a:lnTo>
                  <a:lnTo>
                    <a:pt x="30480" y="53505"/>
                  </a:lnTo>
                  <a:lnTo>
                    <a:pt x="33820" y="53771"/>
                  </a:lnTo>
                  <a:lnTo>
                    <a:pt x="37363" y="54660"/>
                  </a:lnTo>
                  <a:lnTo>
                    <a:pt x="27101" y="66560"/>
                  </a:lnTo>
                  <a:lnTo>
                    <a:pt x="17462" y="79679"/>
                  </a:lnTo>
                  <a:lnTo>
                    <a:pt x="16002" y="81140"/>
                  </a:lnTo>
                  <a:lnTo>
                    <a:pt x="17208" y="80848"/>
                  </a:lnTo>
                  <a:lnTo>
                    <a:pt x="22479" y="81140"/>
                  </a:lnTo>
                  <a:lnTo>
                    <a:pt x="24358" y="80886"/>
                  </a:lnTo>
                  <a:lnTo>
                    <a:pt x="0" y="116395"/>
                  </a:lnTo>
                  <a:lnTo>
                    <a:pt x="15484" y="98398"/>
                  </a:lnTo>
                  <a:lnTo>
                    <a:pt x="23152" y="88785"/>
                  </a:lnTo>
                  <a:lnTo>
                    <a:pt x="27203" y="85064"/>
                  </a:lnTo>
                  <a:lnTo>
                    <a:pt x="30441" y="80352"/>
                  </a:lnTo>
                  <a:lnTo>
                    <a:pt x="30861" y="78854"/>
                  </a:lnTo>
                  <a:lnTo>
                    <a:pt x="29413" y="77152"/>
                  </a:lnTo>
                  <a:lnTo>
                    <a:pt x="28130" y="76428"/>
                  </a:lnTo>
                  <a:lnTo>
                    <a:pt x="30060" y="72313"/>
                  </a:lnTo>
                  <a:lnTo>
                    <a:pt x="32651" y="69126"/>
                  </a:lnTo>
                  <a:lnTo>
                    <a:pt x="41668" y="60667"/>
                  </a:lnTo>
                  <a:lnTo>
                    <a:pt x="44742" y="56946"/>
                  </a:lnTo>
                  <a:lnTo>
                    <a:pt x="48602" y="50736"/>
                  </a:lnTo>
                  <a:lnTo>
                    <a:pt x="49263" y="48310"/>
                  </a:lnTo>
                  <a:lnTo>
                    <a:pt x="48717" y="46304"/>
                  </a:lnTo>
                  <a:lnTo>
                    <a:pt x="48818" y="45415"/>
                  </a:lnTo>
                  <a:lnTo>
                    <a:pt x="52590" y="40347"/>
                  </a:lnTo>
                  <a:lnTo>
                    <a:pt x="58356" y="35407"/>
                  </a:lnTo>
                  <a:lnTo>
                    <a:pt x="78258" y="16586"/>
                  </a:lnTo>
                  <a:lnTo>
                    <a:pt x="83140" y="11494"/>
                  </a:lnTo>
                  <a:lnTo>
                    <a:pt x="85686" y="8000"/>
                  </a:lnTo>
                  <a:lnTo>
                    <a:pt x="86956" y="4838"/>
                  </a:lnTo>
                  <a:lnTo>
                    <a:pt x="87287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1" name="object 1233">
              <a:extLst>
                <a:ext uri="{FF2B5EF4-FFF2-40B4-BE49-F238E27FC236}">
                  <a16:creationId xmlns:a16="http://schemas.microsoft.com/office/drawing/2014/main" id="{6E7B5584-83A4-4D9E-8CCF-15AC63671F3C}"/>
                </a:ext>
              </a:extLst>
            </p:cNvPr>
            <p:cNvSpPr/>
            <p:nvPr/>
          </p:nvSpPr>
          <p:spPr>
            <a:xfrm>
              <a:off x="8011190" y="6249941"/>
              <a:ext cx="86360" cy="115570"/>
            </a:xfrm>
            <a:custGeom>
              <a:avLst/>
              <a:gdLst/>
              <a:ahLst/>
              <a:cxnLst/>
              <a:rect l="l" t="t" r="r" b="b"/>
              <a:pathLst>
                <a:path w="86359" h="115570">
                  <a:moveTo>
                    <a:pt x="86359" y="0"/>
                  </a:moveTo>
                  <a:lnTo>
                    <a:pt x="84899" y="1320"/>
                  </a:lnTo>
                  <a:lnTo>
                    <a:pt x="30568" y="52362"/>
                  </a:lnTo>
                  <a:lnTo>
                    <a:pt x="30124" y="52959"/>
                  </a:lnTo>
                  <a:lnTo>
                    <a:pt x="33477" y="53225"/>
                  </a:lnTo>
                  <a:lnTo>
                    <a:pt x="37020" y="54102"/>
                  </a:lnTo>
                  <a:lnTo>
                    <a:pt x="26758" y="66014"/>
                  </a:lnTo>
                  <a:lnTo>
                    <a:pt x="17132" y="79108"/>
                  </a:lnTo>
                  <a:lnTo>
                    <a:pt x="15671" y="80568"/>
                  </a:lnTo>
                  <a:lnTo>
                    <a:pt x="16890" y="80276"/>
                  </a:lnTo>
                  <a:lnTo>
                    <a:pt x="22161" y="80568"/>
                  </a:lnTo>
                  <a:lnTo>
                    <a:pt x="24028" y="80327"/>
                  </a:lnTo>
                  <a:lnTo>
                    <a:pt x="0" y="115303"/>
                  </a:lnTo>
                  <a:lnTo>
                    <a:pt x="15059" y="97756"/>
                  </a:lnTo>
                  <a:lnTo>
                    <a:pt x="22720" y="88150"/>
                  </a:lnTo>
                  <a:lnTo>
                    <a:pt x="26682" y="84505"/>
                  </a:lnTo>
                  <a:lnTo>
                    <a:pt x="29870" y="79844"/>
                  </a:lnTo>
                  <a:lnTo>
                    <a:pt x="30276" y="78371"/>
                  </a:lnTo>
                  <a:lnTo>
                    <a:pt x="28828" y="76682"/>
                  </a:lnTo>
                  <a:lnTo>
                    <a:pt x="27520" y="75971"/>
                  </a:lnTo>
                  <a:lnTo>
                    <a:pt x="29248" y="71983"/>
                  </a:lnTo>
                  <a:lnTo>
                    <a:pt x="32067" y="68503"/>
                  </a:lnTo>
                  <a:lnTo>
                    <a:pt x="41097" y="59956"/>
                  </a:lnTo>
                  <a:lnTo>
                    <a:pt x="44094" y="56324"/>
                  </a:lnTo>
                  <a:lnTo>
                    <a:pt x="47802" y="50292"/>
                  </a:lnTo>
                  <a:lnTo>
                    <a:pt x="48399" y="47967"/>
                  </a:lnTo>
                  <a:lnTo>
                    <a:pt x="47802" y="46012"/>
                  </a:lnTo>
                  <a:lnTo>
                    <a:pt x="47802" y="45123"/>
                  </a:lnTo>
                  <a:lnTo>
                    <a:pt x="49656" y="43002"/>
                  </a:lnTo>
                  <a:lnTo>
                    <a:pt x="52044" y="39700"/>
                  </a:lnTo>
                  <a:lnTo>
                    <a:pt x="57759" y="34810"/>
                  </a:lnTo>
                  <a:lnTo>
                    <a:pt x="77247" y="16370"/>
                  </a:lnTo>
                  <a:lnTo>
                    <a:pt x="82044" y="11376"/>
                  </a:lnTo>
                  <a:lnTo>
                    <a:pt x="84620" y="7899"/>
                  </a:lnTo>
                  <a:lnTo>
                    <a:pt x="85940" y="4762"/>
                  </a:lnTo>
                  <a:lnTo>
                    <a:pt x="86359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2" name="object 1234">
              <a:extLst>
                <a:ext uri="{FF2B5EF4-FFF2-40B4-BE49-F238E27FC236}">
                  <a16:creationId xmlns:a16="http://schemas.microsoft.com/office/drawing/2014/main" id="{97D111FA-74FC-4C59-8FA2-E49645FC4CA7}"/>
                </a:ext>
              </a:extLst>
            </p:cNvPr>
            <p:cNvSpPr/>
            <p:nvPr/>
          </p:nvSpPr>
          <p:spPr>
            <a:xfrm>
              <a:off x="8011599" y="6250481"/>
              <a:ext cx="85725" cy="114300"/>
            </a:xfrm>
            <a:custGeom>
              <a:avLst/>
              <a:gdLst/>
              <a:ahLst/>
              <a:cxnLst/>
              <a:rect l="l" t="t" r="r" b="b"/>
              <a:pathLst>
                <a:path w="85725" h="114300">
                  <a:moveTo>
                    <a:pt x="85407" y="0"/>
                  </a:moveTo>
                  <a:lnTo>
                    <a:pt x="83947" y="1320"/>
                  </a:lnTo>
                  <a:lnTo>
                    <a:pt x="30187" y="51815"/>
                  </a:lnTo>
                  <a:lnTo>
                    <a:pt x="29756" y="52400"/>
                  </a:lnTo>
                  <a:lnTo>
                    <a:pt x="33108" y="52654"/>
                  </a:lnTo>
                  <a:lnTo>
                    <a:pt x="36664" y="53555"/>
                  </a:lnTo>
                  <a:lnTo>
                    <a:pt x="26390" y="65468"/>
                  </a:lnTo>
                  <a:lnTo>
                    <a:pt x="16776" y="78536"/>
                  </a:lnTo>
                  <a:lnTo>
                    <a:pt x="15316" y="79997"/>
                  </a:lnTo>
                  <a:lnTo>
                    <a:pt x="16548" y="79717"/>
                  </a:lnTo>
                  <a:lnTo>
                    <a:pt x="21818" y="79997"/>
                  </a:lnTo>
                  <a:lnTo>
                    <a:pt x="23672" y="79781"/>
                  </a:lnTo>
                  <a:lnTo>
                    <a:pt x="0" y="114211"/>
                  </a:lnTo>
                  <a:lnTo>
                    <a:pt x="14608" y="97108"/>
                  </a:lnTo>
                  <a:lnTo>
                    <a:pt x="22263" y="87528"/>
                  </a:lnTo>
                  <a:lnTo>
                    <a:pt x="26136" y="83947"/>
                  </a:lnTo>
                  <a:lnTo>
                    <a:pt x="29286" y="79336"/>
                  </a:lnTo>
                  <a:lnTo>
                    <a:pt x="29667" y="77876"/>
                  </a:lnTo>
                  <a:lnTo>
                    <a:pt x="28206" y="76225"/>
                  </a:lnTo>
                  <a:lnTo>
                    <a:pt x="26885" y="75501"/>
                  </a:lnTo>
                  <a:lnTo>
                    <a:pt x="28409" y="71653"/>
                  </a:lnTo>
                  <a:lnTo>
                    <a:pt x="31457" y="67906"/>
                  </a:lnTo>
                  <a:lnTo>
                    <a:pt x="40513" y="59245"/>
                  </a:lnTo>
                  <a:lnTo>
                    <a:pt x="43408" y="55702"/>
                  </a:lnTo>
                  <a:lnTo>
                    <a:pt x="46964" y="49860"/>
                  </a:lnTo>
                  <a:lnTo>
                    <a:pt x="47498" y="47624"/>
                  </a:lnTo>
                  <a:lnTo>
                    <a:pt x="46850" y="45732"/>
                  </a:lnTo>
                  <a:lnTo>
                    <a:pt x="46761" y="44843"/>
                  </a:lnTo>
                  <a:lnTo>
                    <a:pt x="49009" y="42379"/>
                  </a:lnTo>
                  <a:lnTo>
                    <a:pt x="51473" y="39065"/>
                  </a:lnTo>
                  <a:lnTo>
                    <a:pt x="57137" y="34213"/>
                  </a:lnTo>
                  <a:lnTo>
                    <a:pt x="76201" y="16154"/>
                  </a:lnTo>
                  <a:lnTo>
                    <a:pt x="80920" y="11258"/>
                  </a:lnTo>
                  <a:lnTo>
                    <a:pt x="83527" y="7797"/>
                  </a:lnTo>
                  <a:lnTo>
                    <a:pt x="84899" y="4698"/>
                  </a:lnTo>
                  <a:lnTo>
                    <a:pt x="85407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3" name="object 1235">
              <a:extLst>
                <a:ext uri="{FF2B5EF4-FFF2-40B4-BE49-F238E27FC236}">
                  <a16:creationId xmlns:a16="http://schemas.microsoft.com/office/drawing/2014/main" id="{DC15EA66-5CFA-4714-8C25-50715E709E9D}"/>
                </a:ext>
              </a:extLst>
            </p:cNvPr>
            <p:cNvSpPr/>
            <p:nvPr/>
          </p:nvSpPr>
          <p:spPr>
            <a:xfrm>
              <a:off x="8011989" y="6251021"/>
              <a:ext cx="85090" cy="113664"/>
            </a:xfrm>
            <a:custGeom>
              <a:avLst/>
              <a:gdLst/>
              <a:ahLst/>
              <a:cxnLst/>
              <a:rect l="l" t="t" r="r" b="b"/>
              <a:pathLst>
                <a:path w="85090" h="113665">
                  <a:moveTo>
                    <a:pt x="84480" y="0"/>
                  </a:moveTo>
                  <a:lnTo>
                    <a:pt x="83019" y="1320"/>
                  </a:lnTo>
                  <a:lnTo>
                    <a:pt x="29845" y="51269"/>
                  </a:lnTo>
                  <a:lnTo>
                    <a:pt x="29413" y="51841"/>
                  </a:lnTo>
                  <a:lnTo>
                    <a:pt x="32766" y="52108"/>
                  </a:lnTo>
                  <a:lnTo>
                    <a:pt x="36322" y="52997"/>
                  </a:lnTo>
                  <a:lnTo>
                    <a:pt x="26035" y="64935"/>
                  </a:lnTo>
                  <a:lnTo>
                    <a:pt x="16433" y="77965"/>
                  </a:lnTo>
                  <a:lnTo>
                    <a:pt x="14973" y="79438"/>
                  </a:lnTo>
                  <a:lnTo>
                    <a:pt x="16230" y="79146"/>
                  </a:lnTo>
                  <a:lnTo>
                    <a:pt x="21501" y="79438"/>
                  </a:lnTo>
                  <a:lnTo>
                    <a:pt x="23342" y="79222"/>
                  </a:lnTo>
                  <a:lnTo>
                    <a:pt x="0" y="113118"/>
                  </a:lnTo>
                  <a:lnTo>
                    <a:pt x="14183" y="96472"/>
                  </a:lnTo>
                  <a:lnTo>
                    <a:pt x="21818" y="86893"/>
                  </a:lnTo>
                  <a:lnTo>
                    <a:pt x="25628" y="83388"/>
                  </a:lnTo>
                  <a:lnTo>
                    <a:pt x="28714" y="78841"/>
                  </a:lnTo>
                  <a:lnTo>
                    <a:pt x="29083" y="77393"/>
                  </a:lnTo>
                  <a:lnTo>
                    <a:pt x="27622" y="75755"/>
                  </a:lnTo>
                  <a:lnTo>
                    <a:pt x="26263" y="75044"/>
                  </a:lnTo>
                  <a:lnTo>
                    <a:pt x="27584" y="71323"/>
                  </a:lnTo>
                  <a:lnTo>
                    <a:pt x="30873" y="67284"/>
                  </a:lnTo>
                  <a:lnTo>
                    <a:pt x="39941" y="58534"/>
                  </a:lnTo>
                  <a:lnTo>
                    <a:pt x="42760" y="55079"/>
                  </a:lnTo>
                  <a:lnTo>
                    <a:pt x="46151" y="49415"/>
                  </a:lnTo>
                  <a:lnTo>
                    <a:pt x="46621" y="47282"/>
                  </a:lnTo>
                  <a:lnTo>
                    <a:pt x="45910" y="45453"/>
                  </a:lnTo>
                  <a:lnTo>
                    <a:pt x="45961" y="45072"/>
                  </a:lnTo>
                  <a:lnTo>
                    <a:pt x="45732" y="44564"/>
                  </a:lnTo>
                  <a:lnTo>
                    <a:pt x="48387" y="41744"/>
                  </a:lnTo>
                  <a:lnTo>
                    <a:pt x="50914" y="38417"/>
                  </a:lnTo>
                  <a:lnTo>
                    <a:pt x="79830" y="11140"/>
                  </a:lnTo>
                  <a:lnTo>
                    <a:pt x="83883" y="4635"/>
                  </a:lnTo>
                  <a:lnTo>
                    <a:pt x="84480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4" name="object 1236">
              <a:extLst>
                <a:ext uri="{FF2B5EF4-FFF2-40B4-BE49-F238E27FC236}">
                  <a16:creationId xmlns:a16="http://schemas.microsoft.com/office/drawing/2014/main" id="{0D633436-FE7A-4298-AC1B-7C74DF7D02AB}"/>
                </a:ext>
              </a:extLst>
            </p:cNvPr>
            <p:cNvSpPr/>
            <p:nvPr/>
          </p:nvSpPr>
          <p:spPr>
            <a:xfrm>
              <a:off x="8012383" y="6251572"/>
              <a:ext cx="83820" cy="112395"/>
            </a:xfrm>
            <a:custGeom>
              <a:avLst/>
              <a:gdLst/>
              <a:ahLst/>
              <a:cxnLst/>
              <a:rect l="l" t="t" r="r" b="b"/>
              <a:pathLst>
                <a:path w="83820" h="112395">
                  <a:moveTo>
                    <a:pt x="83553" y="0"/>
                  </a:moveTo>
                  <a:lnTo>
                    <a:pt x="82080" y="1308"/>
                  </a:lnTo>
                  <a:lnTo>
                    <a:pt x="29489" y="50698"/>
                  </a:lnTo>
                  <a:lnTo>
                    <a:pt x="29057" y="51282"/>
                  </a:lnTo>
                  <a:lnTo>
                    <a:pt x="32410" y="51536"/>
                  </a:lnTo>
                  <a:lnTo>
                    <a:pt x="35966" y="52425"/>
                  </a:lnTo>
                  <a:lnTo>
                    <a:pt x="25692" y="64376"/>
                  </a:lnTo>
                  <a:lnTo>
                    <a:pt x="16090" y="77393"/>
                  </a:lnTo>
                  <a:lnTo>
                    <a:pt x="14630" y="78854"/>
                  </a:lnTo>
                  <a:lnTo>
                    <a:pt x="15900" y="78562"/>
                  </a:lnTo>
                  <a:lnTo>
                    <a:pt x="21170" y="78854"/>
                  </a:lnTo>
                  <a:lnTo>
                    <a:pt x="22999" y="78663"/>
                  </a:lnTo>
                  <a:lnTo>
                    <a:pt x="0" y="112013"/>
                  </a:lnTo>
                  <a:lnTo>
                    <a:pt x="13751" y="95817"/>
                  </a:lnTo>
                  <a:lnTo>
                    <a:pt x="21386" y="86245"/>
                  </a:lnTo>
                  <a:lnTo>
                    <a:pt x="25095" y="82816"/>
                  </a:lnTo>
                  <a:lnTo>
                    <a:pt x="28143" y="78320"/>
                  </a:lnTo>
                  <a:lnTo>
                    <a:pt x="28498" y="76898"/>
                  </a:lnTo>
                  <a:lnTo>
                    <a:pt x="27025" y="75272"/>
                  </a:lnTo>
                  <a:lnTo>
                    <a:pt x="25641" y="74574"/>
                  </a:lnTo>
                  <a:lnTo>
                    <a:pt x="26758" y="70980"/>
                  </a:lnTo>
                  <a:lnTo>
                    <a:pt x="30276" y="66662"/>
                  </a:lnTo>
                  <a:lnTo>
                    <a:pt x="39357" y="57810"/>
                  </a:lnTo>
                  <a:lnTo>
                    <a:pt x="42100" y="54444"/>
                  </a:lnTo>
                  <a:lnTo>
                    <a:pt x="45338" y="48971"/>
                  </a:lnTo>
                  <a:lnTo>
                    <a:pt x="45745" y="46926"/>
                  </a:lnTo>
                  <a:lnTo>
                    <a:pt x="44983" y="45161"/>
                  </a:lnTo>
                  <a:lnTo>
                    <a:pt x="45008" y="44792"/>
                  </a:lnTo>
                  <a:lnTo>
                    <a:pt x="44703" y="44284"/>
                  </a:lnTo>
                  <a:lnTo>
                    <a:pt x="47764" y="41109"/>
                  </a:lnTo>
                  <a:lnTo>
                    <a:pt x="50368" y="37769"/>
                  </a:lnTo>
                  <a:lnTo>
                    <a:pt x="78721" y="11014"/>
                  </a:lnTo>
                  <a:lnTo>
                    <a:pt x="82854" y="4559"/>
                  </a:lnTo>
                  <a:lnTo>
                    <a:pt x="83553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5" name="object 1237">
              <a:extLst>
                <a:ext uri="{FF2B5EF4-FFF2-40B4-BE49-F238E27FC236}">
                  <a16:creationId xmlns:a16="http://schemas.microsoft.com/office/drawing/2014/main" id="{5CE07A2F-870B-4E20-B5E2-E2FB829BFECE}"/>
                </a:ext>
              </a:extLst>
            </p:cNvPr>
            <p:cNvSpPr/>
            <p:nvPr/>
          </p:nvSpPr>
          <p:spPr>
            <a:xfrm>
              <a:off x="8012785" y="6252102"/>
              <a:ext cx="83185" cy="111125"/>
            </a:xfrm>
            <a:custGeom>
              <a:avLst/>
              <a:gdLst/>
              <a:ahLst/>
              <a:cxnLst/>
              <a:rect l="l" t="t" r="r" b="b"/>
              <a:pathLst>
                <a:path w="83184" h="111125">
                  <a:moveTo>
                    <a:pt x="82600" y="0"/>
                  </a:moveTo>
                  <a:lnTo>
                    <a:pt x="81140" y="1320"/>
                  </a:lnTo>
                  <a:lnTo>
                    <a:pt x="29133" y="50164"/>
                  </a:lnTo>
                  <a:lnTo>
                    <a:pt x="28689" y="50749"/>
                  </a:lnTo>
                  <a:lnTo>
                    <a:pt x="32054" y="50990"/>
                  </a:lnTo>
                  <a:lnTo>
                    <a:pt x="35610" y="51879"/>
                  </a:lnTo>
                  <a:lnTo>
                    <a:pt x="25323" y="63855"/>
                  </a:lnTo>
                  <a:lnTo>
                    <a:pt x="15735" y="76834"/>
                  </a:lnTo>
                  <a:lnTo>
                    <a:pt x="14274" y="78295"/>
                  </a:lnTo>
                  <a:lnTo>
                    <a:pt x="15570" y="78003"/>
                  </a:lnTo>
                  <a:lnTo>
                    <a:pt x="20828" y="78295"/>
                  </a:lnTo>
                  <a:lnTo>
                    <a:pt x="22656" y="78130"/>
                  </a:lnTo>
                  <a:lnTo>
                    <a:pt x="0" y="110947"/>
                  </a:lnTo>
                  <a:lnTo>
                    <a:pt x="13308" y="95175"/>
                  </a:lnTo>
                  <a:lnTo>
                    <a:pt x="20929" y="85636"/>
                  </a:lnTo>
                  <a:lnTo>
                    <a:pt x="24561" y="82257"/>
                  </a:lnTo>
                  <a:lnTo>
                    <a:pt x="27559" y="77838"/>
                  </a:lnTo>
                  <a:lnTo>
                    <a:pt x="27889" y="76428"/>
                  </a:lnTo>
                  <a:lnTo>
                    <a:pt x="26428" y="74815"/>
                  </a:lnTo>
                  <a:lnTo>
                    <a:pt x="25006" y="74117"/>
                  </a:lnTo>
                  <a:lnTo>
                    <a:pt x="25666" y="72097"/>
                  </a:lnTo>
                  <a:lnTo>
                    <a:pt x="25933" y="70662"/>
                  </a:lnTo>
                  <a:lnTo>
                    <a:pt x="29679" y="66065"/>
                  </a:lnTo>
                  <a:lnTo>
                    <a:pt x="38785" y="57111"/>
                  </a:lnTo>
                  <a:lnTo>
                    <a:pt x="41427" y="53835"/>
                  </a:lnTo>
                  <a:lnTo>
                    <a:pt x="44513" y="48539"/>
                  </a:lnTo>
                  <a:lnTo>
                    <a:pt x="44843" y="46596"/>
                  </a:lnTo>
                  <a:lnTo>
                    <a:pt x="44030" y="44894"/>
                  </a:lnTo>
                  <a:lnTo>
                    <a:pt x="44043" y="44538"/>
                  </a:lnTo>
                  <a:lnTo>
                    <a:pt x="43662" y="44005"/>
                  </a:lnTo>
                  <a:lnTo>
                    <a:pt x="47129" y="40487"/>
                  </a:lnTo>
                  <a:lnTo>
                    <a:pt x="49796" y="37147"/>
                  </a:lnTo>
                  <a:lnTo>
                    <a:pt x="77610" y="10903"/>
                  </a:lnTo>
                  <a:lnTo>
                    <a:pt x="81826" y="4495"/>
                  </a:lnTo>
                  <a:lnTo>
                    <a:pt x="82600" y="0"/>
                  </a:lnTo>
                  <a:close/>
                </a:path>
              </a:pathLst>
            </a:custGeom>
            <a:solidFill>
              <a:srgbClr val="E6BF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6" name="object 1238">
              <a:extLst>
                <a:ext uri="{FF2B5EF4-FFF2-40B4-BE49-F238E27FC236}">
                  <a16:creationId xmlns:a16="http://schemas.microsoft.com/office/drawing/2014/main" id="{0641D3C2-26EE-46C7-9E66-C941E8C34DA8}"/>
                </a:ext>
              </a:extLst>
            </p:cNvPr>
            <p:cNvSpPr/>
            <p:nvPr/>
          </p:nvSpPr>
          <p:spPr>
            <a:xfrm>
              <a:off x="8013172" y="6252643"/>
              <a:ext cx="81915" cy="109855"/>
            </a:xfrm>
            <a:custGeom>
              <a:avLst/>
              <a:gdLst/>
              <a:ahLst/>
              <a:cxnLst/>
              <a:rect l="l" t="t" r="r" b="b"/>
              <a:pathLst>
                <a:path w="81915" h="109854">
                  <a:moveTo>
                    <a:pt x="81673" y="0"/>
                  </a:moveTo>
                  <a:lnTo>
                    <a:pt x="80213" y="1320"/>
                  </a:lnTo>
                  <a:lnTo>
                    <a:pt x="28778" y="49606"/>
                  </a:lnTo>
                  <a:lnTo>
                    <a:pt x="28346" y="50190"/>
                  </a:lnTo>
                  <a:lnTo>
                    <a:pt x="31711" y="50431"/>
                  </a:lnTo>
                  <a:lnTo>
                    <a:pt x="35267" y="51320"/>
                  </a:lnTo>
                  <a:lnTo>
                    <a:pt x="24968" y="63309"/>
                  </a:lnTo>
                  <a:lnTo>
                    <a:pt x="15405" y="76263"/>
                  </a:lnTo>
                  <a:lnTo>
                    <a:pt x="13931" y="77723"/>
                  </a:lnTo>
                  <a:lnTo>
                    <a:pt x="15252" y="77431"/>
                  </a:lnTo>
                  <a:lnTo>
                    <a:pt x="20523" y="77723"/>
                  </a:lnTo>
                  <a:lnTo>
                    <a:pt x="22326" y="77571"/>
                  </a:lnTo>
                  <a:lnTo>
                    <a:pt x="0" y="109842"/>
                  </a:lnTo>
                  <a:lnTo>
                    <a:pt x="12883" y="94540"/>
                  </a:lnTo>
                  <a:lnTo>
                    <a:pt x="20485" y="85001"/>
                  </a:lnTo>
                  <a:lnTo>
                    <a:pt x="24041" y="81699"/>
                  </a:lnTo>
                  <a:lnTo>
                    <a:pt x="26987" y="77330"/>
                  </a:lnTo>
                  <a:lnTo>
                    <a:pt x="27305" y="75933"/>
                  </a:lnTo>
                  <a:lnTo>
                    <a:pt x="25831" y="74345"/>
                  </a:lnTo>
                  <a:lnTo>
                    <a:pt x="24384" y="73647"/>
                  </a:lnTo>
                  <a:lnTo>
                    <a:pt x="24942" y="71704"/>
                  </a:lnTo>
                  <a:lnTo>
                    <a:pt x="25120" y="70332"/>
                  </a:lnTo>
                  <a:lnTo>
                    <a:pt x="29095" y="65455"/>
                  </a:lnTo>
                  <a:lnTo>
                    <a:pt x="38214" y="56400"/>
                  </a:lnTo>
                  <a:lnTo>
                    <a:pt x="40779" y="53200"/>
                  </a:lnTo>
                  <a:lnTo>
                    <a:pt x="43700" y="48094"/>
                  </a:lnTo>
                  <a:lnTo>
                    <a:pt x="43980" y="46240"/>
                  </a:lnTo>
                  <a:lnTo>
                    <a:pt x="43103" y="44602"/>
                  </a:lnTo>
                  <a:lnTo>
                    <a:pt x="43091" y="44259"/>
                  </a:lnTo>
                  <a:lnTo>
                    <a:pt x="42646" y="43726"/>
                  </a:lnTo>
                  <a:lnTo>
                    <a:pt x="46507" y="39852"/>
                  </a:lnTo>
                  <a:lnTo>
                    <a:pt x="49250" y="36499"/>
                  </a:lnTo>
                  <a:lnTo>
                    <a:pt x="79235" y="7391"/>
                  </a:lnTo>
                  <a:lnTo>
                    <a:pt x="80797" y="4419"/>
                  </a:lnTo>
                  <a:lnTo>
                    <a:pt x="81673" y="0"/>
                  </a:lnTo>
                  <a:close/>
                </a:path>
              </a:pathLst>
            </a:custGeom>
            <a:solidFill>
              <a:srgbClr val="E7C0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7" name="object 1239">
              <a:extLst>
                <a:ext uri="{FF2B5EF4-FFF2-40B4-BE49-F238E27FC236}">
                  <a16:creationId xmlns:a16="http://schemas.microsoft.com/office/drawing/2014/main" id="{74A9C30C-402F-4933-AF28-5AC15EC13888}"/>
                </a:ext>
              </a:extLst>
            </p:cNvPr>
            <p:cNvSpPr/>
            <p:nvPr/>
          </p:nvSpPr>
          <p:spPr>
            <a:xfrm>
              <a:off x="8013557" y="6253184"/>
              <a:ext cx="81280" cy="109220"/>
            </a:xfrm>
            <a:custGeom>
              <a:avLst/>
              <a:gdLst/>
              <a:ahLst/>
              <a:cxnLst/>
              <a:rect l="l" t="t" r="r" b="b"/>
              <a:pathLst>
                <a:path w="81279" h="109220">
                  <a:moveTo>
                    <a:pt x="80746" y="0"/>
                  </a:moveTo>
                  <a:lnTo>
                    <a:pt x="79286" y="1320"/>
                  </a:lnTo>
                  <a:lnTo>
                    <a:pt x="28435" y="49060"/>
                  </a:lnTo>
                  <a:lnTo>
                    <a:pt x="27990" y="49644"/>
                  </a:lnTo>
                  <a:lnTo>
                    <a:pt x="31381" y="49872"/>
                  </a:lnTo>
                  <a:lnTo>
                    <a:pt x="34925" y="50761"/>
                  </a:lnTo>
                  <a:lnTo>
                    <a:pt x="24625" y="62776"/>
                  </a:lnTo>
                  <a:lnTo>
                    <a:pt x="15074" y="75691"/>
                  </a:lnTo>
                  <a:lnTo>
                    <a:pt x="13601" y="77165"/>
                  </a:lnTo>
                  <a:lnTo>
                    <a:pt x="14922" y="76873"/>
                  </a:lnTo>
                  <a:lnTo>
                    <a:pt x="20205" y="77165"/>
                  </a:lnTo>
                  <a:lnTo>
                    <a:pt x="21996" y="77025"/>
                  </a:lnTo>
                  <a:lnTo>
                    <a:pt x="0" y="108750"/>
                  </a:lnTo>
                  <a:lnTo>
                    <a:pt x="12465" y="93891"/>
                  </a:lnTo>
                  <a:lnTo>
                    <a:pt x="20053" y="84366"/>
                  </a:lnTo>
                  <a:lnTo>
                    <a:pt x="23520" y="81140"/>
                  </a:lnTo>
                  <a:lnTo>
                    <a:pt x="26403" y="76822"/>
                  </a:lnTo>
                  <a:lnTo>
                    <a:pt x="26720" y="75450"/>
                  </a:lnTo>
                  <a:lnTo>
                    <a:pt x="25247" y="73875"/>
                  </a:lnTo>
                  <a:lnTo>
                    <a:pt x="23774" y="73190"/>
                  </a:lnTo>
                  <a:lnTo>
                    <a:pt x="24231" y="71323"/>
                  </a:lnTo>
                  <a:lnTo>
                    <a:pt x="24307" y="69989"/>
                  </a:lnTo>
                  <a:lnTo>
                    <a:pt x="28511" y="64846"/>
                  </a:lnTo>
                  <a:lnTo>
                    <a:pt x="37642" y="55689"/>
                  </a:lnTo>
                  <a:lnTo>
                    <a:pt x="40132" y="52577"/>
                  </a:lnTo>
                  <a:lnTo>
                    <a:pt x="42900" y="47663"/>
                  </a:lnTo>
                  <a:lnTo>
                    <a:pt x="43103" y="45897"/>
                  </a:lnTo>
                  <a:lnTo>
                    <a:pt x="42138" y="43992"/>
                  </a:lnTo>
                  <a:lnTo>
                    <a:pt x="41630" y="43446"/>
                  </a:lnTo>
                  <a:lnTo>
                    <a:pt x="45897" y="39217"/>
                  </a:lnTo>
                  <a:lnTo>
                    <a:pt x="48691" y="35864"/>
                  </a:lnTo>
                  <a:lnTo>
                    <a:pt x="54089" y="31216"/>
                  </a:lnTo>
                  <a:lnTo>
                    <a:pt x="71116" y="15073"/>
                  </a:lnTo>
                  <a:lnTo>
                    <a:pt x="75422" y="10665"/>
                  </a:lnTo>
                  <a:lnTo>
                    <a:pt x="78168" y="7289"/>
                  </a:lnTo>
                  <a:lnTo>
                    <a:pt x="79781" y="4356"/>
                  </a:lnTo>
                  <a:lnTo>
                    <a:pt x="80746" y="0"/>
                  </a:lnTo>
                  <a:close/>
                </a:path>
              </a:pathLst>
            </a:custGeom>
            <a:solidFill>
              <a:srgbClr val="E9C2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8" name="object 1240">
              <a:extLst>
                <a:ext uri="{FF2B5EF4-FFF2-40B4-BE49-F238E27FC236}">
                  <a16:creationId xmlns:a16="http://schemas.microsoft.com/office/drawing/2014/main" id="{FC62C066-6DBB-48AF-BA23-ED1B85660A76}"/>
                </a:ext>
              </a:extLst>
            </p:cNvPr>
            <p:cNvSpPr/>
            <p:nvPr/>
          </p:nvSpPr>
          <p:spPr>
            <a:xfrm>
              <a:off x="8013955" y="6253725"/>
              <a:ext cx="80010" cy="107950"/>
            </a:xfrm>
            <a:custGeom>
              <a:avLst/>
              <a:gdLst/>
              <a:ahLst/>
              <a:cxnLst/>
              <a:rect l="l" t="t" r="r" b="b"/>
              <a:pathLst>
                <a:path w="80009" h="107950">
                  <a:moveTo>
                    <a:pt x="25738" y="76466"/>
                  </a:moveTo>
                  <a:lnTo>
                    <a:pt x="21653" y="76466"/>
                  </a:lnTo>
                  <a:lnTo>
                    <a:pt x="21221" y="77203"/>
                  </a:lnTo>
                  <a:lnTo>
                    <a:pt x="17862" y="82061"/>
                  </a:lnTo>
                  <a:lnTo>
                    <a:pt x="0" y="107657"/>
                  </a:lnTo>
                  <a:lnTo>
                    <a:pt x="9512" y="96405"/>
                  </a:lnTo>
                  <a:lnTo>
                    <a:pt x="19608" y="83731"/>
                  </a:lnTo>
                  <a:lnTo>
                    <a:pt x="22999" y="80568"/>
                  </a:lnTo>
                  <a:lnTo>
                    <a:pt x="25738" y="76466"/>
                  </a:lnTo>
                  <a:close/>
                </a:path>
                <a:path w="80009" h="107950">
                  <a:moveTo>
                    <a:pt x="79819" y="0"/>
                  </a:moveTo>
                  <a:lnTo>
                    <a:pt x="78346" y="1320"/>
                  </a:lnTo>
                  <a:lnTo>
                    <a:pt x="63801" y="15192"/>
                  </a:lnTo>
                  <a:lnTo>
                    <a:pt x="59761" y="18983"/>
                  </a:lnTo>
                  <a:lnTo>
                    <a:pt x="38605" y="38595"/>
                  </a:lnTo>
                  <a:lnTo>
                    <a:pt x="31348" y="45368"/>
                  </a:lnTo>
                  <a:lnTo>
                    <a:pt x="28079" y="48501"/>
                  </a:lnTo>
                  <a:lnTo>
                    <a:pt x="27635" y="49085"/>
                  </a:lnTo>
                  <a:lnTo>
                    <a:pt x="31026" y="49314"/>
                  </a:lnTo>
                  <a:lnTo>
                    <a:pt x="34569" y="50203"/>
                  </a:lnTo>
                  <a:lnTo>
                    <a:pt x="30124" y="55498"/>
                  </a:lnTo>
                  <a:lnTo>
                    <a:pt x="24269" y="62229"/>
                  </a:lnTo>
                  <a:lnTo>
                    <a:pt x="14719" y="75133"/>
                  </a:lnTo>
                  <a:lnTo>
                    <a:pt x="13258" y="76580"/>
                  </a:lnTo>
                  <a:lnTo>
                    <a:pt x="14604" y="76301"/>
                  </a:lnTo>
                  <a:lnTo>
                    <a:pt x="25837" y="76301"/>
                  </a:lnTo>
                  <a:lnTo>
                    <a:pt x="26136" y="74968"/>
                  </a:lnTo>
                  <a:lnTo>
                    <a:pt x="24650" y="73405"/>
                  </a:lnTo>
                  <a:lnTo>
                    <a:pt x="23152" y="72720"/>
                  </a:lnTo>
                  <a:lnTo>
                    <a:pt x="23494" y="70942"/>
                  </a:lnTo>
                  <a:lnTo>
                    <a:pt x="23482" y="69659"/>
                  </a:lnTo>
                  <a:lnTo>
                    <a:pt x="27914" y="64223"/>
                  </a:lnTo>
                  <a:lnTo>
                    <a:pt x="33146" y="58826"/>
                  </a:lnTo>
                  <a:lnTo>
                    <a:pt x="37058" y="54978"/>
                  </a:lnTo>
                  <a:lnTo>
                    <a:pt x="39458" y="51955"/>
                  </a:lnTo>
                  <a:lnTo>
                    <a:pt x="42087" y="47218"/>
                  </a:lnTo>
                  <a:lnTo>
                    <a:pt x="42090" y="45368"/>
                  </a:lnTo>
                  <a:lnTo>
                    <a:pt x="41554" y="44564"/>
                  </a:lnTo>
                  <a:lnTo>
                    <a:pt x="41363" y="44322"/>
                  </a:lnTo>
                  <a:lnTo>
                    <a:pt x="41249" y="44043"/>
                  </a:lnTo>
                  <a:lnTo>
                    <a:pt x="41186" y="43726"/>
                  </a:lnTo>
                  <a:lnTo>
                    <a:pt x="40589" y="43167"/>
                  </a:lnTo>
                  <a:lnTo>
                    <a:pt x="42646" y="41071"/>
                  </a:lnTo>
                  <a:lnTo>
                    <a:pt x="45262" y="38595"/>
                  </a:lnTo>
                  <a:lnTo>
                    <a:pt x="48132" y="35217"/>
                  </a:lnTo>
                  <a:lnTo>
                    <a:pt x="53479" y="30619"/>
                  </a:lnTo>
                  <a:lnTo>
                    <a:pt x="78752" y="4279"/>
                  </a:lnTo>
                  <a:lnTo>
                    <a:pt x="79819" y="0"/>
                  </a:lnTo>
                  <a:close/>
                </a:path>
                <a:path w="80009" h="107950">
                  <a:moveTo>
                    <a:pt x="25837" y="76301"/>
                  </a:moveTo>
                  <a:lnTo>
                    <a:pt x="14604" y="76301"/>
                  </a:lnTo>
                  <a:lnTo>
                    <a:pt x="19875" y="76580"/>
                  </a:lnTo>
                  <a:lnTo>
                    <a:pt x="21653" y="76466"/>
                  </a:lnTo>
                  <a:lnTo>
                    <a:pt x="25738" y="76466"/>
                  </a:lnTo>
                  <a:lnTo>
                    <a:pt x="25837" y="76301"/>
                  </a:lnTo>
                  <a:close/>
                </a:path>
              </a:pathLst>
            </a:custGeom>
            <a:solidFill>
              <a:srgbClr val="EBC4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49" name="object 1241">
              <a:extLst>
                <a:ext uri="{FF2B5EF4-FFF2-40B4-BE49-F238E27FC236}">
                  <a16:creationId xmlns:a16="http://schemas.microsoft.com/office/drawing/2014/main" id="{AB6F17FF-C47B-4F11-BED4-9F743211F271}"/>
                </a:ext>
              </a:extLst>
            </p:cNvPr>
            <p:cNvSpPr/>
            <p:nvPr/>
          </p:nvSpPr>
          <p:spPr>
            <a:xfrm>
              <a:off x="8014358" y="6254267"/>
              <a:ext cx="79375" cy="106680"/>
            </a:xfrm>
            <a:custGeom>
              <a:avLst/>
              <a:gdLst/>
              <a:ahLst/>
              <a:cxnLst/>
              <a:rect l="l" t="t" r="r" b="b"/>
              <a:pathLst>
                <a:path w="79375" h="106679">
                  <a:moveTo>
                    <a:pt x="25188" y="75907"/>
                  </a:moveTo>
                  <a:lnTo>
                    <a:pt x="21310" y="75907"/>
                  </a:lnTo>
                  <a:lnTo>
                    <a:pt x="20878" y="76644"/>
                  </a:lnTo>
                  <a:lnTo>
                    <a:pt x="17571" y="81423"/>
                  </a:lnTo>
                  <a:lnTo>
                    <a:pt x="0" y="106565"/>
                  </a:lnTo>
                  <a:lnTo>
                    <a:pt x="9067" y="95770"/>
                  </a:lnTo>
                  <a:lnTo>
                    <a:pt x="19164" y="83108"/>
                  </a:lnTo>
                  <a:lnTo>
                    <a:pt x="22466" y="80010"/>
                  </a:lnTo>
                  <a:lnTo>
                    <a:pt x="25188" y="75907"/>
                  </a:lnTo>
                  <a:close/>
                </a:path>
                <a:path w="79375" h="106679">
                  <a:moveTo>
                    <a:pt x="78867" y="0"/>
                  </a:moveTo>
                  <a:lnTo>
                    <a:pt x="77406" y="1320"/>
                  </a:lnTo>
                  <a:lnTo>
                    <a:pt x="63326" y="14758"/>
                  </a:lnTo>
                  <a:lnTo>
                    <a:pt x="59341" y="18496"/>
                  </a:lnTo>
                  <a:lnTo>
                    <a:pt x="38327" y="37980"/>
                  </a:lnTo>
                  <a:lnTo>
                    <a:pt x="30979" y="44831"/>
                  </a:lnTo>
                  <a:lnTo>
                    <a:pt x="27711" y="47955"/>
                  </a:lnTo>
                  <a:lnTo>
                    <a:pt x="27279" y="48539"/>
                  </a:lnTo>
                  <a:lnTo>
                    <a:pt x="30670" y="48755"/>
                  </a:lnTo>
                  <a:lnTo>
                    <a:pt x="34213" y="49644"/>
                  </a:lnTo>
                  <a:lnTo>
                    <a:pt x="29768" y="54952"/>
                  </a:lnTo>
                  <a:lnTo>
                    <a:pt x="23914" y="61683"/>
                  </a:lnTo>
                  <a:lnTo>
                    <a:pt x="14363" y="74549"/>
                  </a:lnTo>
                  <a:lnTo>
                    <a:pt x="12903" y="76022"/>
                  </a:lnTo>
                  <a:lnTo>
                    <a:pt x="14262" y="75730"/>
                  </a:lnTo>
                  <a:lnTo>
                    <a:pt x="25266" y="75730"/>
                  </a:lnTo>
                  <a:lnTo>
                    <a:pt x="25527" y="74472"/>
                  </a:lnTo>
                  <a:lnTo>
                    <a:pt x="24041" y="72936"/>
                  </a:lnTo>
                  <a:lnTo>
                    <a:pt x="22517" y="72250"/>
                  </a:lnTo>
                  <a:lnTo>
                    <a:pt x="22758" y="70561"/>
                  </a:lnTo>
                  <a:lnTo>
                    <a:pt x="22656" y="69316"/>
                  </a:lnTo>
                  <a:lnTo>
                    <a:pt x="27305" y="63614"/>
                  </a:lnTo>
                  <a:lnTo>
                    <a:pt x="32626" y="58077"/>
                  </a:lnTo>
                  <a:lnTo>
                    <a:pt x="36487" y="54267"/>
                  </a:lnTo>
                  <a:lnTo>
                    <a:pt x="38798" y="51333"/>
                  </a:lnTo>
                  <a:lnTo>
                    <a:pt x="41262" y="46774"/>
                  </a:lnTo>
                  <a:lnTo>
                    <a:pt x="41325" y="45212"/>
                  </a:lnTo>
                  <a:lnTo>
                    <a:pt x="40640" y="44259"/>
                  </a:lnTo>
                  <a:lnTo>
                    <a:pt x="40436" y="44030"/>
                  </a:lnTo>
                  <a:lnTo>
                    <a:pt x="40297" y="43764"/>
                  </a:lnTo>
                  <a:lnTo>
                    <a:pt x="40220" y="43446"/>
                  </a:lnTo>
                  <a:lnTo>
                    <a:pt x="39560" y="42875"/>
                  </a:lnTo>
                  <a:lnTo>
                    <a:pt x="41795" y="40627"/>
                  </a:lnTo>
                  <a:lnTo>
                    <a:pt x="44627" y="37960"/>
                  </a:lnTo>
                  <a:lnTo>
                    <a:pt x="47561" y="34569"/>
                  </a:lnTo>
                  <a:lnTo>
                    <a:pt x="52857" y="30022"/>
                  </a:lnTo>
                  <a:lnTo>
                    <a:pt x="66001" y="17576"/>
                  </a:lnTo>
                  <a:lnTo>
                    <a:pt x="73342" y="10858"/>
                  </a:lnTo>
                  <a:lnTo>
                    <a:pt x="76009" y="7086"/>
                  </a:lnTo>
                  <a:lnTo>
                    <a:pt x="77724" y="4216"/>
                  </a:lnTo>
                  <a:lnTo>
                    <a:pt x="78867" y="0"/>
                  </a:lnTo>
                  <a:close/>
                </a:path>
                <a:path w="79375" h="106679">
                  <a:moveTo>
                    <a:pt x="25266" y="75730"/>
                  </a:moveTo>
                  <a:lnTo>
                    <a:pt x="14262" y="75730"/>
                  </a:lnTo>
                  <a:lnTo>
                    <a:pt x="19532" y="76022"/>
                  </a:lnTo>
                  <a:lnTo>
                    <a:pt x="21310" y="75907"/>
                  </a:lnTo>
                  <a:lnTo>
                    <a:pt x="25188" y="75907"/>
                  </a:lnTo>
                  <a:lnTo>
                    <a:pt x="25266" y="75730"/>
                  </a:lnTo>
                  <a:close/>
                </a:path>
              </a:pathLst>
            </a:custGeom>
            <a:solidFill>
              <a:srgbClr val="ECC5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0" name="object 1242">
              <a:extLst>
                <a:ext uri="{FF2B5EF4-FFF2-40B4-BE49-F238E27FC236}">
                  <a16:creationId xmlns:a16="http://schemas.microsoft.com/office/drawing/2014/main" id="{466F0583-E481-48ED-83A1-91CE91878CBA}"/>
                </a:ext>
              </a:extLst>
            </p:cNvPr>
            <p:cNvSpPr/>
            <p:nvPr/>
          </p:nvSpPr>
          <p:spPr>
            <a:xfrm>
              <a:off x="8014744" y="6254805"/>
              <a:ext cx="78105" cy="106045"/>
            </a:xfrm>
            <a:custGeom>
              <a:avLst/>
              <a:gdLst/>
              <a:ahLst/>
              <a:cxnLst/>
              <a:rect l="l" t="t" r="r" b="b"/>
              <a:pathLst>
                <a:path w="78104" h="106045">
                  <a:moveTo>
                    <a:pt x="24642" y="75361"/>
                  </a:moveTo>
                  <a:lnTo>
                    <a:pt x="20980" y="75361"/>
                  </a:lnTo>
                  <a:lnTo>
                    <a:pt x="20535" y="76085"/>
                  </a:lnTo>
                  <a:lnTo>
                    <a:pt x="17289" y="80788"/>
                  </a:lnTo>
                  <a:lnTo>
                    <a:pt x="0" y="105473"/>
                  </a:lnTo>
                  <a:lnTo>
                    <a:pt x="8636" y="95135"/>
                  </a:lnTo>
                  <a:lnTo>
                    <a:pt x="18732" y="82473"/>
                  </a:lnTo>
                  <a:lnTo>
                    <a:pt x="21945" y="79438"/>
                  </a:lnTo>
                  <a:lnTo>
                    <a:pt x="24642" y="75361"/>
                  </a:lnTo>
                  <a:close/>
                </a:path>
                <a:path w="78104" h="106045">
                  <a:moveTo>
                    <a:pt x="77952" y="0"/>
                  </a:moveTo>
                  <a:lnTo>
                    <a:pt x="76479" y="1320"/>
                  </a:lnTo>
                  <a:lnTo>
                    <a:pt x="62855" y="14325"/>
                  </a:lnTo>
                  <a:lnTo>
                    <a:pt x="58927" y="18008"/>
                  </a:lnTo>
                  <a:lnTo>
                    <a:pt x="37952" y="37453"/>
                  </a:lnTo>
                  <a:lnTo>
                    <a:pt x="30626" y="44283"/>
                  </a:lnTo>
                  <a:lnTo>
                    <a:pt x="27368" y="47396"/>
                  </a:lnTo>
                  <a:lnTo>
                    <a:pt x="26936" y="47993"/>
                  </a:lnTo>
                  <a:lnTo>
                    <a:pt x="30327" y="48209"/>
                  </a:lnTo>
                  <a:lnTo>
                    <a:pt x="33883" y="49085"/>
                  </a:lnTo>
                  <a:lnTo>
                    <a:pt x="29413" y="54419"/>
                  </a:lnTo>
                  <a:lnTo>
                    <a:pt x="23558" y="61150"/>
                  </a:lnTo>
                  <a:lnTo>
                    <a:pt x="14033" y="73990"/>
                  </a:lnTo>
                  <a:lnTo>
                    <a:pt x="12573" y="75450"/>
                  </a:lnTo>
                  <a:lnTo>
                    <a:pt x="13944" y="75158"/>
                  </a:lnTo>
                  <a:lnTo>
                    <a:pt x="24708" y="75158"/>
                  </a:lnTo>
                  <a:lnTo>
                    <a:pt x="24955" y="73990"/>
                  </a:lnTo>
                  <a:lnTo>
                    <a:pt x="23456" y="72466"/>
                  </a:lnTo>
                  <a:lnTo>
                    <a:pt x="21894" y="71793"/>
                  </a:lnTo>
                  <a:lnTo>
                    <a:pt x="22034" y="70192"/>
                  </a:lnTo>
                  <a:lnTo>
                    <a:pt x="21831" y="68986"/>
                  </a:lnTo>
                  <a:lnTo>
                    <a:pt x="26733" y="63004"/>
                  </a:lnTo>
                  <a:lnTo>
                    <a:pt x="32131" y="57340"/>
                  </a:lnTo>
                  <a:lnTo>
                    <a:pt x="35915" y="53555"/>
                  </a:lnTo>
                  <a:lnTo>
                    <a:pt x="38138" y="50711"/>
                  </a:lnTo>
                  <a:lnTo>
                    <a:pt x="40449" y="46329"/>
                  </a:lnTo>
                  <a:lnTo>
                    <a:pt x="40449" y="44856"/>
                  </a:lnTo>
                  <a:lnTo>
                    <a:pt x="39738" y="43954"/>
                  </a:lnTo>
                  <a:lnTo>
                    <a:pt x="39522" y="43738"/>
                  </a:lnTo>
                  <a:lnTo>
                    <a:pt x="39370" y="43472"/>
                  </a:lnTo>
                  <a:lnTo>
                    <a:pt x="39281" y="43179"/>
                  </a:lnTo>
                  <a:lnTo>
                    <a:pt x="38531" y="42608"/>
                  </a:lnTo>
                  <a:lnTo>
                    <a:pt x="40944" y="40195"/>
                  </a:lnTo>
                  <a:lnTo>
                    <a:pt x="44005" y="37337"/>
                  </a:lnTo>
                  <a:lnTo>
                    <a:pt x="47015" y="33934"/>
                  </a:lnTo>
                  <a:lnTo>
                    <a:pt x="52260" y="29425"/>
                  </a:lnTo>
                  <a:lnTo>
                    <a:pt x="65100" y="17246"/>
                  </a:lnTo>
                  <a:lnTo>
                    <a:pt x="72148" y="10820"/>
                  </a:lnTo>
                  <a:lnTo>
                    <a:pt x="74930" y="6984"/>
                  </a:lnTo>
                  <a:lnTo>
                    <a:pt x="76708" y="4152"/>
                  </a:lnTo>
                  <a:lnTo>
                    <a:pt x="77952" y="0"/>
                  </a:lnTo>
                  <a:close/>
                </a:path>
                <a:path w="78104" h="106045">
                  <a:moveTo>
                    <a:pt x="24708" y="75158"/>
                  </a:moveTo>
                  <a:lnTo>
                    <a:pt x="13944" y="75158"/>
                  </a:lnTo>
                  <a:lnTo>
                    <a:pt x="19215" y="75450"/>
                  </a:lnTo>
                  <a:lnTo>
                    <a:pt x="20980" y="75361"/>
                  </a:lnTo>
                  <a:lnTo>
                    <a:pt x="24642" y="75361"/>
                  </a:lnTo>
                  <a:lnTo>
                    <a:pt x="24708" y="75158"/>
                  </a:lnTo>
                  <a:close/>
                </a:path>
              </a:pathLst>
            </a:custGeom>
            <a:solidFill>
              <a:srgbClr val="EDC8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1" name="object 1243">
              <a:extLst>
                <a:ext uri="{FF2B5EF4-FFF2-40B4-BE49-F238E27FC236}">
                  <a16:creationId xmlns:a16="http://schemas.microsoft.com/office/drawing/2014/main" id="{C041EBB4-6A76-460A-886D-D31BF293CA08}"/>
                </a:ext>
              </a:extLst>
            </p:cNvPr>
            <p:cNvSpPr/>
            <p:nvPr/>
          </p:nvSpPr>
          <p:spPr>
            <a:xfrm>
              <a:off x="8015144" y="6255345"/>
              <a:ext cx="77470" cy="104775"/>
            </a:xfrm>
            <a:custGeom>
              <a:avLst/>
              <a:gdLst/>
              <a:ahLst/>
              <a:cxnLst/>
              <a:rect l="l" t="t" r="r" b="b"/>
              <a:pathLst>
                <a:path w="77470" h="104775">
                  <a:moveTo>
                    <a:pt x="24091" y="74815"/>
                  </a:moveTo>
                  <a:lnTo>
                    <a:pt x="20637" y="74815"/>
                  </a:lnTo>
                  <a:lnTo>
                    <a:pt x="20205" y="75539"/>
                  </a:lnTo>
                  <a:lnTo>
                    <a:pt x="17005" y="80151"/>
                  </a:lnTo>
                  <a:lnTo>
                    <a:pt x="0" y="104381"/>
                  </a:lnTo>
                  <a:lnTo>
                    <a:pt x="8191" y="94500"/>
                  </a:lnTo>
                  <a:lnTo>
                    <a:pt x="18275" y="81851"/>
                  </a:lnTo>
                  <a:lnTo>
                    <a:pt x="21412" y="78879"/>
                  </a:lnTo>
                  <a:lnTo>
                    <a:pt x="24091" y="74815"/>
                  </a:lnTo>
                  <a:close/>
                </a:path>
                <a:path w="77470" h="104775">
                  <a:moveTo>
                    <a:pt x="77012" y="0"/>
                  </a:moveTo>
                  <a:lnTo>
                    <a:pt x="75539" y="1320"/>
                  </a:lnTo>
                  <a:lnTo>
                    <a:pt x="62382" y="13893"/>
                  </a:lnTo>
                  <a:lnTo>
                    <a:pt x="58512" y="17526"/>
                  </a:lnTo>
                  <a:lnTo>
                    <a:pt x="30251" y="43745"/>
                  </a:lnTo>
                  <a:lnTo>
                    <a:pt x="27000" y="46850"/>
                  </a:lnTo>
                  <a:lnTo>
                    <a:pt x="26568" y="47434"/>
                  </a:lnTo>
                  <a:lnTo>
                    <a:pt x="29971" y="47650"/>
                  </a:lnTo>
                  <a:lnTo>
                    <a:pt x="33527" y="48539"/>
                  </a:lnTo>
                  <a:lnTo>
                    <a:pt x="29057" y="53873"/>
                  </a:lnTo>
                  <a:lnTo>
                    <a:pt x="23202" y="60604"/>
                  </a:lnTo>
                  <a:lnTo>
                    <a:pt x="13677" y="73418"/>
                  </a:lnTo>
                  <a:lnTo>
                    <a:pt x="12217" y="74879"/>
                  </a:lnTo>
                  <a:lnTo>
                    <a:pt x="13614" y="74587"/>
                  </a:lnTo>
                  <a:lnTo>
                    <a:pt x="24135" y="74587"/>
                  </a:lnTo>
                  <a:lnTo>
                    <a:pt x="24345" y="73494"/>
                  </a:lnTo>
                  <a:lnTo>
                    <a:pt x="22847" y="71996"/>
                  </a:lnTo>
                  <a:lnTo>
                    <a:pt x="21272" y="71335"/>
                  </a:lnTo>
                  <a:lnTo>
                    <a:pt x="21310" y="69811"/>
                  </a:lnTo>
                  <a:lnTo>
                    <a:pt x="21005" y="68656"/>
                  </a:lnTo>
                  <a:lnTo>
                    <a:pt x="26136" y="62395"/>
                  </a:lnTo>
                  <a:lnTo>
                    <a:pt x="31622" y="56591"/>
                  </a:lnTo>
                  <a:lnTo>
                    <a:pt x="35331" y="52844"/>
                  </a:lnTo>
                  <a:lnTo>
                    <a:pt x="37477" y="50088"/>
                  </a:lnTo>
                  <a:lnTo>
                    <a:pt x="39623" y="45897"/>
                  </a:lnTo>
                  <a:lnTo>
                    <a:pt x="39560" y="44513"/>
                  </a:lnTo>
                  <a:lnTo>
                    <a:pt x="38823" y="43649"/>
                  </a:lnTo>
                  <a:lnTo>
                    <a:pt x="38607" y="43433"/>
                  </a:lnTo>
                  <a:lnTo>
                    <a:pt x="38430" y="43192"/>
                  </a:lnTo>
                  <a:lnTo>
                    <a:pt x="38315" y="42913"/>
                  </a:lnTo>
                  <a:lnTo>
                    <a:pt x="37503" y="42329"/>
                  </a:lnTo>
                  <a:lnTo>
                    <a:pt x="40093" y="39750"/>
                  </a:lnTo>
                  <a:lnTo>
                    <a:pt x="43383" y="36702"/>
                  </a:lnTo>
                  <a:lnTo>
                    <a:pt x="46456" y="33299"/>
                  </a:lnTo>
                  <a:lnTo>
                    <a:pt x="51638" y="28828"/>
                  </a:lnTo>
                  <a:lnTo>
                    <a:pt x="64198" y="16916"/>
                  </a:lnTo>
                  <a:lnTo>
                    <a:pt x="70929" y="10769"/>
                  </a:lnTo>
                  <a:lnTo>
                    <a:pt x="73850" y="6883"/>
                  </a:lnTo>
                  <a:lnTo>
                    <a:pt x="75666" y="4076"/>
                  </a:lnTo>
                  <a:lnTo>
                    <a:pt x="77012" y="0"/>
                  </a:lnTo>
                  <a:close/>
                </a:path>
                <a:path w="77470" h="104775">
                  <a:moveTo>
                    <a:pt x="24135" y="74587"/>
                  </a:moveTo>
                  <a:lnTo>
                    <a:pt x="13614" y="74587"/>
                  </a:lnTo>
                  <a:lnTo>
                    <a:pt x="18884" y="74879"/>
                  </a:lnTo>
                  <a:lnTo>
                    <a:pt x="20637" y="74815"/>
                  </a:lnTo>
                  <a:lnTo>
                    <a:pt x="24091" y="74815"/>
                  </a:lnTo>
                  <a:lnTo>
                    <a:pt x="24135" y="74587"/>
                  </a:lnTo>
                  <a:close/>
                </a:path>
              </a:pathLst>
            </a:custGeom>
            <a:solidFill>
              <a:srgbClr val="EFCA3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2" name="object 1244">
              <a:extLst>
                <a:ext uri="{FF2B5EF4-FFF2-40B4-BE49-F238E27FC236}">
                  <a16:creationId xmlns:a16="http://schemas.microsoft.com/office/drawing/2014/main" id="{E5B6B927-019F-439D-8C5F-16CE622C573E}"/>
                </a:ext>
              </a:extLst>
            </p:cNvPr>
            <p:cNvSpPr/>
            <p:nvPr/>
          </p:nvSpPr>
          <p:spPr>
            <a:xfrm>
              <a:off x="8015542" y="6255885"/>
              <a:ext cx="76200" cy="103505"/>
            </a:xfrm>
            <a:custGeom>
              <a:avLst/>
              <a:gdLst/>
              <a:ahLst/>
              <a:cxnLst/>
              <a:rect l="l" t="t" r="r" b="b"/>
              <a:pathLst>
                <a:path w="76200" h="103504">
                  <a:moveTo>
                    <a:pt x="23531" y="74256"/>
                  </a:moveTo>
                  <a:lnTo>
                    <a:pt x="20294" y="74256"/>
                  </a:lnTo>
                  <a:lnTo>
                    <a:pt x="19862" y="74993"/>
                  </a:lnTo>
                  <a:lnTo>
                    <a:pt x="16714" y="79520"/>
                  </a:lnTo>
                  <a:lnTo>
                    <a:pt x="0" y="103289"/>
                  </a:lnTo>
                  <a:lnTo>
                    <a:pt x="7747" y="93878"/>
                  </a:lnTo>
                  <a:lnTo>
                    <a:pt x="17830" y="81216"/>
                  </a:lnTo>
                  <a:lnTo>
                    <a:pt x="20878" y="78320"/>
                  </a:lnTo>
                  <a:lnTo>
                    <a:pt x="22631" y="75628"/>
                  </a:lnTo>
                  <a:lnTo>
                    <a:pt x="23520" y="74320"/>
                  </a:lnTo>
                  <a:close/>
                </a:path>
                <a:path w="76200" h="103504">
                  <a:moveTo>
                    <a:pt x="76073" y="0"/>
                  </a:moveTo>
                  <a:lnTo>
                    <a:pt x="74599" y="1320"/>
                  </a:lnTo>
                  <a:lnTo>
                    <a:pt x="61909" y="13458"/>
                  </a:lnTo>
                  <a:lnTo>
                    <a:pt x="58097" y="17033"/>
                  </a:lnTo>
                  <a:lnTo>
                    <a:pt x="29888" y="43196"/>
                  </a:lnTo>
                  <a:lnTo>
                    <a:pt x="26644" y="46291"/>
                  </a:lnTo>
                  <a:lnTo>
                    <a:pt x="26212" y="46888"/>
                  </a:lnTo>
                  <a:lnTo>
                    <a:pt x="29616" y="47091"/>
                  </a:lnTo>
                  <a:lnTo>
                    <a:pt x="33172" y="47980"/>
                  </a:lnTo>
                  <a:lnTo>
                    <a:pt x="28702" y="53340"/>
                  </a:lnTo>
                  <a:lnTo>
                    <a:pt x="22847" y="60071"/>
                  </a:lnTo>
                  <a:lnTo>
                    <a:pt x="13335" y="72859"/>
                  </a:lnTo>
                  <a:lnTo>
                    <a:pt x="11874" y="74320"/>
                  </a:lnTo>
                  <a:lnTo>
                    <a:pt x="13284" y="74028"/>
                  </a:lnTo>
                  <a:lnTo>
                    <a:pt x="23571" y="74028"/>
                  </a:lnTo>
                  <a:lnTo>
                    <a:pt x="23749" y="73012"/>
                  </a:lnTo>
                  <a:lnTo>
                    <a:pt x="22250" y="71539"/>
                  </a:lnTo>
                  <a:lnTo>
                    <a:pt x="20637" y="70866"/>
                  </a:lnTo>
                  <a:lnTo>
                    <a:pt x="20574" y="69418"/>
                  </a:lnTo>
                  <a:lnTo>
                    <a:pt x="20180" y="68326"/>
                  </a:lnTo>
                  <a:lnTo>
                    <a:pt x="25539" y="61785"/>
                  </a:lnTo>
                  <a:lnTo>
                    <a:pt x="31102" y="55841"/>
                  </a:lnTo>
                  <a:lnTo>
                    <a:pt x="34759" y="52133"/>
                  </a:lnTo>
                  <a:lnTo>
                    <a:pt x="36817" y="49453"/>
                  </a:lnTo>
                  <a:lnTo>
                    <a:pt x="38811" y="45453"/>
                  </a:lnTo>
                  <a:lnTo>
                    <a:pt x="38684" y="44170"/>
                  </a:lnTo>
                  <a:lnTo>
                    <a:pt x="37680" y="43141"/>
                  </a:lnTo>
                  <a:lnTo>
                    <a:pt x="37490" y="42913"/>
                  </a:lnTo>
                  <a:lnTo>
                    <a:pt x="37350" y="42646"/>
                  </a:lnTo>
                  <a:lnTo>
                    <a:pt x="36461" y="42049"/>
                  </a:lnTo>
                  <a:lnTo>
                    <a:pt x="39243" y="39319"/>
                  </a:lnTo>
                  <a:lnTo>
                    <a:pt x="42748" y="36068"/>
                  </a:lnTo>
                  <a:lnTo>
                    <a:pt x="45897" y="32664"/>
                  </a:lnTo>
                  <a:lnTo>
                    <a:pt x="51015" y="28232"/>
                  </a:lnTo>
                  <a:lnTo>
                    <a:pt x="63284" y="16573"/>
                  </a:lnTo>
                  <a:lnTo>
                    <a:pt x="69710" y="10706"/>
                  </a:lnTo>
                  <a:lnTo>
                    <a:pt x="72771" y="6781"/>
                  </a:lnTo>
                  <a:lnTo>
                    <a:pt x="74637" y="4013"/>
                  </a:lnTo>
                  <a:lnTo>
                    <a:pt x="76073" y="0"/>
                  </a:lnTo>
                  <a:close/>
                </a:path>
                <a:path w="76200" h="103504">
                  <a:moveTo>
                    <a:pt x="23571" y="74028"/>
                  </a:moveTo>
                  <a:lnTo>
                    <a:pt x="13284" y="74028"/>
                  </a:lnTo>
                  <a:lnTo>
                    <a:pt x="18554" y="74320"/>
                  </a:lnTo>
                  <a:lnTo>
                    <a:pt x="20294" y="74256"/>
                  </a:lnTo>
                  <a:lnTo>
                    <a:pt x="23531" y="74256"/>
                  </a:lnTo>
                  <a:lnTo>
                    <a:pt x="23571" y="74028"/>
                  </a:lnTo>
                  <a:close/>
                </a:path>
              </a:pathLst>
            </a:custGeom>
            <a:solidFill>
              <a:srgbClr val="F0CD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3" name="object 1245">
              <a:extLst>
                <a:ext uri="{FF2B5EF4-FFF2-40B4-BE49-F238E27FC236}">
                  <a16:creationId xmlns:a16="http://schemas.microsoft.com/office/drawing/2014/main" id="{F40BCE94-BCDA-4D1E-990F-E25D4944CEB1}"/>
                </a:ext>
              </a:extLst>
            </p:cNvPr>
            <p:cNvSpPr/>
            <p:nvPr/>
          </p:nvSpPr>
          <p:spPr>
            <a:xfrm>
              <a:off x="8015927" y="6256427"/>
              <a:ext cx="75565" cy="102235"/>
            </a:xfrm>
            <a:custGeom>
              <a:avLst/>
              <a:gdLst/>
              <a:ahLst/>
              <a:cxnLst/>
              <a:rect l="l" t="t" r="r" b="b"/>
              <a:pathLst>
                <a:path w="75565" h="102234">
                  <a:moveTo>
                    <a:pt x="22966" y="73710"/>
                  </a:moveTo>
                  <a:lnTo>
                    <a:pt x="19964" y="73710"/>
                  </a:lnTo>
                  <a:lnTo>
                    <a:pt x="19532" y="74434"/>
                  </a:lnTo>
                  <a:lnTo>
                    <a:pt x="16437" y="78877"/>
                  </a:lnTo>
                  <a:lnTo>
                    <a:pt x="0" y="102196"/>
                  </a:lnTo>
                  <a:lnTo>
                    <a:pt x="7327" y="93230"/>
                  </a:lnTo>
                  <a:lnTo>
                    <a:pt x="17399" y="80581"/>
                  </a:lnTo>
                  <a:lnTo>
                    <a:pt x="20358" y="77749"/>
                  </a:lnTo>
                  <a:lnTo>
                    <a:pt x="22948" y="73812"/>
                  </a:lnTo>
                  <a:close/>
                </a:path>
                <a:path w="75565" h="102234">
                  <a:moveTo>
                    <a:pt x="75145" y="0"/>
                  </a:moveTo>
                  <a:lnTo>
                    <a:pt x="73672" y="1320"/>
                  </a:lnTo>
                  <a:lnTo>
                    <a:pt x="61439" y="13025"/>
                  </a:lnTo>
                  <a:lnTo>
                    <a:pt x="57688" y="16545"/>
                  </a:lnTo>
                  <a:lnTo>
                    <a:pt x="29535" y="42657"/>
                  </a:lnTo>
                  <a:lnTo>
                    <a:pt x="26301" y="45745"/>
                  </a:lnTo>
                  <a:lnTo>
                    <a:pt x="25857" y="46329"/>
                  </a:lnTo>
                  <a:lnTo>
                    <a:pt x="29273" y="46532"/>
                  </a:lnTo>
                  <a:lnTo>
                    <a:pt x="32829" y="47421"/>
                  </a:lnTo>
                  <a:lnTo>
                    <a:pt x="28359" y="52793"/>
                  </a:lnTo>
                  <a:lnTo>
                    <a:pt x="22491" y="59524"/>
                  </a:lnTo>
                  <a:lnTo>
                    <a:pt x="13004" y="72288"/>
                  </a:lnTo>
                  <a:lnTo>
                    <a:pt x="11544" y="73748"/>
                  </a:lnTo>
                  <a:lnTo>
                    <a:pt x="12966" y="73456"/>
                  </a:lnTo>
                  <a:lnTo>
                    <a:pt x="23008" y="73456"/>
                  </a:lnTo>
                  <a:lnTo>
                    <a:pt x="23164" y="72529"/>
                  </a:lnTo>
                  <a:lnTo>
                    <a:pt x="21666" y="71056"/>
                  </a:lnTo>
                  <a:lnTo>
                    <a:pt x="20027" y="70396"/>
                  </a:lnTo>
                  <a:lnTo>
                    <a:pt x="19862" y="69049"/>
                  </a:lnTo>
                  <a:lnTo>
                    <a:pt x="19367" y="67995"/>
                  </a:lnTo>
                  <a:lnTo>
                    <a:pt x="24955" y="61175"/>
                  </a:lnTo>
                  <a:lnTo>
                    <a:pt x="30607" y="55092"/>
                  </a:lnTo>
                  <a:lnTo>
                    <a:pt x="34188" y="51422"/>
                  </a:lnTo>
                  <a:lnTo>
                    <a:pt x="36156" y="48831"/>
                  </a:lnTo>
                  <a:lnTo>
                    <a:pt x="37998" y="45021"/>
                  </a:lnTo>
                  <a:lnTo>
                    <a:pt x="37807" y="43814"/>
                  </a:lnTo>
                  <a:lnTo>
                    <a:pt x="37007" y="43052"/>
                  </a:lnTo>
                  <a:lnTo>
                    <a:pt x="36766" y="42862"/>
                  </a:lnTo>
                  <a:lnTo>
                    <a:pt x="36563" y="42633"/>
                  </a:lnTo>
                  <a:lnTo>
                    <a:pt x="36410" y="42367"/>
                  </a:lnTo>
                  <a:lnTo>
                    <a:pt x="35445" y="41757"/>
                  </a:lnTo>
                  <a:lnTo>
                    <a:pt x="38392" y="38874"/>
                  </a:lnTo>
                  <a:lnTo>
                    <a:pt x="42125" y="35445"/>
                  </a:lnTo>
                  <a:lnTo>
                    <a:pt x="45339" y="32016"/>
                  </a:lnTo>
                  <a:lnTo>
                    <a:pt x="50419" y="27635"/>
                  </a:lnTo>
                  <a:lnTo>
                    <a:pt x="62382" y="16243"/>
                  </a:lnTo>
                  <a:lnTo>
                    <a:pt x="68503" y="10667"/>
                  </a:lnTo>
                  <a:lnTo>
                    <a:pt x="71704" y="6680"/>
                  </a:lnTo>
                  <a:lnTo>
                    <a:pt x="73621" y="3936"/>
                  </a:lnTo>
                  <a:lnTo>
                    <a:pt x="75145" y="0"/>
                  </a:lnTo>
                  <a:close/>
                </a:path>
                <a:path w="75565" h="102234">
                  <a:moveTo>
                    <a:pt x="23008" y="73456"/>
                  </a:moveTo>
                  <a:lnTo>
                    <a:pt x="12966" y="73456"/>
                  </a:lnTo>
                  <a:lnTo>
                    <a:pt x="18237" y="73748"/>
                  </a:lnTo>
                  <a:lnTo>
                    <a:pt x="19964" y="73710"/>
                  </a:lnTo>
                  <a:lnTo>
                    <a:pt x="22966" y="73710"/>
                  </a:lnTo>
                  <a:lnTo>
                    <a:pt x="23008" y="73456"/>
                  </a:lnTo>
                  <a:close/>
                </a:path>
              </a:pathLst>
            </a:custGeom>
            <a:solidFill>
              <a:srgbClr val="F1CE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4" name="object 1246">
              <a:extLst>
                <a:ext uri="{FF2B5EF4-FFF2-40B4-BE49-F238E27FC236}">
                  <a16:creationId xmlns:a16="http://schemas.microsoft.com/office/drawing/2014/main" id="{89F37A7F-A5DD-4B57-AC11-3ED7A8F963D5}"/>
                </a:ext>
              </a:extLst>
            </p:cNvPr>
            <p:cNvSpPr/>
            <p:nvPr/>
          </p:nvSpPr>
          <p:spPr>
            <a:xfrm>
              <a:off x="8016328" y="6256968"/>
              <a:ext cx="74295" cy="101600"/>
            </a:xfrm>
            <a:custGeom>
              <a:avLst/>
              <a:gdLst/>
              <a:ahLst/>
              <a:cxnLst/>
              <a:rect l="l" t="t" r="r" b="b"/>
              <a:pathLst>
                <a:path w="74295" h="101600">
                  <a:moveTo>
                    <a:pt x="22389" y="73151"/>
                  </a:moveTo>
                  <a:lnTo>
                    <a:pt x="19621" y="73151"/>
                  </a:lnTo>
                  <a:lnTo>
                    <a:pt x="19176" y="73888"/>
                  </a:lnTo>
                  <a:lnTo>
                    <a:pt x="16141" y="78241"/>
                  </a:lnTo>
                  <a:lnTo>
                    <a:pt x="0" y="101104"/>
                  </a:lnTo>
                  <a:lnTo>
                    <a:pt x="6870" y="92595"/>
                  </a:lnTo>
                  <a:lnTo>
                    <a:pt x="16941" y="79946"/>
                  </a:lnTo>
                  <a:lnTo>
                    <a:pt x="19837" y="77190"/>
                  </a:lnTo>
                  <a:lnTo>
                    <a:pt x="21539" y="74548"/>
                  </a:lnTo>
                  <a:lnTo>
                    <a:pt x="22364" y="73304"/>
                  </a:lnTo>
                  <a:lnTo>
                    <a:pt x="22389" y="73151"/>
                  </a:lnTo>
                  <a:close/>
                </a:path>
                <a:path w="74295" h="101600">
                  <a:moveTo>
                    <a:pt x="74193" y="0"/>
                  </a:moveTo>
                  <a:lnTo>
                    <a:pt x="72732" y="1320"/>
                  </a:lnTo>
                  <a:lnTo>
                    <a:pt x="60966" y="12592"/>
                  </a:lnTo>
                  <a:lnTo>
                    <a:pt x="57273" y="16058"/>
                  </a:lnTo>
                  <a:lnTo>
                    <a:pt x="29166" y="42112"/>
                  </a:lnTo>
                  <a:lnTo>
                    <a:pt x="25946" y="45199"/>
                  </a:lnTo>
                  <a:lnTo>
                    <a:pt x="25501" y="45783"/>
                  </a:lnTo>
                  <a:lnTo>
                    <a:pt x="28917" y="45973"/>
                  </a:lnTo>
                  <a:lnTo>
                    <a:pt x="32473" y="46862"/>
                  </a:lnTo>
                  <a:lnTo>
                    <a:pt x="27990" y="52247"/>
                  </a:lnTo>
                  <a:lnTo>
                    <a:pt x="22136" y="58991"/>
                  </a:lnTo>
                  <a:lnTo>
                    <a:pt x="12649" y="71716"/>
                  </a:lnTo>
                  <a:lnTo>
                    <a:pt x="11188" y="73177"/>
                  </a:lnTo>
                  <a:lnTo>
                    <a:pt x="12636" y="72885"/>
                  </a:lnTo>
                  <a:lnTo>
                    <a:pt x="22431" y="72885"/>
                  </a:lnTo>
                  <a:lnTo>
                    <a:pt x="22567" y="72034"/>
                  </a:lnTo>
                  <a:lnTo>
                    <a:pt x="21069" y="70586"/>
                  </a:lnTo>
                  <a:lnTo>
                    <a:pt x="19392" y="69938"/>
                  </a:lnTo>
                  <a:lnTo>
                    <a:pt x="19126" y="68656"/>
                  </a:lnTo>
                  <a:lnTo>
                    <a:pt x="18541" y="67665"/>
                  </a:lnTo>
                  <a:lnTo>
                    <a:pt x="24345" y="60553"/>
                  </a:lnTo>
                  <a:lnTo>
                    <a:pt x="30098" y="54343"/>
                  </a:lnTo>
                  <a:lnTo>
                    <a:pt x="33604" y="50711"/>
                  </a:lnTo>
                  <a:lnTo>
                    <a:pt x="35496" y="48209"/>
                  </a:lnTo>
                  <a:lnTo>
                    <a:pt x="37172" y="44576"/>
                  </a:lnTo>
                  <a:lnTo>
                    <a:pt x="36918" y="43472"/>
                  </a:lnTo>
                  <a:lnTo>
                    <a:pt x="36093" y="42748"/>
                  </a:lnTo>
                  <a:lnTo>
                    <a:pt x="35839" y="42557"/>
                  </a:lnTo>
                  <a:lnTo>
                    <a:pt x="35623" y="42354"/>
                  </a:lnTo>
                  <a:lnTo>
                    <a:pt x="35445" y="42087"/>
                  </a:lnTo>
                  <a:lnTo>
                    <a:pt x="34404" y="41478"/>
                  </a:lnTo>
                  <a:lnTo>
                    <a:pt x="37541" y="38430"/>
                  </a:lnTo>
                  <a:lnTo>
                    <a:pt x="41490" y="34810"/>
                  </a:lnTo>
                  <a:lnTo>
                    <a:pt x="44780" y="31368"/>
                  </a:lnTo>
                  <a:lnTo>
                    <a:pt x="49796" y="27038"/>
                  </a:lnTo>
                  <a:lnTo>
                    <a:pt x="61467" y="15913"/>
                  </a:lnTo>
                  <a:lnTo>
                    <a:pt x="67297" y="10604"/>
                  </a:lnTo>
                  <a:lnTo>
                    <a:pt x="70624" y="6578"/>
                  </a:lnTo>
                  <a:lnTo>
                    <a:pt x="72593" y="3873"/>
                  </a:lnTo>
                  <a:lnTo>
                    <a:pt x="74193" y="0"/>
                  </a:lnTo>
                  <a:close/>
                </a:path>
                <a:path w="74295" h="101600">
                  <a:moveTo>
                    <a:pt x="22431" y="72885"/>
                  </a:moveTo>
                  <a:lnTo>
                    <a:pt x="12636" y="72885"/>
                  </a:lnTo>
                  <a:lnTo>
                    <a:pt x="17894" y="73177"/>
                  </a:lnTo>
                  <a:lnTo>
                    <a:pt x="19621" y="73151"/>
                  </a:lnTo>
                  <a:lnTo>
                    <a:pt x="22389" y="73151"/>
                  </a:lnTo>
                  <a:lnTo>
                    <a:pt x="22431" y="72885"/>
                  </a:lnTo>
                  <a:close/>
                </a:path>
              </a:pathLst>
            </a:custGeom>
            <a:solidFill>
              <a:srgbClr val="F3D04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5" name="object 1247">
              <a:extLst>
                <a:ext uri="{FF2B5EF4-FFF2-40B4-BE49-F238E27FC236}">
                  <a16:creationId xmlns:a16="http://schemas.microsoft.com/office/drawing/2014/main" id="{477AE461-8F76-4950-AF84-DF8B9993AD9D}"/>
                </a:ext>
              </a:extLst>
            </p:cNvPr>
            <p:cNvSpPr/>
            <p:nvPr/>
          </p:nvSpPr>
          <p:spPr>
            <a:xfrm>
              <a:off x="8016723" y="6257507"/>
              <a:ext cx="73660" cy="100330"/>
            </a:xfrm>
            <a:custGeom>
              <a:avLst/>
              <a:gdLst/>
              <a:ahLst/>
              <a:cxnLst/>
              <a:rect l="l" t="t" r="r" b="b"/>
              <a:pathLst>
                <a:path w="73659" h="100329">
                  <a:moveTo>
                    <a:pt x="21858" y="72326"/>
                  </a:moveTo>
                  <a:lnTo>
                    <a:pt x="12306" y="72326"/>
                  </a:lnTo>
                  <a:lnTo>
                    <a:pt x="17576" y="72605"/>
                  </a:lnTo>
                  <a:lnTo>
                    <a:pt x="19278" y="72605"/>
                  </a:lnTo>
                  <a:lnTo>
                    <a:pt x="18846" y="73342"/>
                  </a:lnTo>
                  <a:lnTo>
                    <a:pt x="15857" y="77609"/>
                  </a:lnTo>
                  <a:lnTo>
                    <a:pt x="0" y="100025"/>
                  </a:lnTo>
                  <a:lnTo>
                    <a:pt x="16497" y="79324"/>
                  </a:lnTo>
                  <a:lnTo>
                    <a:pt x="19304" y="76631"/>
                  </a:lnTo>
                  <a:lnTo>
                    <a:pt x="21780" y="72809"/>
                  </a:lnTo>
                  <a:lnTo>
                    <a:pt x="21858" y="72326"/>
                  </a:lnTo>
                  <a:close/>
                </a:path>
                <a:path w="73659" h="100329">
                  <a:moveTo>
                    <a:pt x="73266" y="0"/>
                  </a:moveTo>
                  <a:lnTo>
                    <a:pt x="71793" y="1320"/>
                  </a:lnTo>
                  <a:lnTo>
                    <a:pt x="60491" y="12158"/>
                  </a:lnTo>
                  <a:lnTo>
                    <a:pt x="56840" y="15582"/>
                  </a:lnTo>
                  <a:lnTo>
                    <a:pt x="28797" y="41570"/>
                  </a:lnTo>
                  <a:lnTo>
                    <a:pt x="25577" y="44640"/>
                  </a:lnTo>
                  <a:lnTo>
                    <a:pt x="25146" y="45237"/>
                  </a:lnTo>
                  <a:lnTo>
                    <a:pt x="28575" y="45415"/>
                  </a:lnTo>
                  <a:lnTo>
                    <a:pt x="32118" y="46304"/>
                  </a:lnTo>
                  <a:lnTo>
                    <a:pt x="27635" y="51714"/>
                  </a:lnTo>
                  <a:lnTo>
                    <a:pt x="21780" y="58445"/>
                  </a:lnTo>
                  <a:lnTo>
                    <a:pt x="12306" y="71145"/>
                  </a:lnTo>
                  <a:lnTo>
                    <a:pt x="10845" y="72605"/>
                  </a:lnTo>
                  <a:lnTo>
                    <a:pt x="12306" y="72326"/>
                  </a:lnTo>
                  <a:lnTo>
                    <a:pt x="21858" y="72326"/>
                  </a:lnTo>
                  <a:lnTo>
                    <a:pt x="21983" y="71551"/>
                  </a:lnTo>
                  <a:lnTo>
                    <a:pt x="21031" y="70637"/>
                  </a:lnTo>
                  <a:lnTo>
                    <a:pt x="20472" y="70129"/>
                  </a:lnTo>
                  <a:lnTo>
                    <a:pt x="18770" y="69469"/>
                  </a:lnTo>
                  <a:lnTo>
                    <a:pt x="18389" y="68287"/>
                  </a:lnTo>
                  <a:lnTo>
                    <a:pt x="17716" y="67335"/>
                  </a:lnTo>
                  <a:lnTo>
                    <a:pt x="23761" y="59944"/>
                  </a:lnTo>
                  <a:lnTo>
                    <a:pt x="29591" y="53594"/>
                  </a:lnTo>
                  <a:lnTo>
                    <a:pt x="33032" y="49999"/>
                  </a:lnTo>
                  <a:lnTo>
                    <a:pt x="34836" y="47586"/>
                  </a:lnTo>
                  <a:lnTo>
                    <a:pt x="36360" y="44132"/>
                  </a:lnTo>
                  <a:lnTo>
                    <a:pt x="36029" y="43129"/>
                  </a:lnTo>
                  <a:lnTo>
                    <a:pt x="35179" y="42443"/>
                  </a:lnTo>
                  <a:lnTo>
                    <a:pt x="34683" y="42075"/>
                  </a:lnTo>
                  <a:lnTo>
                    <a:pt x="34493" y="41821"/>
                  </a:lnTo>
                  <a:lnTo>
                    <a:pt x="33375" y="41198"/>
                  </a:lnTo>
                  <a:lnTo>
                    <a:pt x="36690" y="37998"/>
                  </a:lnTo>
                  <a:lnTo>
                    <a:pt x="40868" y="34188"/>
                  </a:lnTo>
                  <a:lnTo>
                    <a:pt x="44221" y="30734"/>
                  </a:lnTo>
                  <a:lnTo>
                    <a:pt x="49187" y="26441"/>
                  </a:lnTo>
                  <a:lnTo>
                    <a:pt x="60579" y="15570"/>
                  </a:lnTo>
                  <a:lnTo>
                    <a:pt x="66078" y="10566"/>
                  </a:lnTo>
                  <a:lnTo>
                    <a:pt x="69545" y="6477"/>
                  </a:lnTo>
                  <a:lnTo>
                    <a:pt x="71564" y="3797"/>
                  </a:lnTo>
                  <a:lnTo>
                    <a:pt x="73266" y="0"/>
                  </a:lnTo>
                  <a:close/>
                </a:path>
              </a:pathLst>
            </a:custGeom>
            <a:solidFill>
              <a:srgbClr val="F4D24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6" name="object 1248">
              <a:extLst>
                <a:ext uri="{FF2B5EF4-FFF2-40B4-BE49-F238E27FC236}">
                  <a16:creationId xmlns:a16="http://schemas.microsoft.com/office/drawing/2014/main" id="{F09C9A74-B893-49D1-85AB-CBF75C6CC631}"/>
                </a:ext>
              </a:extLst>
            </p:cNvPr>
            <p:cNvSpPr/>
            <p:nvPr/>
          </p:nvSpPr>
          <p:spPr>
            <a:xfrm>
              <a:off x="8017113" y="6258046"/>
              <a:ext cx="72390" cy="99060"/>
            </a:xfrm>
            <a:custGeom>
              <a:avLst/>
              <a:gdLst/>
              <a:ahLst/>
              <a:cxnLst/>
              <a:rect l="l" t="t" r="r" b="b"/>
              <a:pathLst>
                <a:path w="72390" h="99059">
                  <a:moveTo>
                    <a:pt x="21293" y="71755"/>
                  </a:moveTo>
                  <a:lnTo>
                    <a:pt x="11976" y="71755"/>
                  </a:lnTo>
                  <a:lnTo>
                    <a:pt x="17246" y="72047"/>
                  </a:lnTo>
                  <a:lnTo>
                    <a:pt x="18948" y="72059"/>
                  </a:lnTo>
                  <a:lnTo>
                    <a:pt x="18516" y="72783"/>
                  </a:lnTo>
                  <a:lnTo>
                    <a:pt x="15578" y="76972"/>
                  </a:lnTo>
                  <a:lnTo>
                    <a:pt x="0" y="98920"/>
                  </a:lnTo>
                  <a:lnTo>
                    <a:pt x="16065" y="78689"/>
                  </a:lnTo>
                  <a:lnTo>
                    <a:pt x="18783" y="76073"/>
                  </a:lnTo>
                  <a:lnTo>
                    <a:pt x="21209" y="72301"/>
                  </a:lnTo>
                  <a:lnTo>
                    <a:pt x="21293" y="71755"/>
                  </a:lnTo>
                  <a:close/>
                </a:path>
                <a:path w="72390" h="99059">
                  <a:moveTo>
                    <a:pt x="72326" y="0"/>
                  </a:moveTo>
                  <a:lnTo>
                    <a:pt x="70866" y="1320"/>
                  </a:lnTo>
                  <a:lnTo>
                    <a:pt x="60021" y="11726"/>
                  </a:lnTo>
                  <a:lnTo>
                    <a:pt x="56444" y="15088"/>
                  </a:lnTo>
                  <a:lnTo>
                    <a:pt x="28445" y="41032"/>
                  </a:lnTo>
                  <a:lnTo>
                    <a:pt x="25234" y="44094"/>
                  </a:lnTo>
                  <a:lnTo>
                    <a:pt x="24790" y="44678"/>
                  </a:lnTo>
                  <a:lnTo>
                    <a:pt x="28232" y="44856"/>
                  </a:lnTo>
                  <a:lnTo>
                    <a:pt x="31775" y="45745"/>
                  </a:lnTo>
                  <a:lnTo>
                    <a:pt x="27279" y="51181"/>
                  </a:lnTo>
                  <a:lnTo>
                    <a:pt x="21424" y="57912"/>
                  </a:lnTo>
                  <a:lnTo>
                    <a:pt x="11963" y="70573"/>
                  </a:lnTo>
                  <a:lnTo>
                    <a:pt x="10502" y="72047"/>
                  </a:lnTo>
                  <a:lnTo>
                    <a:pt x="11976" y="71755"/>
                  </a:lnTo>
                  <a:lnTo>
                    <a:pt x="21293" y="71755"/>
                  </a:lnTo>
                  <a:lnTo>
                    <a:pt x="21399" y="71069"/>
                  </a:lnTo>
                  <a:lnTo>
                    <a:pt x="19875" y="69659"/>
                  </a:lnTo>
                  <a:lnTo>
                    <a:pt x="18148" y="69011"/>
                  </a:lnTo>
                  <a:lnTo>
                    <a:pt x="17678" y="67894"/>
                  </a:lnTo>
                  <a:lnTo>
                    <a:pt x="16903" y="67005"/>
                  </a:lnTo>
                  <a:lnTo>
                    <a:pt x="23177" y="59334"/>
                  </a:lnTo>
                  <a:lnTo>
                    <a:pt x="29083" y="52844"/>
                  </a:lnTo>
                  <a:lnTo>
                    <a:pt x="32461" y="49288"/>
                  </a:lnTo>
                  <a:lnTo>
                    <a:pt x="34175" y="46964"/>
                  </a:lnTo>
                  <a:lnTo>
                    <a:pt x="35547" y="43700"/>
                  </a:lnTo>
                  <a:lnTo>
                    <a:pt x="35153" y="42786"/>
                  </a:lnTo>
                  <a:lnTo>
                    <a:pt x="34277" y="42138"/>
                  </a:lnTo>
                  <a:lnTo>
                    <a:pt x="34010" y="41973"/>
                  </a:lnTo>
                  <a:lnTo>
                    <a:pt x="33756" y="41783"/>
                  </a:lnTo>
                  <a:lnTo>
                    <a:pt x="33553" y="41554"/>
                  </a:lnTo>
                  <a:lnTo>
                    <a:pt x="32359" y="40919"/>
                  </a:lnTo>
                  <a:lnTo>
                    <a:pt x="35839" y="37553"/>
                  </a:lnTo>
                  <a:lnTo>
                    <a:pt x="40246" y="33553"/>
                  </a:lnTo>
                  <a:lnTo>
                    <a:pt x="43675" y="30099"/>
                  </a:lnTo>
                  <a:lnTo>
                    <a:pt x="48577" y="25844"/>
                  </a:lnTo>
                  <a:lnTo>
                    <a:pt x="59664" y="15252"/>
                  </a:lnTo>
                  <a:lnTo>
                    <a:pt x="64871" y="10515"/>
                  </a:lnTo>
                  <a:lnTo>
                    <a:pt x="68478" y="6375"/>
                  </a:lnTo>
                  <a:lnTo>
                    <a:pt x="70548" y="3733"/>
                  </a:lnTo>
                  <a:lnTo>
                    <a:pt x="72326" y="0"/>
                  </a:lnTo>
                  <a:close/>
                </a:path>
              </a:pathLst>
            </a:custGeom>
            <a:solidFill>
              <a:srgbClr val="F6D44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7" name="object 1249">
              <a:extLst>
                <a:ext uri="{FF2B5EF4-FFF2-40B4-BE49-F238E27FC236}">
                  <a16:creationId xmlns:a16="http://schemas.microsoft.com/office/drawing/2014/main" id="{C81047DC-BEFE-4CEC-A046-BBD58DF0BA75}"/>
                </a:ext>
              </a:extLst>
            </p:cNvPr>
            <p:cNvSpPr/>
            <p:nvPr/>
          </p:nvSpPr>
          <p:spPr>
            <a:xfrm>
              <a:off x="8017499" y="6258586"/>
              <a:ext cx="71755" cy="98425"/>
            </a:xfrm>
            <a:custGeom>
              <a:avLst/>
              <a:gdLst/>
              <a:ahLst/>
              <a:cxnLst/>
              <a:rect l="l" t="t" r="r" b="b"/>
              <a:pathLst>
                <a:path w="71754" h="98425">
                  <a:moveTo>
                    <a:pt x="20727" y="71183"/>
                  </a:moveTo>
                  <a:lnTo>
                    <a:pt x="11658" y="71183"/>
                  </a:lnTo>
                  <a:lnTo>
                    <a:pt x="16929" y="71475"/>
                  </a:lnTo>
                  <a:lnTo>
                    <a:pt x="18618" y="71501"/>
                  </a:lnTo>
                  <a:lnTo>
                    <a:pt x="18186" y="72237"/>
                  </a:lnTo>
                  <a:lnTo>
                    <a:pt x="15301" y="76341"/>
                  </a:lnTo>
                  <a:lnTo>
                    <a:pt x="0" y="97828"/>
                  </a:lnTo>
                  <a:lnTo>
                    <a:pt x="5562" y="90690"/>
                  </a:lnTo>
                  <a:lnTo>
                    <a:pt x="15620" y="78066"/>
                  </a:lnTo>
                  <a:lnTo>
                    <a:pt x="18262" y="75501"/>
                  </a:lnTo>
                  <a:lnTo>
                    <a:pt x="20637" y="71805"/>
                  </a:lnTo>
                  <a:lnTo>
                    <a:pt x="20727" y="71183"/>
                  </a:lnTo>
                  <a:close/>
                </a:path>
                <a:path w="71754" h="98425">
                  <a:moveTo>
                    <a:pt x="71399" y="0"/>
                  </a:moveTo>
                  <a:lnTo>
                    <a:pt x="69938" y="1320"/>
                  </a:lnTo>
                  <a:lnTo>
                    <a:pt x="59559" y="11291"/>
                  </a:lnTo>
                  <a:lnTo>
                    <a:pt x="56037" y="14595"/>
                  </a:lnTo>
                  <a:lnTo>
                    <a:pt x="28088" y="40489"/>
                  </a:lnTo>
                  <a:lnTo>
                    <a:pt x="24891" y="43535"/>
                  </a:lnTo>
                  <a:lnTo>
                    <a:pt x="24447" y="44132"/>
                  </a:lnTo>
                  <a:lnTo>
                    <a:pt x="27889" y="44310"/>
                  </a:lnTo>
                  <a:lnTo>
                    <a:pt x="31432" y="45186"/>
                  </a:lnTo>
                  <a:lnTo>
                    <a:pt x="26936" y="50634"/>
                  </a:lnTo>
                  <a:lnTo>
                    <a:pt x="24015" y="54013"/>
                  </a:lnTo>
                  <a:lnTo>
                    <a:pt x="21081" y="57365"/>
                  </a:lnTo>
                  <a:lnTo>
                    <a:pt x="11633" y="70002"/>
                  </a:lnTo>
                  <a:lnTo>
                    <a:pt x="10172" y="71475"/>
                  </a:lnTo>
                  <a:lnTo>
                    <a:pt x="11658" y="71183"/>
                  </a:lnTo>
                  <a:lnTo>
                    <a:pt x="20727" y="71183"/>
                  </a:lnTo>
                  <a:lnTo>
                    <a:pt x="20815" y="70573"/>
                  </a:lnTo>
                  <a:lnTo>
                    <a:pt x="19291" y="69189"/>
                  </a:lnTo>
                  <a:lnTo>
                    <a:pt x="17525" y="68541"/>
                  </a:lnTo>
                  <a:lnTo>
                    <a:pt x="16954" y="67525"/>
                  </a:lnTo>
                  <a:lnTo>
                    <a:pt x="16090" y="66662"/>
                  </a:lnTo>
                  <a:lnTo>
                    <a:pt x="22593" y="58724"/>
                  </a:lnTo>
                  <a:lnTo>
                    <a:pt x="28587" y="52095"/>
                  </a:lnTo>
                  <a:lnTo>
                    <a:pt x="31889" y="48577"/>
                  </a:lnTo>
                  <a:lnTo>
                    <a:pt x="33527" y="46342"/>
                  </a:lnTo>
                  <a:lnTo>
                    <a:pt x="34747" y="43256"/>
                  </a:lnTo>
                  <a:lnTo>
                    <a:pt x="34289" y="42443"/>
                  </a:lnTo>
                  <a:lnTo>
                    <a:pt x="32829" y="41503"/>
                  </a:lnTo>
                  <a:lnTo>
                    <a:pt x="32600" y="41287"/>
                  </a:lnTo>
                  <a:lnTo>
                    <a:pt x="31330" y="40640"/>
                  </a:lnTo>
                  <a:lnTo>
                    <a:pt x="35001" y="37122"/>
                  </a:lnTo>
                  <a:lnTo>
                    <a:pt x="39636" y="32918"/>
                  </a:lnTo>
                  <a:lnTo>
                    <a:pt x="43116" y="29451"/>
                  </a:lnTo>
                  <a:lnTo>
                    <a:pt x="47980" y="25247"/>
                  </a:lnTo>
                  <a:lnTo>
                    <a:pt x="58762" y="14922"/>
                  </a:lnTo>
                  <a:lnTo>
                    <a:pt x="63677" y="10464"/>
                  </a:lnTo>
                  <a:lnTo>
                    <a:pt x="67411" y="6273"/>
                  </a:lnTo>
                  <a:lnTo>
                    <a:pt x="69519" y="3670"/>
                  </a:lnTo>
                  <a:lnTo>
                    <a:pt x="71399" y="0"/>
                  </a:lnTo>
                  <a:close/>
                </a:path>
              </a:pathLst>
            </a:custGeom>
            <a:solidFill>
              <a:srgbClr val="F7D6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8" name="object 1250">
              <a:extLst>
                <a:ext uri="{FF2B5EF4-FFF2-40B4-BE49-F238E27FC236}">
                  <a16:creationId xmlns:a16="http://schemas.microsoft.com/office/drawing/2014/main" id="{33520621-8E77-4508-A3CD-C97908B668FF}"/>
                </a:ext>
              </a:extLst>
            </p:cNvPr>
            <p:cNvSpPr/>
            <p:nvPr/>
          </p:nvSpPr>
          <p:spPr>
            <a:xfrm>
              <a:off x="8017897" y="6259130"/>
              <a:ext cx="70485" cy="97155"/>
            </a:xfrm>
            <a:custGeom>
              <a:avLst/>
              <a:gdLst/>
              <a:ahLst/>
              <a:cxnLst/>
              <a:rect l="l" t="t" r="r" b="b"/>
              <a:pathLst>
                <a:path w="70484" h="97154">
                  <a:moveTo>
                    <a:pt x="20152" y="70611"/>
                  </a:moveTo>
                  <a:lnTo>
                    <a:pt x="11328" y="70611"/>
                  </a:lnTo>
                  <a:lnTo>
                    <a:pt x="16598" y="70904"/>
                  </a:lnTo>
                  <a:lnTo>
                    <a:pt x="18275" y="70942"/>
                  </a:lnTo>
                  <a:lnTo>
                    <a:pt x="17843" y="71678"/>
                  </a:lnTo>
                  <a:lnTo>
                    <a:pt x="15012" y="75699"/>
                  </a:lnTo>
                  <a:lnTo>
                    <a:pt x="0" y="96735"/>
                  </a:lnTo>
                  <a:lnTo>
                    <a:pt x="5118" y="90055"/>
                  </a:lnTo>
                  <a:lnTo>
                    <a:pt x="15176" y="77419"/>
                  </a:lnTo>
                  <a:lnTo>
                    <a:pt x="17741" y="74942"/>
                  </a:lnTo>
                  <a:lnTo>
                    <a:pt x="19354" y="72377"/>
                  </a:lnTo>
                  <a:lnTo>
                    <a:pt x="20065" y="71297"/>
                  </a:lnTo>
                  <a:lnTo>
                    <a:pt x="20152" y="70611"/>
                  </a:lnTo>
                  <a:close/>
                </a:path>
                <a:path w="70484" h="97154">
                  <a:moveTo>
                    <a:pt x="70459" y="0"/>
                  </a:moveTo>
                  <a:lnTo>
                    <a:pt x="68999" y="1320"/>
                  </a:lnTo>
                  <a:lnTo>
                    <a:pt x="58800" y="11175"/>
                  </a:lnTo>
                  <a:lnTo>
                    <a:pt x="27725" y="39938"/>
                  </a:lnTo>
                  <a:lnTo>
                    <a:pt x="24536" y="42989"/>
                  </a:lnTo>
                  <a:lnTo>
                    <a:pt x="24091" y="43573"/>
                  </a:lnTo>
                  <a:lnTo>
                    <a:pt x="27533" y="43738"/>
                  </a:lnTo>
                  <a:lnTo>
                    <a:pt x="31076" y="44627"/>
                  </a:lnTo>
                  <a:lnTo>
                    <a:pt x="26581" y="50088"/>
                  </a:lnTo>
                  <a:lnTo>
                    <a:pt x="20726" y="56819"/>
                  </a:lnTo>
                  <a:lnTo>
                    <a:pt x="11290" y="69443"/>
                  </a:lnTo>
                  <a:lnTo>
                    <a:pt x="9817" y="70904"/>
                  </a:lnTo>
                  <a:lnTo>
                    <a:pt x="11328" y="70611"/>
                  </a:lnTo>
                  <a:lnTo>
                    <a:pt x="20152" y="70611"/>
                  </a:lnTo>
                  <a:lnTo>
                    <a:pt x="20218" y="70091"/>
                  </a:lnTo>
                  <a:lnTo>
                    <a:pt x="18694" y="68719"/>
                  </a:lnTo>
                  <a:lnTo>
                    <a:pt x="16903" y="68084"/>
                  </a:lnTo>
                  <a:lnTo>
                    <a:pt x="16230" y="67144"/>
                  </a:lnTo>
                  <a:lnTo>
                    <a:pt x="15265" y="66332"/>
                  </a:lnTo>
                  <a:lnTo>
                    <a:pt x="21996" y="58115"/>
                  </a:lnTo>
                  <a:lnTo>
                    <a:pt x="28079" y="51346"/>
                  </a:lnTo>
                  <a:lnTo>
                    <a:pt x="31305" y="47866"/>
                  </a:lnTo>
                  <a:lnTo>
                    <a:pt x="32867" y="45707"/>
                  </a:lnTo>
                  <a:lnTo>
                    <a:pt x="33921" y="42811"/>
                  </a:lnTo>
                  <a:lnTo>
                    <a:pt x="33400" y="42087"/>
                  </a:lnTo>
                  <a:lnTo>
                    <a:pt x="31889" y="41224"/>
                  </a:lnTo>
                  <a:lnTo>
                    <a:pt x="31635" y="41008"/>
                  </a:lnTo>
                  <a:lnTo>
                    <a:pt x="30302" y="40360"/>
                  </a:lnTo>
                  <a:lnTo>
                    <a:pt x="34150" y="36677"/>
                  </a:lnTo>
                  <a:lnTo>
                    <a:pt x="39001" y="32283"/>
                  </a:lnTo>
                  <a:lnTo>
                    <a:pt x="42557" y="28816"/>
                  </a:lnTo>
                  <a:lnTo>
                    <a:pt x="47358" y="24650"/>
                  </a:lnTo>
                  <a:lnTo>
                    <a:pt x="57848" y="14579"/>
                  </a:lnTo>
                  <a:lnTo>
                    <a:pt x="62458" y="10401"/>
                  </a:lnTo>
                  <a:lnTo>
                    <a:pt x="66332" y="6172"/>
                  </a:lnTo>
                  <a:lnTo>
                    <a:pt x="68491" y="3594"/>
                  </a:lnTo>
                  <a:lnTo>
                    <a:pt x="70459" y="0"/>
                  </a:lnTo>
                  <a:close/>
                </a:path>
              </a:pathLst>
            </a:custGeom>
            <a:solidFill>
              <a:srgbClr val="F9D8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59" name="object 1251">
              <a:extLst>
                <a:ext uri="{FF2B5EF4-FFF2-40B4-BE49-F238E27FC236}">
                  <a16:creationId xmlns:a16="http://schemas.microsoft.com/office/drawing/2014/main" id="{3889073A-67B1-4435-80C8-1DA8F5AB95C4}"/>
                </a:ext>
              </a:extLst>
            </p:cNvPr>
            <p:cNvSpPr/>
            <p:nvPr/>
          </p:nvSpPr>
          <p:spPr>
            <a:xfrm>
              <a:off x="8018295" y="6259669"/>
              <a:ext cx="69850" cy="95885"/>
            </a:xfrm>
            <a:custGeom>
              <a:avLst/>
              <a:gdLst/>
              <a:ahLst/>
              <a:cxnLst/>
              <a:rect l="l" t="t" r="r" b="b"/>
              <a:pathLst>
                <a:path w="69850" h="95884">
                  <a:moveTo>
                    <a:pt x="19569" y="70040"/>
                  </a:moveTo>
                  <a:lnTo>
                    <a:pt x="10998" y="70040"/>
                  </a:lnTo>
                  <a:lnTo>
                    <a:pt x="16268" y="70332"/>
                  </a:lnTo>
                  <a:lnTo>
                    <a:pt x="17932" y="70396"/>
                  </a:lnTo>
                  <a:lnTo>
                    <a:pt x="17500" y="71132"/>
                  </a:lnTo>
                  <a:lnTo>
                    <a:pt x="14721" y="75062"/>
                  </a:lnTo>
                  <a:lnTo>
                    <a:pt x="0" y="95643"/>
                  </a:lnTo>
                  <a:lnTo>
                    <a:pt x="4686" y="89408"/>
                  </a:lnTo>
                  <a:lnTo>
                    <a:pt x="14732" y="76796"/>
                  </a:lnTo>
                  <a:lnTo>
                    <a:pt x="17208" y="74383"/>
                  </a:lnTo>
                  <a:lnTo>
                    <a:pt x="19481" y="70789"/>
                  </a:lnTo>
                  <a:lnTo>
                    <a:pt x="19569" y="70040"/>
                  </a:lnTo>
                  <a:close/>
                </a:path>
                <a:path w="69850" h="95884">
                  <a:moveTo>
                    <a:pt x="69532" y="0"/>
                  </a:moveTo>
                  <a:lnTo>
                    <a:pt x="68059" y="1320"/>
                  </a:lnTo>
                  <a:lnTo>
                    <a:pt x="58394" y="10680"/>
                  </a:lnTo>
                  <a:lnTo>
                    <a:pt x="27356" y="39396"/>
                  </a:lnTo>
                  <a:lnTo>
                    <a:pt x="24168" y="42430"/>
                  </a:lnTo>
                  <a:lnTo>
                    <a:pt x="23736" y="43027"/>
                  </a:lnTo>
                  <a:lnTo>
                    <a:pt x="27178" y="43192"/>
                  </a:lnTo>
                  <a:lnTo>
                    <a:pt x="30734" y="44081"/>
                  </a:lnTo>
                  <a:lnTo>
                    <a:pt x="26225" y="49555"/>
                  </a:lnTo>
                  <a:lnTo>
                    <a:pt x="20358" y="56286"/>
                  </a:lnTo>
                  <a:lnTo>
                    <a:pt x="10934" y="68872"/>
                  </a:lnTo>
                  <a:lnTo>
                    <a:pt x="9474" y="70332"/>
                  </a:lnTo>
                  <a:lnTo>
                    <a:pt x="10998" y="70040"/>
                  </a:lnTo>
                  <a:lnTo>
                    <a:pt x="19569" y="70040"/>
                  </a:lnTo>
                  <a:lnTo>
                    <a:pt x="19621" y="69596"/>
                  </a:lnTo>
                  <a:lnTo>
                    <a:pt x="18084" y="68249"/>
                  </a:lnTo>
                  <a:lnTo>
                    <a:pt x="16268" y="67614"/>
                  </a:lnTo>
                  <a:lnTo>
                    <a:pt x="15494" y="66763"/>
                  </a:lnTo>
                  <a:lnTo>
                    <a:pt x="14439" y="66001"/>
                  </a:lnTo>
                  <a:lnTo>
                    <a:pt x="21399" y="57505"/>
                  </a:lnTo>
                  <a:lnTo>
                    <a:pt x="27559" y="50596"/>
                  </a:lnTo>
                  <a:lnTo>
                    <a:pt x="30734" y="47155"/>
                  </a:lnTo>
                  <a:lnTo>
                    <a:pt x="32194" y="45085"/>
                  </a:lnTo>
                  <a:lnTo>
                    <a:pt x="33108" y="42379"/>
                  </a:lnTo>
                  <a:lnTo>
                    <a:pt x="32512" y="41744"/>
                  </a:lnTo>
                  <a:lnTo>
                    <a:pt x="31546" y="41236"/>
                  </a:lnTo>
                  <a:lnTo>
                    <a:pt x="31242" y="41097"/>
                  </a:lnTo>
                  <a:lnTo>
                    <a:pt x="30949" y="40932"/>
                  </a:lnTo>
                  <a:lnTo>
                    <a:pt x="30683" y="40741"/>
                  </a:lnTo>
                  <a:lnTo>
                    <a:pt x="29260" y="40081"/>
                  </a:lnTo>
                  <a:lnTo>
                    <a:pt x="33286" y="36233"/>
                  </a:lnTo>
                  <a:lnTo>
                    <a:pt x="38366" y="31661"/>
                  </a:lnTo>
                  <a:lnTo>
                    <a:pt x="41998" y="28168"/>
                  </a:lnTo>
                  <a:lnTo>
                    <a:pt x="46748" y="24053"/>
                  </a:lnTo>
                  <a:lnTo>
                    <a:pt x="56946" y="14249"/>
                  </a:lnTo>
                  <a:lnTo>
                    <a:pt x="61239" y="10363"/>
                  </a:lnTo>
                  <a:lnTo>
                    <a:pt x="65252" y="6070"/>
                  </a:lnTo>
                  <a:lnTo>
                    <a:pt x="67462" y="3530"/>
                  </a:lnTo>
                  <a:lnTo>
                    <a:pt x="69532" y="0"/>
                  </a:lnTo>
                  <a:close/>
                </a:path>
              </a:pathLst>
            </a:custGeom>
            <a:solidFill>
              <a:srgbClr val="FADA5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0" name="object 1252">
              <a:extLst>
                <a:ext uri="{FF2B5EF4-FFF2-40B4-BE49-F238E27FC236}">
                  <a16:creationId xmlns:a16="http://schemas.microsoft.com/office/drawing/2014/main" id="{DCC57A49-E1C7-4347-A4C7-C026734E8E8A}"/>
                </a:ext>
              </a:extLst>
            </p:cNvPr>
            <p:cNvSpPr/>
            <p:nvPr/>
          </p:nvSpPr>
          <p:spPr>
            <a:xfrm>
              <a:off x="8018688" y="6260221"/>
              <a:ext cx="69215" cy="94615"/>
            </a:xfrm>
            <a:custGeom>
              <a:avLst/>
              <a:gdLst/>
              <a:ahLst/>
              <a:cxnLst/>
              <a:rect l="l" t="t" r="r" b="b"/>
              <a:pathLst>
                <a:path w="69215" h="94615">
                  <a:moveTo>
                    <a:pt x="18984" y="69469"/>
                  </a:moveTo>
                  <a:lnTo>
                    <a:pt x="10680" y="69469"/>
                  </a:lnTo>
                  <a:lnTo>
                    <a:pt x="17602" y="69837"/>
                  </a:lnTo>
                  <a:lnTo>
                    <a:pt x="17157" y="70561"/>
                  </a:lnTo>
                  <a:lnTo>
                    <a:pt x="14439" y="74413"/>
                  </a:lnTo>
                  <a:lnTo>
                    <a:pt x="0" y="94538"/>
                  </a:lnTo>
                  <a:lnTo>
                    <a:pt x="4241" y="88773"/>
                  </a:lnTo>
                  <a:lnTo>
                    <a:pt x="14287" y="76161"/>
                  </a:lnTo>
                  <a:lnTo>
                    <a:pt x="16687" y="73799"/>
                  </a:lnTo>
                  <a:lnTo>
                    <a:pt x="18897" y="70281"/>
                  </a:lnTo>
                  <a:lnTo>
                    <a:pt x="18984" y="69469"/>
                  </a:lnTo>
                  <a:close/>
                </a:path>
                <a:path w="69215" h="94615">
                  <a:moveTo>
                    <a:pt x="68592" y="0"/>
                  </a:moveTo>
                  <a:lnTo>
                    <a:pt x="67132" y="1308"/>
                  </a:lnTo>
                  <a:lnTo>
                    <a:pt x="57988" y="10172"/>
                  </a:lnTo>
                  <a:lnTo>
                    <a:pt x="26992" y="38845"/>
                  </a:lnTo>
                  <a:lnTo>
                    <a:pt x="23774" y="41922"/>
                  </a:lnTo>
                  <a:lnTo>
                    <a:pt x="23380" y="42456"/>
                  </a:lnTo>
                  <a:lnTo>
                    <a:pt x="26835" y="42621"/>
                  </a:lnTo>
                  <a:lnTo>
                    <a:pt x="30378" y="43510"/>
                  </a:lnTo>
                  <a:lnTo>
                    <a:pt x="25869" y="48996"/>
                  </a:lnTo>
                  <a:lnTo>
                    <a:pt x="20015" y="55727"/>
                  </a:lnTo>
                  <a:lnTo>
                    <a:pt x="10591" y="68287"/>
                  </a:lnTo>
                  <a:lnTo>
                    <a:pt x="9131" y="69761"/>
                  </a:lnTo>
                  <a:lnTo>
                    <a:pt x="10680" y="69469"/>
                  </a:lnTo>
                  <a:lnTo>
                    <a:pt x="18984" y="69469"/>
                  </a:lnTo>
                  <a:lnTo>
                    <a:pt x="19024" y="69100"/>
                  </a:lnTo>
                  <a:lnTo>
                    <a:pt x="18084" y="68275"/>
                  </a:lnTo>
                  <a:lnTo>
                    <a:pt x="17487" y="67779"/>
                  </a:lnTo>
                  <a:lnTo>
                    <a:pt x="15646" y="67144"/>
                  </a:lnTo>
                  <a:lnTo>
                    <a:pt x="14770" y="66370"/>
                  </a:lnTo>
                  <a:lnTo>
                    <a:pt x="13614" y="65659"/>
                  </a:lnTo>
                  <a:lnTo>
                    <a:pt x="20802" y="56883"/>
                  </a:lnTo>
                  <a:lnTo>
                    <a:pt x="27063" y="49834"/>
                  </a:lnTo>
                  <a:lnTo>
                    <a:pt x="30162" y="46431"/>
                  </a:lnTo>
                  <a:lnTo>
                    <a:pt x="31534" y="44450"/>
                  </a:lnTo>
                  <a:lnTo>
                    <a:pt x="32125" y="42456"/>
                  </a:lnTo>
                  <a:lnTo>
                    <a:pt x="32221" y="41871"/>
                  </a:lnTo>
                  <a:lnTo>
                    <a:pt x="31635" y="41389"/>
                  </a:lnTo>
                  <a:lnTo>
                    <a:pt x="30022" y="40652"/>
                  </a:lnTo>
                  <a:lnTo>
                    <a:pt x="29730" y="40462"/>
                  </a:lnTo>
                  <a:lnTo>
                    <a:pt x="28244" y="39789"/>
                  </a:lnTo>
                  <a:lnTo>
                    <a:pt x="32448" y="35788"/>
                  </a:lnTo>
                  <a:lnTo>
                    <a:pt x="37744" y="31026"/>
                  </a:lnTo>
                  <a:lnTo>
                    <a:pt x="41440" y="27520"/>
                  </a:lnTo>
                  <a:lnTo>
                    <a:pt x="46139" y="23444"/>
                  </a:lnTo>
                  <a:lnTo>
                    <a:pt x="56045" y="13906"/>
                  </a:lnTo>
                  <a:lnTo>
                    <a:pt x="60154" y="10172"/>
                  </a:lnTo>
                  <a:lnTo>
                    <a:pt x="64173" y="5969"/>
                  </a:lnTo>
                  <a:lnTo>
                    <a:pt x="66433" y="3454"/>
                  </a:lnTo>
                  <a:lnTo>
                    <a:pt x="68592" y="0"/>
                  </a:lnTo>
                  <a:close/>
                </a:path>
              </a:pathLst>
            </a:custGeom>
            <a:solidFill>
              <a:srgbClr val="FCDC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1" name="object 1253">
              <a:extLst>
                <a:ext uri="{FF2B5EF4-FFF2-40B4-BE49-F238E27FC236}">
                  <a16:creationId xmlns:a16="http://schemas.microsoft.com/office/drawing/2014/main" id="{6EE98938-3A78-404B-BA9C-A509967962CC}"/>
                </a:ext>
              </a:extLst>
            </p:cNvPr>
            <p:cNvSpPr/>
            <p:nvPr/>
          </p:nvSpPr>
          <p:spPr>
            <a:xfrm>
              <a:off x="8019078" y="6260749"/>
              <a:ext cx="67945" cy="93980"/>
            </a:xfrm>
            <a:custGeom>
              <a:avLst/>
              <a:gdLst/>
              <a:ahLst/>
              <a:cxnLst/>
              <a:rect l="l" t="t" r="r" b="b"/>
              <a:pathLst>
                <a:path w="67945" h="93979">
                  <a:moveTo>
                    <a:pt x="4008" y="87888"/>
                  </a:moveTo>
                  <a:lnTo>
                    <a:pt x="3809" y="88138"/>
                  </a:lnTo>
                  <a:lnTo>
                    <a:pt x="0" y="93459"/>
                  </a:lnTo>
                  <a:lnTo>
                    <a:pt x="4008" y="87888"/>
                  </a:lnTo>
                  <a:close/>
                </a:path>
                <a:path w="67945" h="93979">
                  <a:moveTo>
                    <a:pt x="18412" y="68910"/>
                  </a:moveTo>
                  <a:lnTo>
                    <a:pt x="10350" y="68910"/>
                  </a:lnTo>
                  <a:lnTo>
                    <a:pt x="17271" y="69291"/>
                  </a:lnTo>
                  <a:lnTo>
                    <a:pt x="16827" y="70027"/>
                  </a:lnTo>
                  <a:lnTo>
                    <a:pt x="14155" y="73788"/>
                  </a:lnTo>
                  <a:lnTo>
                    <a:pt x="4008" y="87888"/>
                  </a:lnTo>
                  <a:lnTo>
                    <a:pt x="13855" y="75539"/>
                  </a:lnTo>
                  <a:lnTo>
                    <a:pt x="16154" y="73253"/>
                  </a:lnTo>
                  <a:lnTo>
                    <a:pt x="18326" y="69786"/>
                  </a:lnTo>
                  <a:lnTo>
                    <a:pt x="18412" y="68910"/>
                  </a:lnTo>
                  <a:close/>
                </a:path>
                <a:path w="67945" h="93979">
                  <a:moveTo>
                    <a:pt x="67665" y="0"/>
                  </a:moveTo>
                  <a:lnTo>
                    <a:pt x="66205" y="1320"/>
                  </a:lnTo>
                  <a:lnTo>
                    <a:pt x="57581" y="9690"/>
                  </a:lnTo>
                  <a:lnTo>
                    <a:pt x="26634" y="38315"/>
                  </a:lnTo>
                  <a:lnTo>
                    <a:pt x="23469" y="41338"/>
                  </a:lnTo>
                  <a:lnTo>
                    <a:pt x="23025" y="41922"/>
                  </a:lnTo>
                  <a:lnTo>
                    <a:pt x="26492" y="42075"/>
                  </a:lnTo>
                  <a:lnTo>
                    <a:pt x="30035" y="42964"/>
                  </a:lnTo>
                  <a:lnTo>
                    <a:pt x="25514" y="48475"/>
                  </a:lnTo>
                  <a:lnTo>
                    <a:pt x="19659" y="55206"/>
                  </a:lnTo>
                  <a:lnTo>
                    <a:pt x="10261" y="67741"/>
                  </a:lnTo>
                  <a:lnTo>
                    <a:pt x="8801" y="69202"/>
                  </a:lnTo>
                  <a:lnTo>
                    <a:pt x="10350" y="68910"/>
                  </a:lnTo>
                  <a:lnTo>
                    <a:pt x="18412" y="68910"/>
                  </a:lnTo>
                  <a:lnTo>
                    <a:pt x="18440" y="68630"/>
                  </a:lnTo>
                  <a:lnTo>
                    <a:pt x="16903" y="67310"/>
                  </a:lnTo>
                  <a:lnTo>
                    <a:pt x="15036" y="66687"/>
                  </a:lnTo>
                  <a:lnTo>
                    <a:pt x="14046" y="66001"/>
                  </a:lnTo>
                  <a:lnTo>
                    <a:pt x="12801" y="65341"/>
                  </a:lnTo>
                  <a:lnTo>
                    <a:pt x="20218" y="56286"/>
                  </a:lnTo>
                  <a:lnTo>
                    <a:pt x="26555" y="49098"/>
                  </a:lnTo>
                  <a:lnTo>
                    <a:pt x="29590" y="45732"/>
                  </a:lnTo>
                  <a:lnTo>
                    <a:pt x="30886" y="43840"/>
                  </a:lnTo>
                  <a:lnTo>
                    <a:pt x="31483" y="41490"/>
                  </a:lnTo>
                  <a:lnTo>
                    <a:pt x="30759" y="41059"/>
                  </a:lnTo>
                  <a:lnTo>
                    <a:pt x="29082" y="40373"/>
                  </a:lnTo>
                  <a:lnTo>
                    <a:pt x="28778" y="40195"/>
                  </a:lnTo>
                  <a:lnTo>
                    <a:pt x="27216" y="39509"/>
                  </a:lnTo>
                  <a:lnTo>
                    <a:pt x="31597" y="35356"/>
                  </a:lnTo>
                  <a:lnTo>
                    <a:pt x="37122" y="30403"/>
                  </a:lnTo>
                  <a:lnTo>
                    <a:pt x="40881" y="26885"/>
                  </a:lnTo>
                  <a:lnTo>
                    <a:pt x="45529" y="22847"/>
                  </a:lnTo>
                  <a:lnTo>
                    <a:pt x="55130" y="13589"/>
                  </a:lnTo>
                  <a:lnTo>
                    <a:pt x="58826" y="10261"/>
                  </a:lnTo>
                  <a:lnTo>
                    <a:pt x="63106" y="5867"/>
                  </a:lnTo>
                  <a:lnTo>
                    <a:pt x="65417" y="3390"/>
                  </a:lnTo>
                  <a:lnTo>
                    <a:pt x="67665" y="0"/>
                  </a:lnTo>
                  <a:close/>
                </a:path>
              </a:pathLst>
            </a:custGeom>
            <a:solidFill>
              <a:srgbClr val="FCDE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2" name="object 1254">
              <a:extLst>
                <a:ext uri="{FF2B5EF4-FFF2-40B4-BE49-F238E27FC236}">
                  <a16:creationId xmlns:a16="http://schemas.microsoft.com/office/drawing/2014/main" id="{B6C4F865-C4B1-4419-A446-7D96364F87C6}"/>
                </a:ext>
              </a:extLst>
            </p:cNvPr>
            <p:cNvSpPr/>
            <p:nvPr/>
          </p:nvSpPr>
          <p:spPr>
            <a:xfrm>
              <a:off x="8019475" y="6261291"/>
              <a:ext cx="67310" cy="92710"/>
            </a:xfrm>
            <a:custGeom>
              <a:avLst/>
              <a:gdLst/>
              <a:ahLst/>
              <a:cxnLst/>
              <a:rect l="l" t="t" r="r" b="b"/>
              <a:pathLst>
                <a:path w="67309" h="92709">
                  <a:moveTo>
                    <a:pt x="4926" y="85543"/>
                  </a:moveTo>
                  <a:lnTo>
                    <a:pt x="3365" y="87503"/>
                  </a:lnTo>
                  <a:lnTo>
                    <a:pt x="0" y="92367"/>
                  </a:lnTo>
                  <a:lnTo>
                    <a:pt x="4926" y="85543"/>
                  </a:lnTo>
                  <a:close/>
                </a:path>
                <a:path w="67309" h="92709">
                  <a:moveTo>
                    <a:pt x="17828" y="68338"/>
                  </a:moveTo>
                  <a:lnTo>
                    <a:pt x="10020" y="68338"/>
                  </a:lnTo>
                  <a:lnTo>
                    <a:pt x="15290" y="68630"/>
                  </a:lnTo>
                  <a:lnTo>
                    <a:pt x="16929" y="68745"/>
                  </a:lnTo>
                  <a:lnTo>
                    <a:pt x="16484" y="69469"/>
                  </a:lnTo>
                  <a:lnTo>
                    <a:pt x="13871" y="73152"/>
                  </a:lnTo>
                  <a:lnTo>
                    <a:pt x="4926" y="85543"/>
                  </a:lnTo>
                  <a:lnTo>
                    <a:pt x="13398" y="74904"/>
                  </a:lnTo>
                  <a:lnTo>
                    <a:pt x="15633" y="72694"/>
                  </a:lnTo>
                  <a:lnTo>
                    <a:pt x="17754" y="69278"/>
                  </a:lnTo>
                  <a:lnTo>
                    <a:pt x="17828" y="68338"/>
                  </a:lnTo>
                  <a:close/>
                </a:path>
                <a:path w="67309" h="92709">
                  <a:moveTo>
                    <a:pt x="66725" y="0"/>
                  </a:moveTo>
                  <a:lnTo>
                    <a:pt x="65265" y="1320"/>
                  </a:lnTo>
                  <a:lnTo>
                    <a:pt x="57175" y="9194"/>
                  </a:lnTo>
                  <a:lnTo>
                    <a:pt x="26271" y="37769"/>
                  </a:lnTo>
                  <a:lnTo>
                    <a:pt x="23114" y="40779"/>
                  </a:lnTo>
                  <a:lnTo>
                    <a:pt x="22669" y="41363"/>
                  </a:lnTo>
                  <a:lnTo>
                    <a:pt x="26136" y="41516"/>
                  </a:lnTo>
                  <a:lnTo>
                    <a:pt x="29679" y="42405"/>
                  </a:lnTo>
                  <a:lnTo>
                    <a:pt x="25158" y="47929"/>
                  </a:lnTo>
                  <a:lnTo>
                    <a:pt x="19304" y="54660"/>
                  </a:lnTo>
                  <a:lnTo>
                    <a:pt x="9906" y="67170"/>
                  </a:lnTo>
                  <a:lnTo>
                    <a:pt x="8445" y="68630"/>
                  </a:lnTo>
                  <a:lnTo>
                    <a:pt x="10020" y="68338"/>
                  </a:lnTo>
                  <a:lnTo>
                    <a:pt x="17828" y="68338"/>
                  </a:lnTo>
                  <a:lnTo>
                    <a:pt x="17843" y="68148"/>
                  </a:lnTo>
                  <a:lnTo>
                    <a:pt x="16306" y="66840"/>
                  </a:lnTo>
                  <a:lnTo>
                    <a:pt x="14401" y="66230"/>
                  </a:lnTo>
                  <a:lnTo>
                    <a:pt x="13309" y="65620"/>
                  </a:lnTo>
                  <a:lnTo>
                    <a:pt x="11976" y="64998"/>
                  </a:lnTo>
                  <a:lnTo>
                    <a:pt x="19621" y="55664"/>
                  </a:lnTo>
                  <a:lnTo>
                    <a:pt x="26047" y="48348"/>
                  </a:lnTo>
                  <a:lnTo>
                    <a:pt x="29006" y="45021"/>
                  </a:lnTo>
                  <a:lnTo>
                    <a:pt x="30226" y="43205"/>
                  </a:lnTo>
                  <a:lnTo>
                    <a:pt x="30657" y="41059"/>
                  </a:lnTo>
                  <a:lnTo>
                    <a:pt x="29870" y="40703"/>
                  </a:lnTo>
                  <a:lnTo>
                    <a:pt x="28143" y="40093"/>
                  </a:lnTo>
                  <a:lnTo>
                    <a:pt x="27825" y="39928"/>
                  </a:lnTo>
                  <a:lnTo>
                    <a:pt x="26187" y="39230"/>
                  </a:lnTo>
                  <a:lnTo>
                    <a:pt x="30746" y="34912"/>
                  </a:lnTo>
                  <a:lnTo>
                    <a:pt x="36499" y="29768"/>
                  </a:lnTo>
                  <a:lnTo>
                    <a:pt x="40322" y="26250"/>
                  </a:lnTo>
                  <a:lnTo>
                    <a:pt x="44919" y="22250"/>
                  </a:lnTo>
                  <a:lnTo>
                    <a:pt x="54229" y="13258"/>
                  </a:lnTo>
                  <a:lnTo>
                    <a:pt x="57607" y="10210"/>
                  </a:lnTo>
                  <a:lnTo>
                    <a:pt x="62026" y="5765"/>
                  </a:lnTo>
                  <a:lnTo>
                    <a:pt x="64389" y="3327"/>
                  </a:lnTo>
                  <a:lnTo>
                    <a:pt x="66725" y="0"/>
                  </a:lnTo>
                  <a:close/>
                </a:path>
              </a:pathLst>
            </a:custGeom>
            <a:solidFill>
              <a:srgbClr val="FEE25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3" name="object 1255">
              <a:extLst>
                <a:ext uri="{FF2B5EF4-FFF2-40B4-BE49-F238E27FC236}">
                  <a16:creationId xmlns:a16="http://schemas.microsoft.com/office/drawing/2014/main" id="{709FE9CA-5095-4C30-B1F9-FDCBE23D108C}"/>
                </a:ext>
              </a:extLst>
            </p:cNvPr>
            <p:cNvSpPr/>
            <p:nvPr/>
          </p:nvSpPr>
          <p:spPr>
            <a:xfrm>
              <a:off x="8019869" y="6261831"/>
              <a:ext cx="66040" cy="91440"/>
            </a:xfrm>
            <a:custGeom>
              <a:avLst/>
              <a:gdLst/>
              <a:ahLst/>
              <a:cxnLst/>
              <a:rect l="l" t="t" r="r" b="b"/>
              <a:pathLst>
                <a:path w="66040" h="91440">
                  <a:moveTo>
                    <a:pt x="5816" y="83243"/>
                  </a:moveTo>
                  <a:lnTo>
                    <a:pt x="2933" y="86868"/>
                  </a:lnTo>
                  <a:lnTo>
                    <a:pt x="0" y="91274"/>
                  </a:lnTo>
                  <a:lnTo>
                    <a:pt x="5816" y="83243"/>
                  </a:lnTo>
                  <a:close/>
                </a:path>
                <a:path w="66040" h="91440">
                  <a:moveTo>
                    <a:pt x="17238" y="67767"/>
                  </a:moveTo>
                  <a:lnTo>
                    <a:pt x="9702" y="67767"/>
                  </a:lnTo>
                  <a:lnTo>
                    <a:pt x="14960" y="68059"/>
                  </a:lnTo>
                  <a:lnTo>
                    <a:pt x="16586" y="68186"/>
                  </a:lnTo>
                  <a:lnTo>
                    <a:pt x="16141" y="68922"/>
                  </a:lnTo>
                  <a:lnTo>
                    <a:pt x="13582" y="72520"/>
                  </a:lnTo>
                  <a:lnTo>
                    <a:pt x="5816" y="83243"/>
                  </a:lnTo>
                  <a:lnTo>
                    <a:pt x="12954" y="74269"/>
                  </a:lnTo>
                  <a:lnTo>
                    <a:pt x="15100" y="72123"/>
                  </a:lnTo>
                  <a:lnTo>
                    <a:pt x="17083" y="68922"/>
                  </a:lnTo>
                  <a:lnTo>
                    <a:pt x="17210" y="68186"/>
                  </a:lnTo>
                  <a:lnTo>
                    <a:pt x="17238" y="67767"/>
                  </a:lnTo>
                  <a:close/>
                </a:path>
                <a:path w="66040" h="91440">
                  <a:moveTo>
                    <a:pt x="65786" y="0"/>
                  </a:moveTo>
                  <a:lnTo>
                    <a:pt x="64325" y="1320"/>
                  </a:lnTo>
                  <a:lnTo>
                    <a:pt x="56769" y="8699"/>
                  </a:lnTo>
                  <a:lnTo>
                    <a:pt x="25907" y="37228"/>
                  </a:lnTo>
                  <a:lnTo>
                    <a:pt x="22758" y="40233"/>
                  </a:lnTo>
                  <a:lnTo>
                    <a:pt x="22313" y="40817"/>
                  </a:lnTo>
                  <a:lnTo>
                    <a:pt x="25781" y="40957"/>
                  </a:lnTo>
                  <a:lnTo>
                    <a:pt x="29337" y="41846"/>
                  </a:lnTo>
                  <a:lnTo>
                    <a:pt x="24803" y="47383"/>
                  </a:lnTo>
                  <a:lnTo>
                    <a:pt x="18948" y="54127"/>
                  </a:lnTo>
                  <a:lnTo>
                    <a:pt x="9563" y="66598"/>
                  </a:lnTo>
                  <a:lnTo>
                    <a:pt x="8102" y="68059"/>
                  </a:lnTo>
                  <a:lnTo>
                    <a:pt x="9702" y="67767"/>
                  </a:lnTo>
                  <a:lnTo>
                    <a:pt x="17238" y="67767"/>
                  </a:lnTo>
                  <a:lnTo>
                    <a:pt x="15709" y="66382"/>
                  </a:lnTo>
                  <a:lnTo>
                    <a:pt x="13779" y="65760"/>
                  </a:lnTo>
                  <a:lnTo>
                    <a:pt x="12585" y="65239"/>
                  </a:lnTo>
                  <a:lnTo>
                    <a:pt x="11150" y="64668"/>
                  </a:lnTo>
                  <a:lnTo>
                    <a:pt x="19024" y="55054"/>
                  </a:lnTo>
                  <a:lnTo>
                    <a:pt x="28435" y="44310"/>
                  </a:lnTo>
                  <a:lnTo>
                    <a:pt x="29565" y="42583"/>
                  </a:lnTo>
                  <a:lnTo>
                    <a:pt x="29845" y="40614"/>
                  </a:lnTo>
                  <a:lnTo>
                    <a:pt x="27216" y="39814"/>
                  </a:lnTo>
                  <a:lnTo>
                    <a:pt x="25158" y="38950"/>
                  </a:lnTo>
                  <a:lnTo>
                    <a:pt x="29895" y="34480"/>
                  </a:lnTo>
                  <a:lnTo>
                    <a:pt x="35877" y="29133"/>
                  </a:lnTo>
                  <a:lnTo>
                    <a:pt x="39763" y="25603"/>
                  </a:lnTo>
                  <a:lnTo>
                    <a:pt x="44310" y="21666"/>
                  </a:lnTo>
                  <a:lnTo>
                    <a:pt x="53314" y="12928"/>
                  </a:lnTo>
                  <a:lnTo>
                    <a:pt x="56400" y="10160"/>
                  </a:lnTo>
                  <a:lnTo>
                    <a:pt x="60960" y="5664"/>
                  </a:lnTo>
                  <a:lnTo>
                    <a:pt x="63360" y="3251"/>
                  </a:lnTo>
                  <a:lnTo>
                    <a:pt x="65786" y="0"/>
                  </a:lnTo>
                  <a:close/>
                </a:path>
              </a:pathLst>
            </a:custGeom>
            <a:solidFill>
              <a:srgbClr val="FEE46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4" name="object 1256">
              <a:extLst>
                <a:ext uri="{FF2B5EF4-FFF2-40B4-BE49-F238E27FC236}">
                  <a16:creationId xmlns:a16="http://schemas.microsoft.com/office/drawing/2014/main" id="{004ADCE2-64AE-4A94-8C56-02FC54EBD312}"/>
                </a:ext>
              </a:extLst>
            </p:cNvPr>
            <p:cNvSpPr/>
            <p:nvPr/>
          </p:nvSpPr>
          <p:spPr>
            <a:xfrm>
              <a:off x="8020268" y="6262368"/>
              <a:ext cx="65405" cy="90805"/>
            </a:xfrm>
            <a:custGeom>
              <a:avLst/>
              <a:gdLst/>
              <a:ahLst/>
              <a:cxnLst/>
              <a:rect l="l" t="t" r="r" b="b"/>
              <a:pathLst>
                <a:path w="65404" h="90804">
                  <a:moveTo>
                    <a:pt x="6785" y="80836"/>
                  </a:moveTo>
                  <a:lnTo>
                    <a:pt x="2468" y="86266"/>
                  </a:lnTo>
                  <a:lnTo>
                    <a:pt x="0" y="90195"/>
                  </a:lnTo>
                  <a:lnTo>
                    <a:pt x="6785" y="80836"/>
                  </a:lnTo>
                  <a:close/>
                </a:path>
                <a:path w="65404" h="90804">
                  <a:moveTo>
                    <a:pt x="16660" y="67195"/>
                  </a:moveTo>
                  <a:lnTo>
                    <a:pt x="9359" y="67195"/>
                  </a:lnTo>
                  <a:lnTo>
                    <a:pt x="14643" y="67500"/>
                  </a:lnTo>
                  <a:lnTo>
                    <a:pt x="16255" y="67640"/>
                  </a:lnTo>
                  <a:lnTo>
                    <a:pt x="15811" y="68376"/>
                  </a:lnTo>
                  <a:lnTo>
                    <a:pt x="13296" y="71884"/>
                  </a:lnTo>
                  <a:lnTo>
                    <a:pt x="6785" y="80836"/>
                  </a:lnTo>
                  <a:lnTo>
                    <a:pt x="12509" y="73647"/>
                  </a:lnTo>
                  <a:lnTo>
                    <a:pt x="14579" y="71577"/>
                  </a:lnTo>
                  <a:lnTo>
                    <a:pt x="16536" y="68376"/>
                  </a:lnTo>
                  <a:lnTo>
                    <a:pt x="16660" y="67195"/>
                  </a:lnTo>
                  <a:close/>
                </a:path>
                <a:path w="65404" h="90804">
                  <a:moveTo>
                    <a:pt x="10458" y="64383"/>
                  </a:moveTo>
                  <a:lnTo>
                    <a:pt x="9220" y="66027"/>
                  </a:lnTo>
                  <a:lnTo>
                    <a:pt x="7759" y="67500"/>
                  </a:lnTo>
                  <a:lnTo>
                    <a:pt x="9359" y="67195"/>
                  </a:lnTo>
                  <a:lnTo>
                    <a:pt x="16660" y="67195"/>
                  </a:lnTo>
                  <a:lnTo>
                    <a:pt x="15112" y="65912"/>
                  </a:lnTo>
                  <a:lnTo>
                    <a:pt x="13157" y="65303"/>
                  </a:lnTo>
                  <a:lnTo>
                    <a:pt x="10458" y="64383"/>
                  </a:lnTo>
                  <a:close/>
                </a:path>
                <a:path w="65404" h="90804">
                  <a:moveTo>
                    <a:pt x="12364" y="61852"/>
                  </a:moveTo>
                  <a:lnTo>
                    <a:pt x="10325" y="64338"/>
                  </a:lnTo>
                  <a:lnTo>
                    <a:pt x="10458" y="64383"/>
                  </a:lnTo>
                  <a:lnTo>
                    <a:pt x="12364" y="61852"/>
                  </a:lnTo>
                  <a:close/>
                </a:path>
                <a:path w="65404" h="90804">
                  <a:moveTo>
                    <a:pt x="28950" y="41325"/>
                  </a:moveTo>
                  <a:lnTo>
                    <a:pt x="24447" y="46850"/>
                  </a:lnTo>
                  <a:lnTo>
                    <a:pt x="18592" y="53581"/>
                  </a:lnTo>
                  <a:lnTo>
                    <a:pt x="12364" y="61852"/>
                  </a:lnTo>
                  <a:lnTo>
                    <a:pt x="18440" y="54444"/>
                  </a:lnTo>
                  <a:lnTo>
                    <a:pt x="27851" y="43599"/>
                  </a:lnTo>
                  <a:lnTo>
                    <a:pt x="28905" y="41973"/>
                  </a:lnTo>
                  <a:lnTo>
                    <a:pt x="28950" y="41325"/>
                  </a:lnTo>
                  <a:close/>
                </a:path>
                <a:path w="65404" h="90804">
                  <a:moveTo>
                    <a:pt x="64846" y="0"/>
                  </a:moveTo>
                  <a:lnTo>
                    <a:pt x="63385" y="1320"/>
                  </a:lnTo>
                  <a:lnTo>
                    <a:pt x="56362" y="8204"/>
                  </a:lnTo>
                  <a:lnTo>
                    <a:pt x="25544" y="36684"/>
                  </a:lnTo>
                  <a:lnTo>
                    <a:pt x="22402" y="39674"/>
                  </a:lnTo>
                  <a:lnTo>
                    <a:pt x="21958" y="40258"/>
                  </a:lnTo>
                  <a:lnTo>
                    <a:pt x="25438" y="40398"/>
                  </a:lnTo>
                  <a:lnTo>
                    <a:pt x="28953" y="41280"/>
                  </a:lnTo>
                  <a:lnTo>
                    <a:pt x="29032" y="40170"/>
                  </a:lnTo>
                  <a:lnTo>
                    <a:pt x="28105" y="40017"/>
                  </a:lnTo>
                  <a:lnTo>
                    <a:pt x="26276" y="39535"/>
                  </a:lnTo>
                  <a:lnTo>
                    <a:pt x="24129" y="38671"/>
                  </a:lnTo>
                  <a:lnTo>
                    <a:pt x="29044" y="34035"/>
                  </a:lnTo>
                  <a:lnTo>
                    <a:pt x="39204" y="24968"/>
                  </a:lnTo>
                  <a:lnTo>
                    <a:pt x="43687" y="21069"/>
                  </a:lnTo>
                  <a:lnTo>
                    <a:pt x="52412" y="12598"/>
                  </a:lnTo>
                  <a:lnTo>
                    <a:pt x="55194" y="10109"/>
                  </a:lnTo>
                  <a:lnTo>
                    <a:pt x="62331" y="3187"/>
                  </a:lnTo>
                  <a:lnTo>
                    <a:pt x="64846" y="0"/>
                  </a:lnTo>
                  <a:close/>
                </a:path>
              </a:pathLst>
            </a:custGeom>
            <a:solidFill>
              <a:srgbClr val="FEE66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5" name="object 1257">
              <a:extLst>
                <a:ext uri="{FF2B5EF4-FFF2-40B4-BE49-F238E27FC236}">
                  <a16:creationId xmlns:a16="http://schemas.microsoft.com/office/drawing/2014/main" id="{0D672D06-80E5-4E9A-A456-E250D799E9C5}"/>
                </a:ext>
              </a:extLst>
            </p:cNvPr>
            <p:cNvSpPr/>
            <p:nvPr/>
          </p:nvSpPr>
          <p:spPr>
            <a:xfrm>
              <a:off x="8020849" y="6254913"/>
              <a:ext cx="80645" cy="100965"/>
            </a:xfrm>
            <a:custGeom>
              <a:avLst/>
              <a:gdLst/>
              <a:ahLst/>
              <a:cxnLst/>
              <a:rect l="l" t="t" r="r" b="b"/>
              <a:pathLst>
                <a:path w="80645" h="100965">
                  <a:moveTo>
                    <a:pt x="80225" y="0"/>
                  </a:moveTo>
                  <a:lnTo>
                    <a:pt x="77889" y="3365"/>
                  </a:lnTo>
                  <a:lnTo>
                    <a:pt x="49230" y="30367"/>
                  </a:lnTo>
                  <a:lnTo>
                    <a:pt x="43332" y="36156"/>
                  </a:lnTo>
                  <a:lnTo>
                    <a:pt x="41668" y="37985"/>
                  </a:lnTo>
                  <a:lnTo>
                    <a:pt x="40157" y="45478"/>
                  </a:lnTo>
                  <a:lnTo>
                    <a:pt x="38061" y="49034"/>
                  </a:lnTo>
                  <a:lnTo>
                    <a:pt x="20193" y="67919"/>
                  </a:lnTo>
                  <a:lnTo>
                    <a:pt x="19824" y="69659"/>
                  </a:lnTo>
                  <a:lnTo>
                    <a:pt x="20586" y="72097"/>
                  </a:lnTo>
                  <a:lnTo>
                    <a:pt x="21729" y="72783"/>
                  </a:lnTo>
                  <a:lnTo>
                    <a:pt x="21526" y="74066"/>
                  </a:lnTo>
                  <a:lnTo>
                    <a:pt x="18202" y="79120"/>
                  </a:lnTo>
                  <a:lnTo>
                    <a:pt x="11201" y="87671"/>
                  </a:lnTo>
                  <a:lnTo>
                    <a:pt x="0" y="100723"/>
                  </a:lnTo>
                  <a:lnTo>
                    <a:pt x="30441" y="70942"/>
                  </a:lnTo>
                  <a:lnTo>
                    <a:pt x="22110" y="70269"/>
                  </a:lnTo>
                  <a:lnTo>
                    <a:pt x="22694" y="68948"/>
                  </a:lnTo>
                  <a:lnTo>
                    <a:pt x="27983" y="63779"/>
                  </a:lnTo>
                  <a:lnTo>
                    <a:pt x="51396" y="39814"/>
                  </a:lnTo>
                  <a:lnTo>
                    <a:pt x="45339" y="40106"/>
                  </a:lnTo>
                  <a:lnTo>
                    <a:pt x="46266" y="38938"/>
                  </a:lnTo>
                  <a:lnTo>
                    <a:pt x="62204" y="23458"/>
                  </a:lnTo>
                  <a:lnTo>
                    <a:pt x="78028" y="8635"/>
                  </a:lnTo>
                  <a:lnTo>
                    <a:pt x="79057" y="8051"/>
                  </a:lnTo>
                  <a:lnTo>
                    <a:pt x="80518" y="4089"/>
                  </a:lnTo>
                  <a:lnTo>
                    <a:pt x="80225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6" name="object 1258">
              <a:extLst>
                <a:ext uri="{FF2B5EF4-FFF2-40B4-BE49-F238E27FC236}">
                  <a16:creationId xmlns:a16="http://schemas.microsoft.com/office/drawing/2014/main" id="{6FEB4657-7591-4A4D-AC0B-ADCAF2944FF6}"/>
                </a:ext>
              </a:extLst>
            </p:cNvPr>
            <p:cNvSpPr/>
            <p:nvPr/>
          </p:nvSpPr>
          <p:spPr>
            <a:xfrm>
              <a:off x="8021615" y="6255396"/>
              <a:ext cx="80010" cy="99695"/>
            </a:xfrm>
            <a:custGeom>
              <a:avLst/>
              <a:gdLst/>
              <a:ahLst/>
              <a:cxnLst/>
              <a:rect l="l" t="t" r="r" b="b"/>
              <a:pathLst>
                <a:path w="80009" h="99695">
                  <a:moveTo>
                    <a:pt x="79209" y="0"/>
                  </a:moveTo>
                  <a:lnTo>
                    <a:pt x="76873" y="3301"/>
                  </a:lnTo>
                  <a:lnTo>
                    <a:pt x="48514" y="30047"/>
                  </a:lnTo>
                  <a:lnTo>
                    <a:pt x="42672" y="35788"/>
                  </a:lnTo>
                  <a:lnTo>
                    <a:pt x="41046" y="37579"/>
                  </a:lnTo>
                  <a:lnTo>
                    <a:pt x="39712" y="44894"/>
                  </a:lnTo>
                  <a:lnTo>
                    <a:pt x="37515" y="48488"/>
                  </a:lnTo>
                  <a:lnTo>
                    <a:pt x="19494" y="67487"/>
                  </a:lnTo>
                  <a:lnTo>
                    <a:pt x="19113" y="69189"/>
                  </a:lnTo>
                  <a:lnTo>
                    <a:pt x="19875" y="71589"/>
                  </a:lnTo>
                  <a:lnTo>
                    <a:pt x="21145" y="72212"/>
                  </a:lnTo>
                  <a:lnTo>
                    <a:pt x="20929" y="73545"/>
                  </a:lnTo>
                  <a:lnTo>
                    <a:pt x="17696" y="78483"/>
                  </a:lnTo>
                  <a:lnTo>
                    <a:pt x="10898" y="86774"/>
                  </a:lnTo>
                  <a:lnTo>
                    <a:pt x="0" y="99440"/>
                  </a:lnTo>
                  <a:lnTo>
                    <a:pt x="29603" y="70484"/>
                  </a:lnTo>
                  <a:lnTo>
                    <a:pt x="21323" y="69799"/>
                  </a:lnTo>
                  <a:lnTo>
                    <a:pt x="21907" y="68452"/>
                  </a:lnTo>
                  <a:lnTo>
                    <a:pt x="22796" y="67729"/>
                  </a:lnTo>
                  <a:lnTo>
                    <a:pt x="50596" y="39344"/>
                  </a:lnTo>
                  <a:lnTo>
                    <a:pt x="44551" y="39623"/>
                  </a:lnTo>
                  <a:lnTo>
                    <a:pt x="45478" y="38455"/>
                  </a:lnTo>
                  <a:lnTo>
                    <a:pt x="61393" y="22988"/>
                  </a:lnTo>
                  <a:lnTo>
                    <a:pt x="77203" y="8178"/>
                  </a:lnTo>
                  <a:lnTo>
                    <a:pt x="78206" y="7607"/>
                  </a:lnTo>
                  <a:lnTo>
                    <a:pt x="79578" y="3822"/>
                  </a:lnTo>
                  <a:lnTo>
                    <a:pt x="79209" y="0"/>
                  </a:lnTo>
                  <a:close/>
                </a:path>
              </a:pathLst>
            </a:custGeom>
            <a:solidFill>
              <a:srgbClr val="DAB2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7" name="object 1259">
              <a:extLst>
                <a:ext uri="{FF2B5EF4-FFF2-40B4-BE49-F238E27FC236}">
                  <a16:creationId xmlns:a16="http://schemas.microsoft.com/office/drawing/2014/main" id="{FE31A03C-E29B-418A-8DDC-8901A86B1F69}"/>
                </a:ext>
              </a:extLst>
            </p:cNvPr>
            <p:cNvSpPr/>
            <p:nvPr/>
          </p:nvSpPr>
          <p:spPr>
            <a:xfrm>
              <a:off x="8022369" y="6255879"/>
              <a:ext cx="78740" cy="98425"/>
            </a:xfrm>
            <a:custGeom>
              <a:avLst/>
              <a:gdLst/>
              <a:ahLst/>
              <a:cxnLst/>
              <a:rect l="l" t="t" r="r" b="b"/>
              <a:pathLst>
                <a:path w="78740" h="98425">
                  <a:moveTo>
                    <a:pt x="78206" y="0"/>
                  </a:moveTo>
                  <a:lnTo>
                    <a:pt x="75869" y="3251"/>
                  </a:lnTo>
                  <a:lnTo>
                    <a:pt x="47811" y="29739"/>
                  </a:lnTo>
                  <a:lnTo>
                    <a:pt x="42024" y="35433"/>
                  </a:lnTo>
                  <a:lnTo>
                    <a:pt x="40436" y="37185"/>
                  </a:lnTo>
                  <a:lnTo>
                    <a:pt x="39281" y="44310"/>
                  </a:lnTo>
                  <a:lnTo>
                    <a:pt x="36982" y="47955"/>
                  </a:lnTo>
                  <a:lnTo>
                    <a:pt x="18808" y="67043"/>
                  </a:lnTo>
                  <a:lnTo>
                    <a:pt x="18427" y="68719"/>
                  </a:lnTo>
                  <a:lnTo>
                    <a:pt x="19189" y="71094"/>
                  </a:lnTo>
                  <a:lnTo>
                    <a:pt x="20573" y="71628"/>
                  </a:lnTo>
                  <a:lnTo>
                    <a:pt x="20358" y="73037"/>
                  </a:lnTo>
                  <a:lnTo>
                    <a:pt x="17216" y="77848"/>
                  </a:lnTo>
                  <a:lnTo>
                    <a:pt x="10617" y="85874"/>
                  </a:lnTo>
                  <a:lnTo>
                    <a:pt x="0" y="98158"/>
                  </a:lnTo>
                  <a:lnTo>
                    <a:pt x="3226" y="95143"/>
                  </a:lnTo>
                  <a:lnTo>
                    <a:pt x="22106" y="76389"/>
                  </a:lnTo>
                  <a:lnTo>
                    <a:pt x="28790" y="70027"/>
                  </a:lnTo>
                  <a:lnTo>
                    <a:pt x="20548" y="69329"/>
                  </a:lnTo>
                  <a:lnTo>
                    <a:pt x="21145" y="67957"/>
                  </a:lnTo>
                  <a:lnTo>
                    <a:pt x="26429" y="62789"/>
                  </a:lnTo>
                  <a:lnTo>
                    <a:pt x="49809" y="38862"/>
                  </a:lnTo>
                  <a:lnTo>
                    <a:pt x="43776" y="39141"/>
                  </a:lnTo>
                  <a:lnTo>
                    <a:pt x="44703" y="37973"/>
                  </a:lnTo>
                  <a:lnTo>
                    <a:pt x="60599" y="22518"/>
                  </a:lnTo>
                  <a:lnTo>
                    <a:pt x="76390" y="7721"/>
                  </a:lnTo>
                  <a:lnTo>
                    <a:pt x="77368" y="7162"/>
                  </a:lnTo>
                  <a:lnTo>
                    <a:pt x="78663" y="3556"/>
                  </a:lnTo>
                  <a:lnTo>
                    <a:pt x="78206" y="0"/>
                  </a:lnTo>
                  <a:close/>
                </a:path>
              </a:pathLst>
            </a:custGeom>
            <a:solidFill>
              <a:srgbClr val="D9B0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8" name="object 1260">
              <a:extLst>
                <a:ext uri="{FF2B5EF4-FFF2-40B4-BE49-F238E27FC236}">
                  <a16:creationId xmlns:a16="http://schemas.microsoft.com/office/drawing/2014/main" id="{AC959127-BE7E-4936-B3A8-3F32B175B1D4}"/>
                </a:ext>
              </a:extLst>
            </p:cNvPr>
            <p:cNvSpPr/>
            <p:nvPr/>
          </p:nvSpPr>
          <p:spPr>
            <a:xfrm>
              <a:off x="8023135" y="6256374"/>
              <a:ext cx="78105" cy="97155"/>
            </a:xfrm>
            <a:custGeom>
              <a:avLst/>
              <a:gdLst/>
              <a:ahLst/>
              <a:cxnLst/>
              <a:rect l="l" t="t" r="r" b="b"/>
              <a:pathLst>
                <a:path w="78104" h="97154">
                  <a:moveTo>
                    <a:pt x="77190" y="0"/>
                  </a:moveTo>
                  <a:lnTo>
                    <a:pt x="74841" y="3174"/>
                  </a:lnTo>
                  <a:lnTo>
                    <a:pt x="47093" y="29406"/>
                  </a:lnTo>
                  <a:lnTo>
                    <a:pt x="39801" y="36766"/>
                  </a:lnTo>
                  <a:lnTo>
                    <a:pt x="38836" y="43726"/>
                  </a:lnTo>
                  <a:lnTo>
                    <a:pt x="36423" y="47396"/>
                  </a:lnTo>
                  <a:lnTo>
                    <a:pt x="18110" y="66598"/>
                  </a:lnTo>
                  <a:lnTo>
                    <a:pt x="17716" y="68237"/>
                  </a:lnTo>
                  <a:lnTo>
                    <a:pt x="18491" y="70573"/>
                  </a:lnTo>
                  <a:lnTo>
                    <a:pt x="19989" y="71031"/>
                  </a:lnTo>
                  <a:lnTo>
                    <a:pt x="19761" y="72516"/>
                  </a:lnTo>
                  <a:lnTo>
                    <a:pt x="16711" y="77203"/>
                  </a:lnTo>
                  <a:lnTo>
                    <a:pt x="10313" y="84967"/>
                  </a:lnTo>
                  <a:lnTo>
                    <a:pt x="0" y="96875"/>
                  </a:lnTo>
                  <a:lnTo>
                    <a:pt x="3083" y="93995"/>
                  </a:lnTo>
                  <a:lnTo>
                    <a:pt x="21395" y="75799"/>
                  </a:lnTo>
                  <a:lnTo>
                    <a:pt x="27965" y="69545"/>
                  </a:lnTo>
                  <a:lnTo>
                    <a:pt x="19761" y="68846"/>
                  </a:lnTo>
                  <a:lnTo>
                    <a:pt x="20358" y="67449"/>
                  </a:lnTo>
                  <a:lnTo>
                    <a:pt x="25651" y="62283"/>
                  </a:lnTo>
                  <a:lnTo>
                    <a:pt x="49009" y="38379"/>
                  </a:lnTo>
                  <a:lnTo>
                    <a:pt x="42989" y="38646"/>
                  </a:lnTo>
                  <a:lnTo>
                    <a:pt x="43916" y="37477"/>
                  </a:lnTo>
                  <a:lnTo>
                    <a:pt x="59791" y="22040"/>
                  </a:lnTo>
                  <a:lnTo>
                    <a:pt x="75552" y="7251"/>
                  </a:lnTo>
                  <a:lnTo>
                    <a:pt x="76517" y="6705"/>
                  </a:lnTo>
                  <a:lnTo>
                    <a:pt x="77723" y="3263"/>
                  </a:lnTo>
                  <a:lnTo>
                    <a:pt x="77190" y="0"/>
                  </a:lnTo>
                  <a:close/>
                </a:path>
              </a:pathLst>
            </a:custGeom>
            <a:solidFill>
              <a:srgbClr val="D6AE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69" name="object 1261">
              <a:extLst>
                <a:ext uri="{FF2B5EF4-FFF2-40B4-BE49-F238E27FC236}">
                  <a16:creationId xmlns:a16="http://schemas.microsoft.com/office/drawing/2014/main" id="{7F74D005-665D-4EC8-8FF7-834E0A411748}"/>
                </a:ext>
              </a:extLst>
            </p:cNvPr>
            <p:cNvSpPr/>
            <p:nvPr/>
          </p:nvSpPr>
          <p:spPr>
            <a:xfrm>
              <a:off x="8023889" y="6256856"/>
              <a:ext cx="76835" cy="95885"/>
            </a:xfrm>
            <a:custGeom>
              <a:avLst/>
              <a:gdLst/>
              <a:ahLst/>
              <a:cxnLst/>
              <a:rect l="l" t="t" r="r" b="b"/>
              <a:pathLst>
                <a:path w="76834" h="95884">
                  <a:moveTo>
                    <a:pt x="76187" y="0"/>
                  </a:moveTo>
                  <a:lnTo>
                    <a:pt x="73837" y="3124"/>
                  </a:lnTo>
                  <a:lnTo>
                    <a:pt x="46384" y="29092"/>
                  </a:lnTo>
                  <a:lnTo>
                    <a:pt x="40716" y="34683"/>
                  </a:lnTo>
                  <a:lnTo>
                    <a:pt x="39192" y="36360"/>
                  </a:lnTo>
                  <a:lnTo>
                    <a:pt x="38404" y="43141"/>
                  </a:lnTo>
                  <a:lnTo>
                    <a:pt x="35890" y="46850"/>
                  </a:lnTo>
                  <a:lnTo>
                    <a:pt x="17424" y="66167"/>
                  </a:lnTo>
                  <a:lnTo>
                    <a:pt x="17030" y="67779"/>
                  </a:lnTo>
                  <a:lnTo>
                    <a:pt x="17792" y="70065"/>
                  </a:lnTo>
                  <a:lnTo>
                    <a:pt x="19418" y="70446"/>
                  </a:lnTo>
                  <a:lnTo>
                    <a:pt x="19177" y="71996"/>
                  </a:lnTo>
                  <a:lnTo>
                    <a:pt x="16219" y="76563"/>
                  </a:lnTo>
                  <a:lnTo>
                    <a:pt x="10026" y="84066"/>
                  </a:lnTo>
                  <a:lnTo>
                    <a:pt x="0" y="95592"/>
                  </a:lnTo>
                  <a:lnTo>
                    <a:pt x="2947" y="92848"/>
                  </a:lnTo>
                  <a:lnTo>
                    <a:pt x="20691" y="75220"/>
                  </a:lnTo>
                  <a:lnTo>
                    <a:pt x="27152" y="69088"/>
                  </a:lnTo>
                  <a:lnTo>
                    <a:pt x="18986" y="68376"/>
                  </a:lnTo>
                  <a:lnTo>
                    <a:pt x="19596" y="66954"/>
                  </a:lnTo>
                  <a:lnTo>
                    <a:pt x="24876" y="61792"/>
                  </a:lnTo>
                  <a:lnTo>
                    <a:pt x="48234" y="37896"/>
                  </a:lnTo>
                  <a:lnTo>
                    <a:pt x="42214" y="38163"/>
                  </a:lnTo>
                  <a:lnTo>
                    <a:pt x="43141" y="36995"/>
                  </a:lnTo>
                  <a:lnTo>
                    <a:pt x="58993" y="21572"/>
                  </a:lnTo>
                  <a:lnTo>
                    <a:pt x="74739" y="6807"/>
                  </a:lnTo>
                  <a:lnTo>
                    <a:pt x="75679" y="6273"/>
                  </a:lnTo>
                  <a:lnTo>
                    <a:pt x="76809" y="2997"/>
                  </a:lnTo>
                  <a:lnTo>
                    <a:pt x="76187" y="0"/>
                  </a:lnTo>
                  <a:close/>
                </a:path>
              </a:pathLst>
            </a:custGeom>
            <a:solidFill>
              <a:srgbClr val="D4AD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0" name="object 1262">
              <a:extLst>
                <a:ext uri="{FF2B5EF4-FFF2-40B4-BE49-F238E27FC236}">
                  <a16:creationId xmlns:a16="http://schemas.microsoft.com/office/drawing/2014/main" id="{7B7FE873-45C0-4EEE-9E6F-7338A00BC79A}"/>
                </a:ext>
              </a:extLst>
            </p:cNvPr>
            <p:cNvSpPr/>
            <p:nvPr/>
          </p:nvSpPr>
          <p:spPr>
            <a:xfrm>
              <a:off x="8024645" y="6257352"/>
              <a:ext cx="76200" cy="94615"/>
            </a:xfrm>
            <a:custGeom>
              <a:avLst/>
              <a:gdLst/>
              <a:ahLst/>
              <a:cxnLst/>
              <a:rect l="l" t="t" r="r" b="b"/>
              <a:pathLst>
                <a:path w="76200" h="94615">
                  <a:moveTo>
                    <a:pt x="75171" y="0"/>
                  </a:moveTo>
                  <a:lnTo>
                    <a:pt x="72834" y="3047"/>
                  </a:lnTo>
                  <a:lnTo>
                    <a:pt x="45683" y="28764"/>
                  </a:lnTo>
                  <a:lnTo>
                    <a:pt x="38582" y="35940"/>
                  </a:lnTo>
                  <a:lnTo>
                    <a:pt x="37973" y="42544"/>
                  </a:lnTo>
                  <a:lnTo>
                    <a:pt x="34164" y="47239"/>
                  </a:lnTo>
                  <a:lnTo>
                    <a:pt x="16738" y="65709"/>
                  </a:lnTo>
                  <a:lnTo>
                    <a:pt x="16332" y="67309"/>
                  </a:lnTo>
                  <a:lnTo>
                    <a:pt x="17106" y="69557"/>
                  </a:lnTo>
                  <a:lnTo>
                    <a:pt x="18846" y="69849"/>
                  </a:lnTo>
                  <a:lnTo>
                    <a:pt x="18592" y="71462"/>
                  </a:lnTo>
                  <a:lnTo>
                    <a:pt x="15732" y="75916"/>
                  </a:lnTo>
                  <a:lnTo>
                    <a:pt x="9739" y="83158"/>
                  </a:lnTo>
                  <a:lnTo>
                    <a:pt x="0" y="94310"/>
                  </a:lnTo>
                  <a:lnTo>
                    <a:pt x="2817" y="91705"/>
                  </a:lnTo>
                  <a:lnTo>
                    <a:pt x="19995" y="74627"/>
                  </a:lnTo>
                  <a:lnTo>
                    <a:pt x="26327" y="68618"/>
                  </a:lnTo>
                  <a:lnTo>
                    <a:pt x="18211" y="67894"/>
                  </a:lnTo>
                  <a:lnTo>
                    <a:pt x="18834" y="66433"/>
                  </a:lnTo>
                  <a:lnTo>
                    <a:pt x="24110" y="61281"/>
                  </a:lnTo>
                  <a:lnTo>
                    <a:pt x="47459" y="37414"/>
                  </a:lnTo>
                  <a:lnTo>
                    <a:pt x="41440" y="37668"/>
                  </a:lnTo>
                  <a:lnTo>
                    <a:pt x="42367" y="36499"/>
                  </a:lnTo>
                  <a:lnTo>
                    <a:pt x="58199" y="21089"/>
                  </a:lnTo>
                  <a:lnTo>
                    <a:pt x="73926" y="6337"/>
                  </a:lnTo>
                  <a:lnTo>
                    <a:pt x="74841" y="5816"/>
                  </a:lnTo>
                  <a:lnTo>
                    <a:pt x="75895" y="2705"/>
                  </a:lnTo>
                  <a:lnTo>
                    <a:pt x="75171" y="0"/>
                  </a:lnTo>
                  <a:close/>
                </a:path>
              </a:pathLst>
            </a:custGeom>
            <a:solidFill>
              <a:srgbClr val="D3AB2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1" name="object 1263">
              <a:extLst>
                <a:ext uri="{FF2B5EF4-FFF2-40B4-BE49-F238E27FC236}">
                  <a16:creationId xmlns:a16="http://schemas.microsoft.com/office/drawing/2014/main" id="{9A33A7B6-6AFC-4ECC-A902-E941DE6DBF32}"/>
                </a:ext>
              </a:extLst>
            </p:cNvPr>
            <p:cNvSpPr/>
            <p:nvPr/>
          </p:nvSpPr>
          <p:spPr>
            <a:xfrm>
              <a:off x="8025407" y="6257834"/>
              <a:ext cx="75565" cy="93345"/>
            </a:xfrm>
            <a:custGeom>
              <a:avLst/>
              <a:gdLst/>
              <a:ahLst/>
              <a:cxnLst/>
              <a:rect l="l" t="t" r="r" b="b"/>
              <a:pathLst>
                <a:path w="75565" h="93345">
                  <a:moveTo>
                    <a:pt x="74168" y="0"/>
                  </a:moveTo>
                  <a:lnTo>
                    <a:pt x="71818" y="2997"/>
                  </a:lnTo>
                  <a:lnTo>
                    <a:pt x="44967" y="28445"/>
                  </a:lnTo>
                  <a:lnTo>
                    <a:pt x="37960" y="35534"/>
                  </a:lnTo>
                  <a:lnTo>
                    <a:pt x="37528" y="41960"/>
                  </a:lnTo>
                  <a:lnTo>
                    <a:pt x="33604" y="46713"/>
                  </a:lnTo>
                  <a:lnTo>
                    <a:pt x="16052" y="65290"/>
                  </a:lnTo>
                  <a:lnTo>
                    <a:pt x="15633" y="66827"/>
                  </a:lnTo>
                  <a:lnTo>
                    <a:pt x="16408" y="69049"/>
                  </a:lnTo>
                  <a:lnTo>
                    <a:pt x="18275" y="69265"/>
                  </a:lnTo>
                  <a:lnTo>
                    <a:pt x="18008" y="70942"/>
                  </a:lnTo>
                  <a:lnTo>
                    <a:pt x="15239" y="75278"/>
                  </a:lnTo>
                  <a:lnTo>
                    <a:pt x="9447" y="82261"/>
                  </a:lnTo>
                  <a:lnTo>
                    <a:pt x="0" y="93027"/>
                  </a:lnTo>
                  <a:lnTo>
                    <a:pt x="2675" y="90558"/>
                  </a:lnTo>
                  <a:lnTo>
                    <a:pt x="19289" y="74048"/>
                  </a:lnTo>
                  <a:lnTo>
                    <a:pt x="25501" y="68148"/>
                  </a:lnTo>
                  <a:lnTo>
                    <a:pt x="17424" y="67437"/>
                  </a:lnTo>
                  <a:lnTo>
                    <a:pt x="18046" y="65951"/>
                  </a:lnTo>
                  <a:lnTo>
                    <a:pt x="23328" y="60789"/>
                  </a:lnTo>
                  <a:lnTo>
                    <a:pt x="46659" y="36944"/>
                  </a:lnTo>
                  <a:lnTo>
                    <a:pt x="40652" y="37185"/>
                  </a:lnTo>
                  <a:lnTo>
                    <a:pt x="41579" y="36017"/>
                  </a:lnTo>
                  <a:lnTo>
                    <a:pt x="57392" y="20620"/>
                  </a:lnTo>
                  <a:lnTo>
                    <a:pt x="73101" y="5880"/>
                  </a:lnTo>
                  <a:lnTo>
                    <a:pt x="73990" y="5372"/>
                  </a:lnTo>
                  <a:lnTo>
                    <a:pt x="74955" y="2438"/>
                  </a:lnTo>
                  <a:lnTo>
                    <a:pt x="74168" y="0"/>
                  </a:lnTo>
                  <a:close/>
                </a:path>
              </a:pathLst>
            </a:custGeom>
            <a:solidFill>
              <a:srgbClr val="D1AA2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2" name="object 1264">
              <a:extLst>
                <a:ext uri="{FF2B5EF4-FFF2-40B4-BE49-F238E27FC236}">
                  <a16:creationId xmlns:a16="http://schemas.microsoft.com/office/drawing/2014/main" id="{E4B97205-6039-409E-B29B-4AC8FDEE90D2}"/>
                </a:ext>
              </a:extLst>
            </p:cNvPr>
            <p:cNvSpPr/>
            <p:nvPr/>
          </p:nvSpPr>
          <p:spPr>
            <a:xfrm>
              <a:off x="8026175" y="6258330"/>
              <a:ext cx="74295" cy="92075"/>
            </a:xfrm>
            <a:custGeom>
              <a:avLst/>
              <a:gdLst/>
              <a:ahLst/>
              <a:cxnLst/>
              <a:rect l="l" t="t" r="r" b="b"/>
              <a:pathLst>
                <a:path w="74295" h="92075">
                  <a:moveTo>
                    <a:pt x="73139" y="0"/>
                  </a:moveTo>
                  <a:lnTo>
                    <a:pt x="70802" y="2920"/>
                  </a:lnTo>
                  <a:lnTo>
                    <a:pt x="44244" y="28117"/>
                  </a:lnTo>
                  <a:lnTo>
                    <a:pt x="37325" y="35115"/>
                  </a:lnTo>
                  <a:lnTo>
                    <a:pt x="37083" y="41376"/>
                  </a:lnTo>
                  <a:lnTo>
                    <a:pt x="33048" y="46178"/>
                  </a:lnTo>
                  <a:lnTo>
                    <a:pt x="15341" y="64833"/>
                  </a:lnTo>
                  <a:lnTo>
                    <a:pt x="14922" y="66357"/>
                  </a:lnTo>
                  <a:lnTo>
                    <a:pt x="15697" y="68541"/>
                  </a:lnTo>
                  <a:lnTo>
                    <a:pt x="17691" y="68681"/>
                  </a:lnTo>
                  <a:lnTo>
                    <a:pt x="17411" y="70408"/>
                  </a:lnTo>
                  <a:lnTo>
                    <a:pt x="14733" y="74626"/>
                  </a:lnTo>
                  <a:lnTo>
                    <a:pt x="9143" y="81346"/>
                  </a:lnTo>
                  <a:lnTo>
                    <a:pt x="0" y="91732"/>
                  </a:lnTo>
                  <a:lnTo>
                    <a:pt x="2530" y="89404"/>
                  </a:lnTo>
                  <a:lnTo>
                    <a:pt x="18573" y="73453"/>
                  </a:lnTo>
                  <a:lnTo>
                    <a:pt x="24676" y="67678"/>
                  </a:lnTo>
                  <a:lnTo>
                    <a:pt x="16636" y="66941"/>
                  </a:lnTo>
                  <a:lnTo>
                    <a:pt x="17271" y="65430"/>
                  </a:lnTo>
                  <a:lnTo>
                    <a:pt x="18148" y="64706"/>
                  </a:lnTo>
                  <a:lnTo>
                    <a:pt x="45859" y="36448"/>
                  </a:lnTo>
                  <a:lnTo>
                    <a:pt x="39865" y="36690"/>
                  </a:lnTo>
                  <a:lnTo>
                    <a:pt x="40792" y="35521"/>
                  </a:lnTo>
                  <a:lnTo>
                    <a:pt x="56584" y="20137"/>
                  </a:lnTo>
                  <a:lnTo>
                    <a:pt x="72262" y="5410"/>
                  </a:lnTo>
                  <a:lnTo>
                    <a:pt x="73126" y="4914"/>
                  </a:lnTo>
                  <a:lnTo>
                    <a:pt x="74028" y="2158"/>
                  </a:lnTo>
                  <a:lnTo>
                    <a:pt x="73139" y="0"/>
                  </a:lnTo>
                  <a:close/>
                </a:path>
              </a:pathLst>
            </a:custGeom>
            <a:solidFill>
              <a:srgbClr val="CFAA2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3" name="object 1265">
              <a:extLst>
                <a:ext uri="{FF2B5EF4-FFF2-40B4-BE49-F238E27FC236}">
                  <a16:creationId xmlns:a16="http://schemas.microsoft.com/office/drawing/2014/main" id="{04A1B645-2FF1-4491-9FB4-50BCE24F8989}"/>
                </a:ext>
              </a:extLst>
            </p:cNvPr>
            <p:cNvSpPr/>
            <p:nvPr/>
          </p:nvSpPr>
          <p:spPr>
            <a:xfrm>
              <a:off x="8026928" y="6258812"/>
              <a:ext cx="73660" cy="90805"/>
            </a:xfrm>
            <a:custGeom>
              <a:avLst/>
              <a:gdLst/>
              <a:ahLst/>
              <a:cxnLst/>
              <a:rect l="l" t="t" r="r" b="b"/>
              <a:pathLst>
                <a:path w="73659" h="90804">
                  <a:moveTo>
                    <a:pt x="72135" y="0"/>
                  </a:moveTo>
                  <a:lnTo>
                    <a:pt x="69799" y="2870"/>
                  </a:lnTo>
                  <a:lnTo>
                    <a:pt x="43540" y="27804"/>
                  </a:lnTo>
                  <a:lnTo>
                    <a:pt x="36715" y="34721"/>
                  </a:lnTo>
                  <a:lnTo>
                    <a:pt x="36563" y="39446"/>
                  </a:lnTo>
                  <a:lnTo>
                    <a:pt x="36652" y="40792"/>
                  </a:lnTo>
                  <a:lnTo>
                    <a:pt x="32504" y="45658"/>
                  </a:lnTo>
                  <a:lnTo>
                    <a:pt x="14668" y="64401"/>
                  </a:lnTo>
                  <a:lnTo>
                    <a:pt x="14223" y="65887"/>
                  </a:lnTo>
                  <a:lnTo>
                    <a:pt x="15011" y="68033"/>
                  </a:lnTo>
                  <a:lnTo>
                    <a:pt x="17119" y="68097"/>
                  </a:lnTo>
                  <a:lnTo>
                    <a:pt x="16840" y="69900"/>
                  </a:lnTo>
                  <a:lnTo>
                    <a:pt x="14248" y="73992"/>
                  </a:lnTo>
                  <a:lnTo>
                    <a:pt x="8858" y="80448"/>
                  </a:lnTo>
                  <a:lnTo>
                    <a:pt x="0" y="90462"/>
                  </a:lnTo>
                  <a:lnTo>
                    <a:pt x="2401" y="88268"/>
                  </a:lnTo>
                  <a:lnTo>
                    <a:pt x="17882" y="72875"/>
                  </a:lnTo>
                  <a:lnTo>
                    <a:pt x="23850" y="67221"/>
                  </a:lnTo>
                  <a:lnTo>
                    <a:pt x="15862" y="66484"/>
                  </a:lnTo>
                  <a:lnTo>
                    <a:pt x="16497" y="64935"/>
                  </a:lnTo>
                  <a:lnTo>
                    <a:pt x="17386" y="64198"/>
                  </a:lnTo>
                  <a:lnTo>
                    <a:pt x="45084" y="35966"/>
                  </a:lnTo>
                  <a:lnTo>
                    <a:pt x="39090" y="36207"/>
                  </a:lnTo>
                  <a:lnTo>
                    <a:pt x="40017" y="35039"/>
                  </a:lnTo>
                  <a:lnTo>
                    <a:pt x="55786" y="19673"/>
                  </a:lnTo>
                  <a:lnTo>
                    <a:pt x="66269" y="9705"/>
                  </a:lnTo>
                  <a:lnTo>
                    <a:pt x="71450" y="4965"/>
                  </a:lnTo>
                  <a:lnTo>
                    <a:pt x="72288" y="4470"/>
                  </a:lnTo>
                  <a:lnTo>
                    <a:pt x="73101" y="1879"/>
                  </a:lnTo>
                  <a:lnTo>
                    <a:pt x="72135" y="0"/>
                  </a:lnTo>
                  <a:close/>
                </a:path>
              </a:pathLst>
            </a:custGeom>
            <a:solidFill>
              <a:srgbClr val="CEA9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4" name="object 1266">
              <a:extLst>
                <a:ext uri="{FF2B5EF4-FFF2-40B4-BE49-F238E27FC236}">
                  <a16:creationId xmlns:a16="http://schemas.microsoft.com/office/drawing/2014/main" id="{F2C5173D-2FBB-44F2-B4C2-E8E9E164888A}"/>
                </a:ext>
              </a:extLst>
            </p:cNvPr>
            <p:cNvSpPr/>
            <p:nvPr/>
          </p:nvSpPr>
          <p:spPr>
            <a:xfrm>
              <a:off x="8027694" y="6259295"/>
              <a:ext cx="72390" cy="89535"/>
            </a:xfrm>
            <a:custGeom>
              <a:avLst/>
              <a:gdLst/>
              <a:ahLst/>
              <a:cxnLst/>
              <a:rect l="l" t="t" r="r" b="b"/>
              <a:pathLst>
                <a:path w="72390" h="89534">
                  <a:moveTo>
                    <a:pt x="71132" y="0"/>
                  </a:moveTo>
                  <a:lnTo>
                    <a:pt x="68783" y="2806"/>
                  </a:lnTo>
                  <a:lnTo>
                    <a:pt x="42830" y="27483"/>
                  </a:lnTo>
                  <a:lnTo>
                    <a:pt x="36093" y="34315"/>
                  </a:lnTo>
                  <a:lnTo>
                    <a:pt x="36207" y="40208"/>
                  </a:lnTo>
                  <a:lnTo>
                    <a:pt x="31944" y="45132"/>
                  </a:lnTo>
                  <a:lnTo>
                    <a:pt x="13970" y="63969"/>
                  </a:lnTo>
                  <a:lnTo>
                    <a:pt x="13525" y="65417"/>
                  </a:lnTo>
                  <a:lnTo>
                    <a:pt x="14300" y="67525"/>
                  </a:lnTo>
                  <a:lnTo>
                    <a:pt x="16535" y="67513"/>
                  </a:lnTo>
                  <a:lnTo>
                    <a:pt x="16243" y="69380"/>
                  </a:lnTo>
                  <a:lnTo>
                    <a:pt x="13749" y="73359"/>
                  </a:lnTo>
                  <a:lnTo>
                    <a:pt x="8564" y="79555"/>
                  </a:lnTo>
                  <a:lnTo>
                    <a:pt x="0" y="89179"/>
                  </a:lnTo>
                  <a:lnTo>
                    <a:pt x="2258" y="87127"/>
                  </a:lnTo>
                  <a:lnTo>
                    <a:pt x="17166" y="72298"/>
                  </a:lnTo>
                  <a:lnTo>
                    <a:pt x="23025" y="66751"/>
                  </a:lnTo>
                  <a:lnTo>
                    <a:pt x="15074" y="66014"/>
                  </a:lnTo>
                  <a:lnTo>
                    <a:pt x="15722" y="64439"/>
                  </a:lnTo>
                  <a:lnTo>
                    <a:pt x="16598" y="63715"/>
                  </a:lnTo>
                  <a:lnTo>
                    <a:pt x="44284" y="35496"/>
                  </a:lnTo>
                  <a:lnTo>
                    <a:pt x="38303" y="35725"/>
                  </a:lnTo>
                  <a:lnTo>
                    <a:pt x="39230" y="34556"/>
                  </a:lnTo>
                  <a:lnTo>
                    <a:pt x="54979" y="19203"/>
                  </a:lnTo>
                  <a:lnTo>
                    <a:pt x="65449" y="9244"/>
                  </a:lnTo>
                  <a:lnTo>
                    <a:pt x="70624" y="4508"/>
                  </a:lnTo>
                  <a:lnTo>
                    <a:pt x="71437" y="4038"/>
                  </a:lnTo>
                  <a:lnTo>
                    <a:pt x="72161" y="1612"/>
                  </a:lnTo>
                  <a:lnTo>
                    <a:pt x="71577" y="863"/>
                  </a:lnTo>
                  <a:lnTo>
                    <a:pt x="71132" y="0"/>
                  </a:lnTo>
                  <a:close/>
                </a:path>
              </a:pathLst>
            </a:custGeom>
            <a:solidFill>
              <a:srgbClr val="CBA6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5" name="object 1267">
              <a:extLst>
                <a:ext uri="{FF2B5EF4-FFF2-40B4-BE49-F238E27FC236}">
                  <a16:creationId xmlns:a16="http://schemas.microsoft.com/office/drawing/2014/main" id="{A5E7EDDB-DA97-4BFB-B9F6-B7549BCD120B}"/>
                </a:ext>
              </a:extLst>
            </p:cNvPr>
            <p:cNvSpPr/>
            <p:nvPr/>
          </p:nvSpPr>
          <p:spPr>
            <a:xfrm>
              <a:off x="8028448" y="6259790"/>
              <a:ext cx="71755" cy="88265"/>
            </a:xfrm>
            <a:custGeom>
              <a:avLst/>
              <a:gdLst/>
              <a:ahLst/>
              <a:cxnLst/>
              <a:rect l="l" t="t" r="r" b="b"/>
              <a:pathLst>
                <a:path w="71754" h="88265">
                  <a:moveTo>
                    <a:pt x="70116" y="0"/>
                  </a:moveTo>
                  <a:lnTo>
                    <a:pt x="67779" y="2743"/>
                  </a:lnTo>
                  <a:lnTo>
                    <a:pt x="42121" y="27155"/>
                  </a:lnTo>
                  <a:lnTo>
                    <a:pt x="35471" y="33896"/>
                  </a:lnTo>
                  <a:lnTo>
                    <a:pt x="35610" y="38315"/>
                  </a:lnTo>
                  <a:lnTo>
                    <a:pt x="35775" y="39624"/>
                  </a:lnTo>
                  <a:lnTo>
                    <a:pt x="31400" y="44592"/>
                  </a:lnTo>
                  <a:lnTo>
                    <a:pt x="13284" y="63525"/>
                  </a:lnTo>
                  <a:lnTo>
                    <a:pt x="12839" y="64947"/>
                  </a:lnTo>
                  <a:lnTo>
                    <a:pt x="13614" y="67017"/>
                  </a:lnTo>
                  <a:lnTo>
                    <a:pt x="15976" y="66916"/>
                  </a:lnTo>
                  <a:lnTo>
                    <a:pt x="15227" y="71628"/>
                  </a:lnTo>
                  <a:lnTo>
                    <a:pt x="1612" y="85839"/>
                  </a:lnTo>
                  <a:lnTo>
                    <a:pt x="0" y="87884"/>
                  </a:lnTo>
                  <a:lnTo>
                    <a:pt x="2127" y="85968"/>
                  </a:lnTo>
                  <a:lnTo>
                    <a:pt x="16469" y="71706"/>
                  </a:lnTo>
                  <a:lnTo>
                    <a:pt x="22212" y="66281"/>
                  </a:lnTo>
                  <a:lnTo>
                    <a:pt x="14300" y="65532"/>
                  </a:lnTo>
                  <a:lnTo>
                    <a:pt x="14960" y="63931"/>
                  </a:lnTo>
                  <a:lnTo>
                    <a:pt x="20226" y="58789"/>
                  </a:lnTo>
                  <a:lnTo>
                    <a:pt x="43510" y="35013"/>
                  </a:lnTo>
                  <a:lnTo>
                    <a:pt x="37528" y="35229"/>
                  </a:lnTo>
                  <a:lnTo>
                    <a:pt x="38455" y="34061"/>
                  </a:lnTo>
                  <a:lnTo>
                    <a:pt x="54184" y="18721"/>
                  </a:lnTo>
                  <a:lnTo>
                    <a:pt x="64637" y="8770"/>
                  </a:lnTo>
                  <a:lnTo>
                    <a:pt x="69799" y="4038"/>
                  </a:lnTo>
                  <a:lnTo>
                    <a:pt x="70599" y="3581"/>
                  </a:lnTo>
                  <a:lnTo>
                    <a:pt x="71247" y="1333"/>
                  </a:lnTo>
                  <a:lnTo>
                    <a:pt x="70612" y="723"/>
                  </a:lnTo>
                  <a:lnTo>
                    <a:pt x="70116" y="0"/>
                  </a:lnTo>
                  <a:close/>
                </a:path>
              </a:pathLst>
            </a:custGeom>
            <a:solidFill>
              <a:srgbClr val="CAA5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6" name="object 1268">
              <a:extLst>
                <a:ext uri="{FF2B5EF4-FFF2-40B4-BE49-F238E27FC236}">
                  <a16:creationId xmlns:a16="http://schemas.microsoft.com/office/drawing/2014/main" id="{D981C9BF-0B91-4262-BAF5-B1F9133792D6}"/>
                </a:ext>
              </a:extLst>
            </p:cNvPr>
            <p:cNvSpPr/>
            <p:nvPr/>
          </p:nvSpPr>
          <p:spPr>
            <a:xfrm>
              <a:off x="8029214" y="6260273"/>
              <a:ext cx="70485" cy="86995"/>
            </a:xfrm>
            <a:custGeom>
              <a:avLst/>
              <a:gdLst/>
              <a:ahLst/>
              <a:cxnLst/>
              <a:rect l="l" t="t" r="r" b="b"/>
              <a:pathLst>
                <a:path w="70484" h="86995">
                  <a:moveTo>
                    <a:pt x="69100" y="0"/>
                  </a:moveTo>
                  <a:lnTo>
                    <a:pt x="66763" y="2679"/>
                  </a:lnTo>
                  <a:lnTo>
                    <a:pt x="41405" y="26837"/>
                  </a:lnTo>
                  <a:lnTo>
                    <a:pt x="34848" y="33489"/>
                  </a:lnTo>
                  <a:lnTo>
                    <a:pt x="34950" y="36461"/>
                  </a:lnTo>
                  <a:lnTo>
                    <a:pt x="35331" y="39039"/>
                  </a:lnTo>
                  <a:lnTo>
                    <a:pt x="30844" y="44072"/>
                  </a:lnTo>
                  <a:lnTo>
                    <a:pt x="12585" y="63080"/>
                  </a:lnTo>
                  <a:lnTo>
                    <a:pt x="12128" y="64477"/>
                  </a:lnTo>
                  <a:lnTo>
                    <a:pt x="12903" y="66522"/>
                  </a:lnTo>
                  <a:lnTo>
                    <a:pt x="15392" y="66332"/>
                  </a:lnTo>
                  <a:lnTo>
                    <a:pt x="14630" y="71107"/>
                  </a:lnTo>
                  <a:lnTo>
                    <a:pt x="1600" y="84569"/>
                  </a:lnTo>
                  <a:lnTo>
                    <a:pt x="0" y="86614"/>
                  </a:lnTo>
                  <a:lnTo>
                    <a:pt x="1984" y="84837"/>
                  </a:lnTo>
                  <a:lnTo>
                    <a:pt x="15759" y="71126"/>
                  </a:lnTo>
                  <a:lnTo>
                    <a:pt x="21374" y="65824"/>
                  </a:lnTo>
                  <a:lnTo>
                    <a:pt x="13512" y="65062"/>
                  </a:lnTo>
                  <a:lnTo>
                    <a:pt x="14173" y="63436"/>
                  </a:lnTo>
                  <a:lnTo>
                    <a:pt x="15049" y="62712"/>
                  </a:lnTo>
                  <a:lnTo>
                    <a:pt x="42722" y="34531"/>
                  </a:lnTo>
                  <a:lnTo>
                    <a:pt x="36741" y="34747"/>
                  </a:lnTo>
                  <a:lnTo>
                    <a:pt x="37668" y="33578"/>
                  </a:lnTo>
                  <a:lnTo>
                    <a:pt x="53373" y="18251"/>
                  </a:lnTo>
                  <a:lnTo>
                    <a:pt x="63812" y="8309"/>
                  </a:lnTo>
                  <a:lnTo>
                    <a:pt x="68973" y="3581"/>
                  </a:lnTo>
                  <a:lnTo>
                    <a:pt x="69748" y="3136"/>
                  </a:lnTo>
                  <a:lnTo>
                    <a:pt x="70319" y="1054"/>
                  </a:lnTo>
                  <a:lnTo>
                    <a:pt x="69634" y="596"/>
                  </a:lnTo>
                  <a:lnTo>
                    <a:pt x="69100" y="0"/>
                  </a:lnTo>
                  <a:close/>
                </a:path>
              </a:pathLst>
            </a:custGeom>
            <a:solidFill>
              <a:srgbClr val="C8A32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7" name="object 1269">
              <a:extLst>
                <a:ext uri="{FF2B5EF4-FFF2-40B4-BE49-F238E27FC236}">
                  <a16:creationId xmlns:a16="http://schemas.microsoft.com/office/drawing/2014/main" id="{7E40550C-AA90-4797-988E-55BC2DD7AECA}"/>
                </a:ext>
              </a:extLst>
            </p:cNvPr>
            <p:cNvSpPr/>
            <p:nvPr/>
          </p:nvSpPr>
          <p:spPr>
            <a:xfrm>
              <a:off x="8029970" y="6260768"/>
              <a:ext cx="69850" cy="85725"/>
            </a:xfrm>
            <a:custGeom>
              <a:avLst/>
              <a:gdLst/>
              <a:ahLst/>
              <a:cxnLst/>
              <a:rect l="l" t="t" r="r" b="b"/>
              <a:pathLst>
                <a:path w="69850" h="85725">
                  <a:moveTo>
                    <a:pt x="68097" y="0"/>
                  </a:moveTo>
                  <a:lnTo>
                    <a:pt x="65760" y="2616"/>
                  </a:lnTo>
                  <a:lnTo>
                    <a:pt x="40697" y="26509"/>
                  </a:lnTo>
                  <a:lnTo>
                    <a:pt x="34239" y="33070"/>
                  </a:lnTo>
                  <a:lnTo>
                    <a:pt x="34429" y="35902"/>
                  </a:lnTo>
                  <a:lnTo>
                    <a:pt x="34899" y="38442"/>
                  </a:lnTo>
                  <a:lnTo>
                    <a:pt x="30295" y="43539"/>
                  </a:lnTo>
                  <a:lnTo>
                    <a:pt x="11899" y="62636"/>
                  </a:lnTo>
                  <a:lnTo>
                    <a:pt x="11442" y="63995"/>
                  </a:lnTo>
                  <a:lnTo>
                    <a:pt x="12217" y="66001"/>
                  </a:lnTo>
                  <a:lnTo>
                    <a:pt x="14820" y="65747"/>
                  </a:lnTo>
                  <a:lnTo>
                    <a:pt x="14058" y="70573"/>
                  </a:lnTo>
                  <a:lnTo>
                    <a:pt x="1612" y="83286"/>
                  </a:lnTo>
                  <a:lnTo>
                    <a:pt x="0" y="85318"/>
                  </a:lnTo>
                  <a:lnTo>
                    <a:pt x="1848" y="83678"/>
                  </a:lnTo>
                  <a:lnTo>
                    <a:pt x="15055" y="70534"/>
                  </a:lnTo>
                  <a:lnTo>
                    <a:pt x="20561" y="65341"/>
                  </a:lnTo>
                  <a:lnTo>
                    <a:pt x="12738" y="64579"/>
                  </a:lnTo>
                  <a:lnTo>
                    <a:pt x="13411" y="62928"/>
                  </a:lnTo>
                  <a:lnTo>
                    <a:pt x="18671" y="57792"/>
                  </a:lnTo>
                  <a:lnTo>
                    <a:pt x="41935" y="34048"/>
                  </a:lnTo>
                  <a:lnTo>
                    <a:pt x="35966" y="34251"/>
                  </a:lnTo>
                  <a:lnTo>
                    <a:pt x="36893" y="33083"/>
                  </a:lnTo>
                  <a:lnTo>
                    <a:pt x="52579" y="17768"/>
                  </a:lnTo>
                  <a:lnTo>
                    <a:pt x="63005" y="7835"/>
                  </a:lnTo>
                  <a:lnTo>
                    <a:pt x="68160" y="3111"/>
                  </a:lnTo>
                  <a:lnTo>
                    <a:pt x="68910" y="2692"/>
                  </a:lnTo>
                  <a:lnTo>
                    <a:pt x="69392" y="774"/>
                  </a:lnTo>
                  <a:lnTo>
                    <a:pt x="68656" y="457"/>
                  </a:lnTo>
                  <a:lnTo>
                    <a:pt x="68097" y="0"/>
                  </a:lnTo>
                  <a:close/>
                </a:path>
              </a:pathLst>
            </a:custGeom>
            <a:solidFill>
              <a:srgbClr val="C3A0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8" name="object 1270">
              <a:extLst>
                <a:ext uri="{FF2B5EF4-FFF2-40B4-BE49-F238E27FC236}">
                  <a16:creationId xmlns:a16="http://schemas.microsoft.com/office/drawing/2014/main" id="{1FAD495B-94D3-4AE7-9EF8-0587FDA1F200}"/>
                </a:ext>
              </a:extLst>
            </p:cNvPr>
            <p:cNvSpPr/>
            <p:nvPr/>
          </p:nvSpPr>
          <p:spPr>
            <a:xfrm>
              <a:off x="8030734" y="6261251"/>
              <a:ext cx="68580" cy="84455"/>
            </a:xfrm>
            <a:custGeom>
              <a:avLst/>
              <a:gdLst/>
              <a:ahLst/>
              <a:cxnLst/>
              <a:rect l="l" t="t" r="r" b="b"/>
              <a:pathLst>
                <a:path w="68579" h="84454">
                  <a:moveTo>
                    <a:pt x="67068" y="0"/>
                  </a:moveTo>
                  <a:lnTo>
                    <a:pt x="64731" y="2552"/>
                  </a:lnTo>
                  <a:lnTo>
                    <a:pt x="39980" y="26195"/>
                  </a:lnTo>
                  <a:lnTo>
                    <a:pt x="33616" y="32677"/>
                  </a:lnTo>
                  <a:lnTo>
                    <a:pt x="33896" y="35369"/>
                  </a:lnTo>
                  <a:lnTo>
                    <a:pt x="34455" y="37858"/>
                  </a:lnTo>
                  <a:lnTo>
                    <a:pt x="29741" y="43013"/>
                  </a:lnTo>
                  <a:lnTo>
                    <a:pt x="11201" y="62204"/>
                  </a:lnTo>
                  <a:lnTo>
                    <a:pt x="10731" y="63538"/>
                  </a:lnTo>
                  <a:lnTo>
                    <a:pt x="11506" y="65493"/>
                  </a:lnTo>
                  <a:lnTo>
                    <a:pt x="14236" y="65163"/>
                  </a:lnTo>
                  <a:lnTo>
                    <a:pt x="13461" y="70065"/>
                  </a:lnTo>
                  <a:lnTo>
                    <a:pt x="1600" y="82003"/>
                  </a:lnTo>
                  <a:lnTo>
                    <a:pt x="0" y="84048"/>
                  </a:lnTo>
                  <a:lnTo>
                    <a:pt x="1710" y="82547"/>
                  </a:lnTo>
                  <a:lnTo>
                    <a:pt x="14346" y="69953"/>
                  </a:lnTo>
                  <a:lnTo>
                    <a:pt x="19735" y="64884"/>
                  </a:lnTo>
                  <a:lnTo>
                    <a:pt x="11950" y="64109"/>
                  </a:lnTo>
                  <a:lnTo>
                    <a:pt x="12623" y="62433"/>
                  </a:lnTo>
                  <a:lnTo>
                    <a:pt x="13500" y="61696"/>
                  </a:lnTo>
                  <a:lnTo>
                    <a:pt x="41147" y="33566"/>
                  </a:lnTo>
                  <a:lnTo>
                    <a:pt x="35178" y="33769"/>
                  </a:lnTo>
                  <a:lnTo>
                    <a:pt x="36106" y="32600"/>
                  </a:lnTo>
                  <a:lnTo>
                    <a:pt x="51771" y="17300"/>
                  </a:lnTo>
                  <a:lnTo>
                    <a:pt x="62180" y="7379"/>
                  </a:lnTo>
                  <a:lnTo>
                    <a:pt x="67322" y="2667"/>
                  </a:lnTo>
                  <a:lnTo>
                    <a:pt x="68059" y="2247"/>
                  </a:lnTo>
                  <a:lnTo>
                    <a:pt x="68465" y="508"/>
                  </a:lnTo>
                  <a:lnTo>
                    <a:pt x="67678" y="330"/>
                  </a:lnTo>
                  <a:lnTo>
                    <a:pt x="67068" y="0"/>
                  </a:lnTo>
                  <a:close/>
                </a:path>
              </a:pathLst>
            </a:custGeom>
            <a:solidFill>
              <a:srgbClr val="C2A0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79" name="object 1271">
              <a:extLst>
                <a:ext uri="{FF2B5EF4-FFF2-40B4-BE49-F238E27FC236}">
                  <a16:creationId xmlns:a16="http://schemas.microsoft.com/office/drawing/2014/main" id="{3A24793A-7EA7-4A7D-BDF6-0856C7640EC9}"/>
                </a:ext>
              </a:extLst>
            </p:cNvPr>
            <p:cNvSpPr/>
            <p:nvPr/>
          </p:nvSpPr>
          <p:spPr>
            <a:xfrm>
              <a:off x="8031490" y="6261746"/>
              <a:ext cx="67945" cy="83185"/>
            </a:xfrm>
            <a:custGeom>
              <a:avLst/>
              <a:gdLst/>
              <a:ahLst/>
              <a:cxnLst/>
              <a:rect l="l" t="t" r="r" b="b"/>
              <a:pathLst>
                <a:path w="67945" h="83184">
                  <a:moveTo>
                    <a:pt x="66078" y="0"/>
                  </a:moveTo>
                  <a:lnTo>
                    <a:pt x="63728" y="2489"/>
                  </a:lnTo>
                  <a:lnTo>
                    <a:pt x="39275" y="25869"/>
                  </a:lnTo>
                  <a:lnTo>
                    <a:pt x="32994" y="32257"/>
                  </a:lnTo>
                  <a:lnTo>
                    <a:pt x="33375" y="34823"/>
                  </a:lnTo>
                  <a:lnTo>
                    <a:pt x="34023" y="37261"/>
                  </a:lnTo>
                  <a:lnTo>
                    <a:pt x="29197" y="42478"/>
                  </a:lnTo>
                  <a:lnTo>
                    <a:pt x="10515" y="61760"/>
                  </a:lnTo>
                  <a:lnTo>
                    <a:pt x="10033" y="63055"/>
                  </a:lnTo>
                  <a:lnTo>
                    <a:pt x="10820" y="64985"/>
                  </a:lnTo>
                  <a:lnTo>
                    <a:pt x="13665" y="64566"/>
                  </a:lnTo>
                  <a:lnTo>
                    <a:pt x="12877" y="69532"/>
                  </a:lnTo>
                  <a:lnTo>
                    <a:pt x="1612" y="80708"/>
                  </a:lnTo>
                  <a:lnTo>
                    <a:pt x="0" y="82753"/>
                  </a:lnTo>
                  <a:lnTo>
                    <a:pt x="1576" y="81388"/>
                  </a:lnTo>
                  <a:lnTo>
                    <a:pt x="13653" y="69362"/>
                  </a:lnTo>
                  <a:lnTo>
                    <a:pt x="18910" y="64414"/>
                  </a:lnTo>
                  <a:lnTo>
                    <a:pt x="11176" y="63626"/>
                  </a:lnTo>
                  <a:lnTo>
                    <a:pt x="11861" y="61912"/>
                  </a:lnTo>
                  <a:lnTo>
                    <a:pt x="12738" y="61188"/>
                  </a:lnTo>
                  <a:lnTo>
                    <a:pt x="40360" y="33083"/>
                  </a:lnTo>
                  <a:lnTo>
                    <a:pt x="34404" y="33273"/>
                  </a:lnTo>
                  <a:lnTo>
                    <a:pt x="35331" y="32105"/>
                  </a:lnTo>
                  <a:lnTo>
                    <a:pt x="50977" y="16822"/>
                  </a:lnTo>
                  <a:lnTo>
                    <a:pt x="61373" y="6911"/>
                  </a:lnTo>
                  <a:lnTo>
                    <a:pt x="66509" y="2197"/>
                  </a:lnTo>
                  <a:lnTo>
                    <a:pt x="67208" y="1790"/>
                  </a:lnTo>
                  <a:lnTo>
                    <a:pt x="67551" y="215"/>
                  </a:lnTo>
                  <a:lnTo>
                    <a:pt x="66713" y="190"/>
                  </a:lnTo>
                  <a:lnTo>
                    <a:pt x="66078" y="0"/>
                  </a:lnTo>
                  <a:close/>
                </a:path>
              </a:pathLst>
            </a:custGeom>
            <a:solidFill>
              <a:srgbClr val="C09E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0" name="object 1272">
              <a:extLst>
                <a:ext uri="{FF2B5EF4-FFF2-40B4-BE49-F238E27FC236}">
                  <a16:creationId xmlns:a16="http://schemas.microsoft.com/office/drawing/2014/main" id="{744B11BC-CD2B-4DAC-9CE6-DF40FEDBE970}"/>
                </a:ext>
              </a:extLst>
            </p:cNvPr>
            <p:cNvSpPr/>
            <p:nvPr/>
          </p:nvSpPr>
          <p:spPr>
            <a:xfrm>
              <a:off x="8032256" y="6262178"/>
              <a:ext cx="66675" cy="81915"/>
            </a:xfrm>
            <a:custGeom>
              <a:avLst/>
              <a:gdLst/>
              <a:ahLst/>
              <a:cxnLst/>
              <a:rect l="l" t="t" r="r" b="b"/>
              <a:pathLst>
                <a:path w="66675" h="81915">
                  <a:moveTo>
                    <a:pt x="66611" y="0"/>
                  </a:moveTo>
                  <a:lnTo>
                    <a:pt x="65722" y="114"/>
                  </a:lnTo>
                  <a:lnTo>
                    <a:pt x="65062" y="50"/>
                  </a:lnTo>
                  <a:lnTo>
                    <a:pt x="38554" y="25599"/>
                  </a:lnTo>
                  <a:lnTo>
                    <a:pt x="32372" y="31902"/>
                  </a:lnTo>
                  <a:lnTo>
                    <a:pt x="33578" y="36728"/>
                  </a:lnTo>
                  <a:lnTo>
                    <a:pt x="9817" y="61366"/>
                  </a:lnTo>
                  <a:lnTo>
                    <a:pt x="9334" y="62636"/>
                  </a:lnTo>
                  <a:lnTo>
                    <a:pt x="10121" y="64528"/>
                  </a:lnTo>
                  <a:lnTo>
                    <a:pt x="13081" y="64033"/>
                  </a:lnTo>
                  <a:lnTo>
                    <a:pt x="12293" y="69062"/>
                  </a:lnTo>
                  <a:lnTo>
                    <a:pt x="1600" y="79476"/>
                  </a:lnTo>
                  <a:lnTo>
                    <a:pt x="0" y="81533"/>
                  </a:lnTo>
                  <a:lnTo>
                    <a:pt x="1432" y="80303"/>
                  </a:lnTo>
                  <a:lnTo>
                    <a:pt x="12937" y="68835"/>
                  </a:lnTo>
                  <a:lnTo>
                    <a:pt x="18084" y="64007"/>
                  </a:lnTo>
                  <a:lnTo>
                    <a:pt x="10388" y="63207"/>
                  </a:lnTo>
                  <a:lnTo>
                    <a:pt x="11074" y="61480"/>
                  </a:lnTo>
                  <a:lnTo>
                    <a:pt x="11963" y="60744"/>
                  </a:lnTo>
                  <a:lnTo>
                    <a:pt x="39560" y="32651"/>
                  </a:lnTo>
                  <a:lnTo>
                    <a:pt x="33616" y="32842"/>
                  </a:lnTo>
                  <a:lnTo>
                    <a:pt x="34544" y="31673"/>
                  </a:lnTo>
                  <a:lnTo>
                    <a:pt x="50166" y="16402"/>
                  </a:lnTo>
                  <a:lnTo>
                    <a:pt x="60549" y="6495"/>
                  </a:lnTo>
                  <a:lnTo>
                    <a:pt x="65684" y="1777"/>
                  </a:lnTo>
                  <a:lnTo>
                    <a:pt x="66357" y="1396"/>
                  </a:lnTo>
                  <a:lnTo>
                    <a:pt x="66611" y="0"/>
                  </a:lnTo>
                  <a:close/>
                </a:path>
              </a:pathLst>
            </a:custGeom>
            <a:solidFill>
              <a:srgbClr val="BD9C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1" name="object 1273">
              <a:extLst>
                <a:ext uri="{FF2B5EF4-FFF2-40B4-BE49-F238E27FC236}">
                  <a16:creationId xmlns:a16="http://schemas.microsoft.com/office/drawing/2014/main" id="{8756104D-EF49-4EE5-8C17-518D46F1707F}"/>
                </a:ext>
              </a:extLst>
            </p:cNvPr>
            <p:cNvSpPr/>
            <p:nvPr/>
          </p:nvSpPr>
          <p:spPr>
            <a:xfrm>
              <a:off x="8033011" y="6262381"/>
              <a:ext cx="66040" cy="80645"/>
            </a:xfrm>
            <a:custGeom>
              <a:avLst/>
              <a:gdLst/>
              <a:ahLst/>
              <a:cxnLst/>
              <a:rect l="l" t="t" r="r" b="b"/>
              <a:pathLst>
                <a:path w="66040" h="80645">
                  <a:moveTo>
                    <a:pt x="65684" y="0"/>
                  </a:moveTo>
                  <a:lnTo>
                    <a:pt x="64046" y="342"/>
                  </a:lnTo>
                  <a:lnTo>
                    <a:pt x="37851" y="25564"/>
                  </a:lnTo>
                  <a:lnTo>
                    <a:pt x="31762" y="31775"/>
                  </a:lnTo>
                  <a:lnTo>
                    <a:pt x="33146" y="36436"/>
                  </a:lnTo>
                  <a:lnTo>
                    <a:pt x="9131" y="61213"/>
                  </a:lnTo>
                  <a:lnTo>
                    <a:pt x="8648" y="62445"/>
                  </a:lnTo>
                  <a:lnTo>
                    <a:pt x="9423" y="64312"/>
                  </a:lnTo>
                  <a:lnTo>
                    <a:pt x="12509" y="63728"/>
                  </a:lnTo>
                  <a:lnTo>
                    <a:pt x="11709" y="68833"/>
                  </a:lnTo>
                  <a:lnTo>
                    <a:pt x="1612" y="78485"/>
                  </a:lnTo>
                  <a:lnTo>
                    <a:pt x="0" y="80543"/>
                  </a:lnTo>
                  <a:lnTo>
                    <a:pt x="1302" y="79446"/>
                  </a:lnTo>
                  <a:lnTo>
                    <a:pt x="12240" y="68532"/>
                  </a:lnTo>
                  <a:lnTo>
                    <a:pt x="17271" y="63817"/>
                  </a:lnTo>
                  <a:lnTo>
                    <a:pt x="9613" y="63017"/>
                  </a:lnTo>
                  <a:lnTo>
                    <a:pt x="10312" y="61252"/>
                  </a:lnTo>
                  <a:lnTo>
                    <a:pt x="11188" y="60528"/>
                  </a:lnTo>
                  <a:lnTo>
                    <a:pt x="38773" y="32461"/>
                  </a:lnTo>
                  <a:lnTo>
                    <a:pt x="32842" y="32638"/>
                  </a:lnTo>
                  <a:lnTo>
                    <a:pt x="33769" y="31470"/>
                  </a:lnTo>
                  <a:lnTo>
                    <a:pt x="49372" y="16213"/>
                  </a:lnTo>
                  <a:lnTo>
                    <a:pt x="59742" y="6319"/>
                  </a:lnTo>
                  <a:lnTo>
                    <a:pt x="64871" y="1612"/>
                  </a:lnTo>
                  <a:lnTo>
                    <a:pt x="65519" y="1244"/>
                  </a:lnTo>
                  <a:lnTo>
                    <a:pt x="65684" y="0"/>
                  </a:lnTo>
                  <a:close/>
                </a:path>
              </a:pathLst>
            </a:custGeom>
            <a:solidFill>
              <a:srgbClr val="BD9B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2" name="object 1274">
              <a:extLst>
                <a:ext uri="{FF2B5EF4-FFF2-40B4-BE49-F238E27FC236}">
                  <a16:creationId xmlns:a16="http://schemas.microsoft.com/office/drawing/2014/main" id="{0C5045ED-BBAD-476F-828B-A4848396EE5E}"/>
                </a:ext>
              </a:extLst>
            </p:cNvPr>
            <p:cNvSpPr/>
            <p:nvPr/>
          </p:nvSpPr>
          <p:spPr>
            <a:xfrm>
              <a:off x="8033763" y="6262597"/>
              <a:ext cx="64769" cy="80010"/>
            </a:xfrm>
            <a:custGeom>
              <a:avLst/>
              <a:gdLst/>
              <a:ahLst/>
              <a:cxnLst/>
              <a:rect l="l" t="t" r="r" b="b"/>
              <a:pathLst>
                <a:path w="64770" h="80009">
                  <a:moveTo>
                    <a:pt x="64769" y="0"/>
                  </a:moveTo>
                  <a:lnTo>
                    <a:pt x="63042" y="609"/>
                  </a:lnTo>
                  <a:lnTo>
                    <a:pt x="37148" y="25517"/>
                  </a:lnTo>
                  <a:lnTo>
                    <a:pt x="31153" y="31648"/>
                  </a:lnTo>
                  <a:lnTo>
                    <a:pt x="32715" y="36118"/>
                  </a:lnTo>
                  <a:lnTo>
                    <a:pt x="8445" y="61048"/>
                  </a:lnTo>
                  <a:lnTo>
                    <a:pt x="7950" y="62255"/>
                  </a:lnTo>
                  <a:lnTo>
                    <a:pt x="8737" y="64071"/>
                  </a:lnTo>
                  <a:lnTo>
                    <a:pt x="11950" y="63411"/>
                  </a:lnTo>
                  <a:lnTo>
                    <a:pt x="11125" y="68580"/>
                  </a:lnTo>
                  <a:lnTo>
                    <a:pt x="1612" y="77470"/>
                  </a:lnTo>
                  <a:lnTo>
                    <a:pt x="0" y="79527"/>
                  </a:lnTo>
                  <a:lnTo>
                    <a:pt x="1166" y="78572"/>
                  </a:lnTo>
                  <a:lnTo>
                    <a:pt x="11542" y="68222"/>
                  </a:lnTo>
                  <a:lnTo>
                    <a:pt x="16459" y="63614"/>
                  </a:lnTo>
                  <a:lnTo>
                    <a:pt x="8839" y="62814"/>
                  </a:lnTo>
                  <a:lnTo>
                    <a:pt x="9550" y="61023"/>
                  </a:lnTo>
                  <a:lnTo>
                    <a:pt x="10426" y="60299"/>
                  </a:lnTo>
                  <a:lnTo>
                    <a:pt x="37998" y="32258"/>
                  </a:lnTo>
                  <a:lnTo>
                    <a:pt x="32067" y="32423"/>
                  </a:lnTo>
                  <a:lnTo>
                    <a:pt x="32994" y="31254"/>
                  </a:lnTo>
                  <a:lnTo>
                    <a:pt x="48577" y="16009"/>
                  </a:lnTo>
                  <a:lnTo>
                    <a:pt x="58929" y="6124"/>
                  </a:lnTo>
                  <a:lnTo>
                    <a:pt x="64046" y="1422"/>
                  </a:lnTo>
                  <a:lnTo>
                    <a:pt x="64681" y="1066"/>
                  </a:lnTo>
                  <a:lnTo>
                    <a:pt x="64769" y="0"/>
                  </a:lnTo>
                  <a:close/>
                </a:path>
              </a:pathLst>
            </a:custGeom>
            <a:solidFill>
              <a:srgbClr val="BB99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3" name="object 1275">
              <a:extLst>
                <a:ext uri="{FF2B5EF4-FFF2-40B4-BE49-F238E27FC236}">
                  <a16:creationId xmlns:a16="http://schemas.microsoft.com/office/drawing/2014/main" id="{A5C92474-9B12-4620-98D9-1EAA6767DA85}"/>
                </a:ext>
              </a:extLst>
            </p:cNvPr>
            <p:cNvSpPr/>
            <p:nvPr/>
          </p:nvSpPr>
          <p:spPr>
            <a:xfrm>
              <a:off x="8034532" y="6262800"/>
              <a:ext cx="64135" cy="78740"/>
            </a:xfrm>
            <a:custGeom>
              <a:avLst/>
              <a:gdLst/>
              <a:ahLst/>
              <a:cxnLst/>
              <a:rect l="l" t="t" r="r" b="b"/>
              <a:pathLst>
                <a:path w="64134" h="78740">
                  <a:moveTo>
                    <a:pt x="9043" y="69703"/>
                  </a:moveTo>
                  <a:lnTo>
                    <a:pt x="1612" y="76479"/>
                  </a:lnTo>
                  <a:lnTo>
                    <a:pt x="0" y="78524"/>
                  </a:lnTo>
                  <a:lnTo>
                    <a:pt x="1022" y="77710"/>
                  </a:lnTo>
                  <a:lnTo>
                    <a:pt x="9043" y="69703"/>
                  </a:lnTo>
                  <a:close/>
                </a:path>
                <a:path w="64134" h="78740">
                  <a:moveTo>
                    <a:pt x="10565" y="68185"/>
                  </a:moveTo>
                  <a:lnTo>
                    <a:pt x="9043" y="69703"/>
                  </a:lnTo>
                  <a:lnTo>
                    <a:pt x="10540" y="68338"/>
                  </a:lnTo>
                  <a:lnTo>
                    <a:pt x="10565" y="68185"/>
                  </a:lnTo>
                  <a:close/>
                </a:path>
                <a:path w="64134" h="78740">
                  <a:moveTo>
                    <a:pt x="12886" y="63106"/>
                  </a:moveTo>
                  <a:lnTo>
                    <a:pt x="11366" y="63106"/>
                  </a:lnTo>
                  <a:lnTo>
                    <a:pt x="10565" y="68185"/>
                  </a:lnTo>
                  <a:lnTo>
                    <a:pt x="15152" y="63842"/>
                  </a:lnTo>
                  <a:lnTo>
                    <a:pt x="15620" y="63436"/>
                  </a:lnTo>
                  <a:lnTo>
                    <a:pt x="12886" y="63106"/>
                  </a:lnTo>
                  <a:close/>
                </a:path>
                <a:path w="64134" h="78740">
                  <a:moveTo>
                    <a:pt x="63830" y="0"/>
                  </a:moveTo>
                  <a:lnTo>
                    <a:pt x="62801" y="558"/>
                  </a:lnTo>
                  <a:lnTo>
                    <a:pt x="62013" y="901"/>
                  </a:lnTo>
                  <a:lnTo>
                    <a:pt x="59689" y="3136"/>
                  </a:lnTo>
                  <a:lnTo>
                    <a:pt x="31534" y="30403"/>
                  </a:lnTo>
                  <a:lnTo>
                    <a:pt x="30518" y="31521"/>
                  </a:lnTo>
                  <a:lnTo>
                    <a:pt x="31280" y="33553"/>
                  </a:lnTo>
                  <a:lnTo>
                    <a:pt x="32270" y="35813"/>
                  </a:lnTo>
                  <a:lnTo>
                    <a:pt x="26988" y="41260"/>
                  </a:lnTo>
                  <a:lnTo>
                    <a:pt x="10121" y="58419"/>
                  </a:lnTo>
                  <a:lnTo>
                    <a:pt x="7746" y="60896"/>
                  </a:lnTo>
                  <a:lnTo>
                    <a:pt x="7238" y="62064"/>
                  </a:lnTo>
                  <a:lnTo>
                    <a:pt x="8026" y="63842"/>
                  </a:lnTo>
                  <a:lnTo>
                    <a:pt x="11366" y="63106"/>
                  </a:lnTo>
                  <a:lnTo>
                    <a:pt x="12886" y="63106"/>
                  </a:lnTo>
                  <a:lnTo>
                    <a:pt x="8889" y="62623"/>
                  </a:lnTo>
                  <a:lnTo>
                    <a:pt x="8051" y="62623"/>
                  </a:lnTo>
                  <a:lnTo>
                    <a:pt x="8762" y="60820"/>
                  </a:lnTo>
                  <a:lnTo>
                    <a:pt x="9639" y="60083"/>
                  </a:lnTo>
                  <a:lnTo>
                    <a:pt x="14011" y="55697"/>
                  </a:lnTo>
                  <a:lnTo>
                    <a:pt x="37036" y="32219"/>
                  </a:lnTo>
                  <a:lnTo>
                    <a:pt x="31280" y="32219"/>
                  </a:lnTo>
                  <a:lnTo>
                    <a:pt x="32207" y="31051"/>
                  </a:lnTo>
                  <a:lnTo>
                    <a:pt x="63220" y="1244"/>
                  </a:lnTo>
                  <a:lnTo>
                    <a:pt x="63830" y="901"/>
                  </a:lnTo>
                  <a:lnTo>
                    <a:pt x="63830" y="0"/>
                  </a:lnTo>
                  <a:close/>
                </a:path>
                <a:path w="64134" h="78740">
                  <a:moveTo>
                    <a:pt x="37198" y="32054"/>
                  </a:moveTo>
                  <a:lnTo>
                    <a:pt x="31280" y="32219"/>
                  </a:lnTo>
                  <a:lnTo>
                    <a:pt x="37036" y="32219"/>
                  </a:lnTo>
                  <a:lnTo>
                    <a:pt x="37198" y="32054"/>
                  </a:lnTo>
                  <a:close/>
                </a:path>
              </a:pathLst>
            </a:custGeom>
            <a:solidFill>
              <a:srgbClr val="B898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4" name="object 1276">
              <a:extLst>
                <a:ext uri="{FF2B5EF4-FFF2-40B4-BE49-F238E27FC236}">
                  <a16:creationId xmlns:a16="http://schemas.microsoft.com/office/drawing/2014/main" id="{6D5B5FA7-C259-4732-AEEA-A17057757CAD}"/>
                </a:ext>
              </a:extLst>
            </p:cNvPr>
            <p:cNvSpPr/>
            <p:nvPr/>
          </p:nvSpPr>
          <p:spPr>
            <a:xfrm>
              <a:off x="8035284" y="6263016"/>
              <a:ext cx="63500" cy="78105"/>
            </a:xfrm>
            <a:custGeom>
              <a:avLst/>
              <a:gdLst/>
              <a:ahLst/>
              <a:cxnLst/>
              <a:rect l="l" t="t" r="r" b="b"/>
              <a:pathLst>
                <a:path w="63500" h="78104">
                  <a:moveTo>
                    <a:pt x="7299" y="70434"/>
                  </a:moveTo>
                  <a:lnTo>
                    <a:pt x="1612" y="75463"/>
                  </a:lnTo>
                  <a:lnTo>
                    <a:pt x="0" y="77520"/>
                  </a:lnTo>
                  <a:lnTo>
                    <a:pt x="886" y="76840"/>
                  </a:lnTo>
                  <a:lnTo>
                    <a:pt x="7299" y="70434"/>
                  </a:lnTo>
                  <a:close/>
                </a:path>
                <a:path w="63500" h="78104">
                  <a:moveTo>
                    <a:pt x="10014" y="67722"/>
                  </a:moveTo>
                  <a:lnTo>
                    <a:pt x="7299" y="70434"/>
                  </a:lnTo>
                  <a:lnTo>
                    <a:pt x="9956" y="68084"/>
                  </a:lnTo>
                  <a:lnTo>
                    <a:pt x="10014" y="67722"/>
                  </a:lnTo>
                  <a:close/>
                </a:path>
                <a:path w="63500" h="78104">
                  <a:moveTo>
                    <a:pt x="11154" y="62801"/>
                  </a:moveTo>
                  <a:lnTo>
                    <a:pt x="10795" y="62801"/>
                  </a:lnTo>
                  <a:lnTo>
                    <a:pt x="10014" y="67722"/>
                  </a:lnTo>
                  <a:lnTo>
                    <a:pt x="14236" y="63728"/>
                  </a:lnTo>
                  <a:lnTo>
                    <a:pt x="14808" y="63246"/>
                  </a:lnTo>
                  <a:lnTo>
                    <a:pt x="11154" y="62801"/>
                  </a:lnTo>
                  <a:close/>
                </a:path>
                <a:path w="63500" h="78104">
                  <a:moveTo>
                    <a:pt x="62915" y="0"/>
                  </a:moveTo>
                  <a:lnTo>
                    <a:pt x="61792" y="723"/>
                  </a:lnTo>
                  <a:lnTo>
                    <a:pt x="61023" y="1168"/>
                  </a:lnTo>
                  <a:lnTo>
                    <a:pt x="56116" y="5753"/>
                  </a:lnTo>
                  <a:lnTo>
                    <a:pt x="43703" y="17665"/>
                  </a:lnTo>
                  <a:lnTo>
                    <a:pt x="35723" y="25429"/>
                  </a:lnTo>
                  <a:lnTo>
                    <a:pt x="30886" y="30302"/>
                  </a:lnTo>
                  <a:lnTo>
                    <a:pt x="29908" y="31381"/>
                  </a:lnTo>
                  <a:lnTo>
                    <a:pt x="30759" y="33286"/>
                  </a:lnTo>
                  <a:lnTo>
                    <a:pt x="31292" y="34353"/>
                  </a:lnTo>
                  <a:lnTo>
                    <a:pt x="31838" y="35509"/>
                  </a:lnTo>
                  <a:lnTo>
                    <a:pt x="9385" y="58305"/>
                  </a:lnTo>
                  <a:lnTo>
                    <a:pt x="7061" y="60731"/>
                  </a:lnTo>
                  <a:lnTo>
                    <a:pt x="6553" y="61861"/>
                  </a:lnTo>
                  <a:lnTo>
                    <a:pt x="7340" y="63614"/>
                  </a:lnTo>
                  <a:lnTo>
                    <a:pt x="10795" y="62801"/>
                  </a:lnTo>
                  <a:lnTo>
                    <a:pt x="11154" y="62801"/>
                  </a:lnTo>
                  <a:lnTo>
                    <a:pt x="8128" y="62433"/>
                  </a:lnTo>
                  <a:lnTo>
                    <a:pt x="7277" y="62433"/>
                  </a:lnTo>
                  <a:lnTo>
                    <a:pt x="7988" y="60579"/>
                  </a:lnTo>
                  <a:lnTo>
                    <a:pt x="8877" y="59855"/>
                  </a:lnTo>
                  <a:lnTo>
                    <a:pt x="13247" y="55472"/>
                  </a:lnTo>
                  <a:lnTo>
                    <a:pt x="35394" y="32867"/>
                  </a:lnTo>
                  <a:lnTo>
                    <a:pt x="36269" y="32004"/>
                  </a:lnTo>
                  <a:lnTo>
                    <a:pt x="30505" y="32004"/>
                  </a:lnTo>
                  <a:lnTo>
                    <a:pt x="31432" y="30835"/>
                  </a:lnTo>
                  <a:lnTo>
                    <a:pt x="62407" y="1054"/>
                  </a:lnTo>
                  <a:lnTo>
                    <a:pt x="62992" y="723"/>
                  </a:lnTo>
                  <a:lnTo>
                    <a:pt x="62915" y="0"/>
                  </a:lnTo>
                  <a:close/>
                </a:path>
                <a:path w="63500" h="78104">
                  <a:moveTo>
                    <a:pt x="36423" y="31851"/>
                  </a:moveTo>
                  <a:lnTo>
                    <a:pt x="30505" y="32004"/>
                  </a:lnTo>
                  <a:lnTo>
                    <a:pt x="36269" y="32004"/>
                  </a:lnTo>
                  <a:lnTo>
                    <a:pt x="36423" y="31851"/>
                  </a:lnTo>
                  <a:close/>
                </a:path>
              </a:pathLst>
            </a:custGeom>
            <a:solidFill>
              <a:srgbClr val="B797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5" name="object 1277">
              <a:extLst>
                <a:ext uri="{FF2B5EF4-FFF2-40B4-BE49-F238E27FC236}">
                  <a16:creationId xmlns:a16="http://schemas.microsoft.com/office/drawing/2014/main" id="{777BF2B4-546F-41AD-AA47-23AAFC2FB104}"/>
                </a:ext>
              </a:extLst>
            </p:cNvPr>
            <p:cNvSpPr/>
            <p:nvPr/>
          </p:nvSpPr>
          <p:spPr>
            <a:xfrm>
              <a:off x="8034146" y="6263232"/>
              <a:ext cx="64135" cy="79375"/>
            </a:xfrm>
            <a:custGeom>
              <a:avLst/>
              <a:gdLst/>
              <a:ahLst/>
              <a:cxnLst/>
              <a:rect l="l" t="t" r="r" b="b"/>
              <a:pathLst>
                <a:path w="64134" h="79375">
                  <a:moveTo>
                    <a:pt x="7254" y="71274"/>
                  </a:moveTo>
                  <a:lnTo>
                    <a:pt x="3517" y="74460"/>
                  </a:lnTo>
                  <a:lnTo>
                    <a:pt x="0" y="78930"/>
                  </a:lnTo>
                  <a:lnTo>
                    <a:pt x="7254" y="71274"/>
                  </a:lnTo>
                  <a:close/>
                </a:path>
                <a:path w="64134" h="79375">
                  <a:moveTo>
                    <a:pt x="11430" y="66866"/>
                  </a:moveTo>
                  <a:lnTo>
                    <a:pt x="7254" y="71274"/>
                  </a:lnTo>
                  <a:lnTo>
                    <a:pt x="11277" y="67843"/>
                  </a:lnTo>
                  <a:lnTo>
                    <a:pt x="11430" y="66866"/>
                  </a:lnTo>
                  <a:close/>
                </a:path>
                <a:path w="64134" h="79375">
                  <a:moveTo>
                    <a:pt x="12100" y="62584"/>
                  </a:moveTo>
                  <a:lnTo>
                    <a:pt x="11430" y="66866"/>
                  </a:lnTo>
                  <a:lnTo>
                    <a:pt x="15887" y="63055"/>
                  </a:lnTo>
                  <a:lnTo>
                    <a:pt x="12100" y="62584"/>
                  </a:lnTo>
                  <a:close/>
                </a:path>
                <a:path w="64134" h="79375">
                  <a:moveTo>
                    <a:pt x="63880" y="0"/>
                  </a:moveTo>
                  <a:lnTo>
                    <a:pt x="32130" y="30213"/>
                  </a:lnTo>
                  <a:lnTo>
                    <a:pt x="31191" y="31241"/>
                  </a:lnTo>
                  <a:lnTo>
                    <a:pt x="33299" y="35191"/>
                  </a:lnTo>
                  <a:lnTo>
                    <a:pt x="15027" y="53616"/>
                  </a:lnTo>
                  <a:lnTo>
                    <a:pt x="10540" y="58191"/>
                  </a:lnTo>
                  <a:lnTo>
                    <a:pt x="8267" y="60553"/>
                  </a:lnTo>
                  <a:lnTo>
                    <a:pt x="7759" y="61671"/>
                  </a:lnTo>
                  <a:lnTo>
                    <a:pt x="8534" y="63372"/>
                  </a:lnTo>
                  <a:lnTo>
                    <a:pt x="11840" y="62552"/>
                  </a:lnTo>
                  <a:lnTo>
                    <a:pt x="9245" y="62229"/>
                  </a:lnTo>
                  <a:lnTo>
                    <a:pt x="8394" y="62229"/>
                  </a:lnTo>
                  <a:lnTo>
                    <a:pt x="9118" y="60350"/>
                  </a:lnTo>
                  <a:lnTo>
                    <a:pt x="9994" y="59626"/>
                  </a:lnTo>
                  <a:lnTo>
                    <a:pt x="14363" y="55247"/>
                  </a:lnTo>
                  <a:lnTo>
                    <a:pt x="37378" y="31788"/>
                  </a:lnTo>
                  <a:lnTo>
                    <a:pt x="31622" y="31788"/>
                  </a:lnTo>
                  <a:lnTo>
                    <a:pt x="32550" y="30619"/>
                  </a:lnTo>
                  <a:lnTo>
                    <a:pt x="63474" y="876"/>
                  </a:lnTo>
                  <a:lnTo>
                    <a:pt x="64046" y="546"/>
                  </a:lnTo>
                  <a:lnTo>
                    <a:pt x="63880" y="0"/>
                  </a:lnTo>
                  <a:close/>
                </a:path>
                <a:path w="64134" h="79375">
                  <a:moveTo>
                    <a:pt x="12115" y="62483"/>
                  </a:moveTo>
                  <a:lnTo>
                    <a:pt x="11840" y="62552"/>
                  </a:lnTo>
                  <a:lnTo>
                    <a:pt x="12100" y="62584"/>
                  </a:lnTo>
                  <a:close/>
                </a:path>
                <a:path w="64134" h="79375">
                  <a:moveTo>
                    <a:pt x="37528" y="31635"/>
                  </a:moveTo>
                  <a:lnTo>
                    <a:pt x="31622" y="31788"/>
                  </a:lnTo>
                  <a:lnTo>
                    <a:pt x="37378" y="31788"/>
                  </a:lnTo>
                  <a:lnTo>
                    <a:pt x="37528" y="31635"/>
                  </a:lnTo>
                  <a:close/>
                </a:path>
              </a:pathLst>
            </a:custGeom>
            <a:solidFill>
              <a:srgbClr val="B595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6" name="object 1278">
              <a:extLst>
                <a:ext uri="{FF2B5EF4-FFF2-40B4-BE49-F238E27FC236}">
                  <a16:creationId xmlns:a16="http://schemas.microsoft.com/office/drawing/2014/main" id="{1E176C5E-7CD4-42F3-873D-AEA4F8236813}"/>
                </a:ext>
              </a:extLst>
            </p:cNvPr>
            <p:cNvSpPr/>
            <p:nvPr/>
          </p:nvSpPr>
          <p:spPr>
            <a:xfrm>
              <a:off x="8034887" y="6263448"/>
              <a:ext cx="63500" cy="78105"/>
            </a:xfrm>
            <a:custGeom>
              <a:avLst/>
              <a:gdLst/>
              <a:ahLst/>
              <a:cxnLst/>
              <a:rect l="l" t="t" r="r" b="b"/>
              <a:pathLst>
                <a:path w="63500" h="78104">
                  <a:moveTo>
                    <a:pt x="6626" y="70918"/>
                  </a:moveTo>
                  <a:lnTo>
                    <a:pt x="3530" y="73444"/>
                  </a:lnTo>
                  <a:lnTo>
                    <a:pt x="0" y="77939"/>
                  </a:lnTo>
                  <a:lnTo>
                    <a:pt x="6626" y="70918"/>
                  </a:lnTo>
                  <a:close/>
                </a:path>
                <a:path w="63500" h="78104">
                  <a:moveTo>
                    <a:pt x="10884" y="66454"/>
                  </a:moveTo>
                  <a:lnTo>
                    <a:pt x="10642" y="66662"/>
                  </a:lnTo>
                  <a:lnTo>
                    <a:pt x="6626" y="70918"/>
                  </a:lnTo>
                  <a:lnTo>
                    <a:pt x="10706" y="67589"/>
                  </a:lnTo>
                  <a:lnTo>
                    <a:pt x="10884" y="66454"/>
                  </a:lnTo>
                  <a:close/>
                </a:path>
                <a:path w="63500" h="78104">
                  <a:moveTo>
                    <a:pt x="11519" y="62406"/>
                  </a:moveTo>
                  <a:lnTo>
                    <a:pt x="10884" y="66454"/>
                  </a:lnTo>
                  <a:lnTo>
                    <a:pt x="15074" y="62852"/>
                  </a:lnTo>
                  <a:lnTo>
                    <a:pt x="11519" y="62406"/>
                  </a:lnTo>
                  <a:close/>
                </a:path>
                <a:path w="63500" h="78104">
                  <a:moveTo>
                    <a:pt x="36766" y="31432"/>
                  </a:moveTo>
                  <a:lnTo>
                    <a:pt x="30886" y="31571"/>
                  </a:lnTo>
                  <a:lnTo>
                    <a:pt x="32245" y="33756"/>
                  </a:lnTo>
                  <a:lnTo>
                    <a:pt x="32880" y="34874"/>
                  </a:lnTo>
                  <a:lnTo>
                    <a:pt x="14341" y="53472"/>
                  </a:lnTo>
                  <a:lnTo>
                    <a:pt x="9829" y="58064"/>
                  </a:lnTo>
                  <a:lnTo>
                    <a:pt x="7594" y="60388"/>
                  </a:lnTo>
                  <a:lnTo>
                    <a:pt x="7073" y="61468"/>
                  </a:lnTo>
                  <a:lnTo>
                    <a:pt x="7861" y="63144"/>
                  </a:lnTo>
                  <a:lnTo>
                    <a:pt x="10927" y="62332"/>
                  </a:lnTo>
                  <a:lnTo>
                    <a:pt x="8483" y="62026"/>
                  </a:lnTo>
                  <a:lnTo>
                    <a:pt x="7632" y="62026"/>
                  </a:lnTo>
                  <a:lnTo>
                    <a:pt x="8369" y="60121"/>
                  </a:lnTo>
                  <a:lnTo>
                    <a:pt x="9245" y="59397"/>
                  </a:lnTo>
                  <a:lnTo>
                    <a:pt x="13610" y="55020"/>
                  </a:lnTo>
                  <a:lnTo>
                    <a:pt x="35737" y="32448"/>
                  </a:lnTo>
                  <a:lnTo>
                    <a:pt x="36766" y="31432"/>
                  </a:lnTo>
                  <a:close/>
                </a:path>
                <a:path w="63500" h="78104">
                  <a:moveTo>
                    <a:pt x="11557" y="62166"/>
                  </a:moveTo>
                  <a:lnTo>
                    <a:pt x="10927" y="62332"/>
                  </a:lnTo>
                  <a:lnTo>
                    <a:pt x="11519" y="62406"/>
                  </a:lnTo>
                  <a:lnTo>
                    <a:pt x="11557" y="62166"/>
                  </a:lnTo>
                  <a:close/>
                </a:path>
                <a:path w="63500" h="78104">
                  <a:moveTo>
                    <a:pt x="62979" y="0"/>
                  </a:moveTo>
                  <a:lnTo>
                    <a:pt x="31496" y="30111"/>
                  </a:lnTo>
                  <a:lnTo>
                    <a:pt x="30594" y="31102"/>
                  </a:lnTo>
                  <a:lnTo>
                    <a:pt x="30875" y="31554"/>
                  </a:lnTo>
                  <a:lnTo>
                    <a:pt x="31788" y="30403"/>
                  </a:lnTo>
                  <a:lnTo>
                    <a:pt x="36962" y="25226"/>
                  </a:lnTo>
                  <a:lnTo>
                    <a:pt x="47283" y="15216"/>
                  </a:lnTo>
                  <a:lnTo>
                    <a:pt x="57578" y="5370"/>
                  </a:lnTo>
                  <a:lnTo>
                    <a:pt x="62674" y="685"/>
                  </a:lnTo>
                  <a:lnTo>
                    <a:pt x="63220" y="368"/>
                  </a:lnTo>
                  <a:lnTo>
                    <a:pt x="62979" y="0"/>
                  </a:lnTo>
                  <a:close/>
                </a:path>
              </a:pathLst>
            </a:custGeom>
            <a:solidFill>
              <a:srgbClr val="B2922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7" name="object 1279">
              <a:extLst>
                <a:ext uri="{FF2B5EF4-FFF2-40B4-BE49-F238E27FC236}">
                  <a16:creationId xmlns:a16="http://schemas.microsoft.com/office/drawing/2014/main" id="{97FDF540-3FA3-40D9-8736-D9337931F482}"/>
                </a:ext>
              </a:extLst>
            </p:cNvPr>
            <p:cNvSpPr/>
            <p:nvPr/>
          </p:nvSpPr>
          <p:spPr>
            <a:xfrm>
              <a:off x="7977947" y="6243053"/>
              <a:ext cx="123189" cy="88265"/>
            </a:xfrm>
            <a:custGeom>
              <a:avLst/>
              <a:gdLst/>
              <a:ahLst/>
              <a:cxnLst/>
              <a:rect l="l" t="t" r="r" b="b"/>
              <a:pathLst>
                <a:path w="123190" h="88265">
                  <a:moveTo>
                    <a:pt x="215" y="0"/>
                  </a:moveTo>
                  <a:lnTo>
                    <a:pt x="0" y="342"/>
                  </a:lnTo>
                  <a:lnTo>
                    <a:pt x="685" y="75044"/>
                  </a:lnTo>
                  <a:lnTo>
                    <a:pt x="1932" y="88054"/>
                  </a:lnTo>
                  <a:lnTo>
                    <a:pt x="3684" y="88091"/>
                  </a:lnTo>
                  <a:lnTo>
                    <a:pt x="5277" y="75306"/>
                  </a:lnTo>
                  <a:lnTo>
                    <a:pt x="6045" y="49847"/>
                  </a:lnTo>
                  <a:lnTo>
                    <a:pt x="6298" y="11014"/>
                  </a:lnTo>
                  <a:lnTo>
                    <a:pt x="6680" y="5651"/>
                  </a:lnTo>
                  <a:lnTo>
                    <a:pt x="7454" y="5168"/>
                  </a:lnTo>
                  <a:lnTo>
                    <a:pt x="13157" y="5486"/>
                  </a:lnTo>
                  <a:lnTo>
                    <a:pt x="20104" y="5511"/>
                  </a:lnTo>
                  <a:lnTo>
                    <a:pt x="75145" y="5206"/>
                  </a:lnTo>
                  <a:lnTo>
                    <a:pt x="101364" y="4394"/>
                  </a:lnTo>
                  <a:lnTo>
                    <a:pt x="117027" y="2682"/>
                  </a:lnTo>
                  <a:lnTo>
                    <a:pt x="123141" y="985"/>
                  </a:lnTo>
                  <a:lnTo>
                    <a:pt x="120713" y="215"/>
                  </a:lnTo>
                  <a:lnTo>
                    <a:pt x="5803" y="139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8" name="object 1280">
              <a:extLst>
                <a:ext uri="{FF2B5EF4-FFF2-40B4-BE49-F238E27FC236}">
                  <a16:creationId xmlns:a16="http://schemas.microsoft.com/office/drawing/2014/main" id="{7EE6D2BE-860C-47D7-88AB-0018BD0A01AF}"/>
                </a:ext>
              </a:extLst>
            </p:cNvPr>
            <p:cNvSpPr/>
            <p:nvPr/>
          </p:nvSpPr>
          <p:spPr>
            <a:xfrm>
              <a:off x="7977959" y="6243068"/>
              <a:ext cx="121285" cy="86995"/>
            </a:xfrm>
            <a:custGeom>
              <a:avLst/>
              <a:gdLst/>
              <a:ahLst/>
              <a:cxnLst/>
              <a:rect l="l" t="t" r="r" b="b"/>
              <a:pathLst>
                <a:path w="121284" h="86995">
                  <a:moveTo>
                    <a:pt x="228" y="0"/>
                  </a:moveTo>
                  <a:lnTo>
                    <a:pt x="0" y="342"/>
                  </a:lnTo>
                  <a:lnTo>
                    <a:pt x="673" y="74129"/>
                  </a:lnTo>
                  <a:lnTo>
                    <a:pt x="1885" y="86639"/>
                  </a:lnTo>
                  <a:lnTo>
                    <a:pt x="3587" y="86361"/>
                  </a:lnTo>
                  <a:lnTo>
                    <a:pt x="5137" y="73588"/>
                  </a:lnTo>
                  <a:lnTo>
                    <a:pt x="5892" y="48615"/>
                  </a:lnTo>
                  <a:lnTo>
                    <a:pt x="6151" y="10741"/>
                  </a:lnTo>
                  <a:lnTo>
                    <a:pt x="6527" y="5511"/>
                  </a:lnTo>
                  <a:lnTo>
                    <a:pt x="7302" y="5054"/>
                  </a:lnTo>
                  <a:lnTo>
                    <a:pt x="12890" y="5346"/>
                  </a:lnTo>
                  <a:lnTo>
                    <a:pt x="19773" y="5372"/>
                  </a:lnTo>
                  <a:lnTo>
                    <a:pt x="74129" y="5067"/>
                  </a:lnTo>
                  <a:lnTo>
                    <a:pt x="99883" y="4275"/>
                  </a:lnTo>
                  <a:lnTo>
                    <a:pt x="115269" y="2606"/>
                  </a:lnTo>
                  <a:lnTo>
                    <a:pt x="121291" y="952"/>
                  </a:lnTo>
                  <a:lnTo>
                    <a:pt x="118948" y="203"/>
                  </a:lnTo>
                  <a:lnTo>
                    <a:pt x="5791" y="139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DD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89" name="object 1281">
              <a:extLst>
                <a:ext uri="{FF2B5EF4-FFF2-40B4-BE49-F238E27FC236}">
                  <a16:creationId xmlns:a16="http://schemas.microsoft.com/office/drawing/2014/main" id="{86FF4BAA-DF44-4C65-BAA1-B2AB69816FC5}"/>
                </a:ext>
              </a:extLst>
            </p:cNvPr>
            <p:cNvSpPr/>
            <p:nvPr/>
          </p:nvSpPr>
          <p:spPr>
            <a:xfrm>
              <a:off x="7977971" y="6243083"/>
              <a:ext cx="120014" cy="85725"/>
            </a:xfrm>
            <a:custGeom>
              <a:avLst/>
              <a:gdLst/>
              <a:ahLst/>
              <a:cxnLst/>
              <a:rect l="l" t="t" r="r" b="b"/>
              <a:pathLst>
                <a:path w="120015" h="85725">
                  <a:moveTo>
                    <a:pt x="228" y="0"/>
                  </a:moveTo>
                  <a:lnTo>
                    <a:pt x="0" y="330"/>
                  </a:lnTo>
                  <a:lnTo>
                    <a:pt x="673" y="73202"/>
                  </a:lnTo>
                  <a:lnTo>
                    <a:pt x="1845" y="85222"/>
                  </a:lnTo>
                  <a:lnTo>
                    <a:pt x="3497" y="84634"/>
                  </a:lnTo>
                  <a:lnTo>
                    <a:pt x="5003" y="71875"/>
                  </a:lnTo>
                  <a:lnTo>
                    <a:pt x="5740" y="47383"/>
                  </a:lnTo>
                  <a:lnTo>
                    <a:pt x="6011" y="10473"/>
                  </a:lnTo>
                  <a:lnTo>
                    <a:pt x="6388" y="5384"/>
                  </a:lnTo>
                  <a:lnTo>
                    <a:pt x="7137" y="4927"/>
                  </a:lnTo>
                  <a:lnTo>
                    <a:pt x="12636" y="5206"/>
                  </a:lnTo>
                  <a:lnTo>
                    <a:pt x="19443" y="5232"/>
                  </a:lnTo>
                  <a:lnTo>
                    <a:pt x="73113" y="4927"/>
                  </a:lnTo>
                  <a:lnTo>
                    <a:pt x="98412" y="4157"/>
                  </a:lnTo>
                  <a:lnTo>
                    <a:pt x="113523" y="2536"/>
                  </a:lnTo>
                  <a:lnTo>
                    <a:pt x="119450" y="930"/>
                  </a:lnTo>
                  <a:lnTo>
                    <a:pt x="117195" y="203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DEB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0" name="object 1282">
              <a:extLst>
                <a:ext uri="{FF2B5EF4-FFF2-40B4-BE49-F238E27FC236}">
                  <a16:creationId xmlns:a16="http://schemas.microsoft.com/office/drawing/2014/main" id="{B8D7B28B-572E-4D04-9692-02BAA2E0386E}"/>
                </a:ext>
              </a:extLst>
            </p:cNvPr>
            <p:cNvSpPr/>
            <p:nvPr/>
          </p:nvSpPr>
          <p:spPr>
            <a:xfrm>
              <a:off x="7977995" y="6243090"/>
              <a:ext cx="118110" cy="83820"/>
            </a:xfrm>
            <a:custGeom>
              <a:avLst/>
              <a:gdLst/>
              <a:ahLst/>
              <a:cxnLst/>
              <a:rect l="l" t="t" r="r" b="b"/>
              <a:pathLst>
                <a:path w="118109" h="83820">
                  <a:moveTo>
                    <a:pt x="215" y="0"/>
                  </a:moveTo>
                  <a:lnTo>
                    <a:pt x="0" y="330"/>
                  </a:lnTo>
                  <a:lnTo>
                    <a:pt x="647" y="72301"/>
                  </a:lnTo>
                  <a:lnTo>
                    <a:pt x="1787" y="83813"/>
                  </a:lnTo>
                  <a:lnTo>
                    <a:pt x="3392" y="82907"/>
                  </a:lnTo>
                  <a:lnTo>
                    <a:pt x="4857" y="70163"/>
                  </a:lnTo>
                  <a:lnTo>
                    <a:pt x="5575" y="46164"/>
                  </a:lnTo>
                  <a:lnTo>
                    <a:pt x="5859" y="10213"/>
                  </a:lnTo>
                  <a:lnTo>
                    <a:pt x="6223" y="5257"/>
                  </a:lnTo>
                  <a:lnTo>
                    <a:pt x="6972" y="4800"/>
                  </a:lnTo>
                  <a:lnTo>
                    <a:pt x="12357" y="5079"/>
                  </a:lnTo>
                  <a:lnTo>
                    <a:pt x="19100" y="5105"/>
                  </a:lnTo>
                  <a:lnTo>
                    <a:pt x="72072" y="4800"/>
                  </a:lnTo>
                  <a:lnTo>
                    <a:pt x="96911" y="4050"/>
                  </a:lnTo>
                  <a:lnTo>
                    <a:pt x="111747" y="2473"/>
                  </a:lnTo>
                  <a:lnTo>
                    <a:pt x="117581" y="910"/>
                  </a:lnTo>
                  <a:lnTo>
                    <a:pt x="115417" y="203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DFB5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1" name="object 1283">
              <a:extLst>
                <a:ext uri="{FF2B5EF4-FFF2-40B4-BE49-F238E27FC236}">
                  <a16:creationId xmlns:a16="http://schemas.microsoft.com/office/drawing/2014/main" id="{E6DD80AE-80F0-4F11-9B79-955D47EED862}"/>
                </a:ext>
              </a:extLst>
            </p:cNvPr>
            <p:cNvSpPr/>
            <p:nvPr/>
          </p:nvSpPr>
          <p:spPr>
            <a:xfrm>
              <a:off x="7978009" y="6243102"/>
              <a:ext cx="116205" cy="82550"/>
            </a:xfrm>
            <a:custGeom>
              <a:avLst/>
              <a:gdLst/>
              <a:ahLst/>
              <a:cxnLst/>
              <a:rect l="l" t="t" r="r" b="b"/>
              <a:pathLst>
                <a:path w="116204" h="82550">
                  <a:moveTo>
                    <a:pt x="215" y="0"/>
                  </a:moveTo>
                  <a:lnTo>
                    <a:pt x="0" y="330"/>
                  </a:lnTo>
                  <a:lnTo>
                    <a:pt x="634" y="71374"/>
                  </a:lnTo>
                  <a:lnTo>
                    <a:pt x="1735" y="82390"/>
                  </a:lnTo>
                  <a:lnTo>
                    <a:pt x="3292" y="81175"/>
                  </a:lnTo>
                  <a:lnTo>
                    <a:pt x="4721" y="68448"/>
                  </a:lnTo>
                  <a:lnTo>
                    <a:pt x="5435" y="44932"/>
                  </a:lnTo>
                  <a:lnTo>
                    <a:pt x="5717" y="9951"/>
                  </a:lnTo>
                  <a:lnTo>
                    <a:pt x="6083" y="5130"/>
                  </a:lnTo>
                  <a:lnTo>
                    <a:pt x="6819" y="4686"/>
                  </a:lnTo>
                  <a:lnTo>
                    <a:pt x="12090" y="4953"/>
                  </a:lnTo>
                  <a:lnTo>
                    <a:pt x="18770" y="4965"/>
                  </a:lnTo>
                  <a:lnTo>
                    <a:pt x="71043" y="4660"/>
                  </a:lnTo>
                  <a:lnTo>
                    <a:pt x="95430" y="3930"/>
                  </a:lnTo>
                  <a:lnTo>
                    <a:pt x="109993" y="2397"/>
                  </a:lnTo>
                  <a:lnTo>
                    <a:pt x="115733" y="878"/>
                  </a:lnTo>
                  <a:lnTo>
                    <a:pt x="113652" y="190"/>
                  </a:lnTo>
                  <a:lnTo>
                    <a:pt x="5727" y="127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E0B7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2" name="object 1284">
              <a:extLst>
                <a:ext uri="{FF2B5EF4-FFF2-40B4-BE49-F238E27FC236}">
                  <a16:creationId xmlns:a16="http://schemas.microsoft.com/office/drawing/2014/main" id="{B24542B5-62DB-44E1-A4F5-9961E6B1E96E}"/>
                </a:ext>
              </a:extLst>
            </p:cNvPr>
            <p:cNvSpPr/>
            <p:nvPr/>
          </p:nvSpPr>
          <p:spPr>
            <a:xfrm>
              <a:off x="7978020" y="6243106"/>
              <a:ext cx="114300" cy="81280"/>
            </a:xfrm>
            <a:custGeom>
              <a:avLst/>
              <a:gdLst/>
              <a:ahLst/>
              <a:cxnLst/>
              <a:rect l="l" t="t" r="r" b="b"/>
              <a:pathLst>
                <a:path w="114300" h="81279">
                  <a:moveTo>
                    <a:pt x="228" y="0"/>
                  </a:moveTo>
                  <a:lnTo>
                    <a:pt x="0" y="342"/>
                  </a:lnTo>
                  <a:lnTo>
                    <a:pt x="622" y="70472"/>
                  </a:lnTo>
                  <a:lnTo>
                    <a:pt x="1689" y="80989"/>
                  </a:lnTo>
                  <a:lnTo>
                    <a:pt x="3200" y="79457"/>
                  </a:lnTo>
                  <a:lnTo>
                    <a:pt x="4587" y="66743"/>
                  </a:lnTo>
                  <a:lnTo>
                    <a:pt x="5283" y="43713"/>
                  </a:lnTo>
                  <a:lnTo>
                    <a:pt x="5572" y="9696"/>
                  </a:lnTo>
                  <a:lnTo>
                    <a:pt x="5930" y="5016"/>
                  </a:lnTo>
                  <a:lnTo>
                    <a:pt x="6654" y="4571"/>
                  </a:lnTo>
                  <a:lnTo>
                    <a:pt x="11836" y="4825"/>
                  </a:lnTo>
                  <a:lnTo>
                    <a:pt x="18440" y="4838"/>
                  </a:lnTo>
                  <a:lnTo>
                    <a:pt x="70027" y="4521"/>
                  </a:lnTo>
                  <a:lnTo>
                    <a:pt x="93949" y="3819"/>
                  </a:lnTo>
                  <a:lnTo>
                    <a:pt x="108235" y="2338"/>
                  </a:lnTo>
                  <a:lnTo>
                    <a:pt x="113883" y="868"/>
                  </a:lnTo>
                  <a:lnTo>
                    <a:pt x="111886" y="203"/>
                  </a:lnTo>
                  <a:lnTo>
                    <a:pt x="5714" y="126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E1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3" name="object 1285">
              <a:extLst>
                <a:ext uri="{FF2B5EF4-FFF2-40B4-BE49-F238E27FC236}">
                  <a16:creationId xmlns:a16="http://schemas.microsoft.com/office/drawing/2014/main" id="{CDFCD051-7C47-4718-A143-1AD7C9B20E77}"/>
                </a:ext>
              </a:extLst>
            </p:cNvPr>
            <p:cNvSpPr/>
            <p:nvPr/>
          </p:nvSpPr>
          <p:spPr>
            <a:xfrm>
              <a:off x="7978043" y="6243120"/>
              <a:ext cx="112395" cy="80010"/>
            </a:xfrm>
            <a:custGeom>
              <a:avLst/>
              <a:gdLst/>
              <a:ahLst/>
              <a:cxnLst/>
              <a:rect l="l" t="t" r="r" b="b"/>
              <a:pathLst>
                <a:path w="112395" h="80009">
                  <a:moveTo>
                    <a:pt x="215" y="0"/>
                  </a:moveTo>
                  <a:lnTo>
                    <a:pt x="0" y="330"/>
                  </a:lnTo>
                  <a:lnTo>
                    <a:pt x="596" y="69545"/>
                  </a:lnTo>
                  <a:lnTo>
                    <a:pt x="1630" y="79564"/>
                  </a:lnTo>
                  <a:lnTo>
                    <a:pt x="3092" y="77720"/>
                  </a:lnTo>
                  <a:lnTo>
                    <a:pt x="4440" y="65023"/>
                  </a:lnTo>
                  <a:lnTo>
                    <a:pt x="5130" y="42481"/>
                  </a:lnTo>
                  <a:lnTo>
                    <a:pt x="5420" y="9429"/>
                  </a:lnTo>
                  <a:lnTo>
                    <a:pt x="5778" y="4889"/>
                  </a:lnTo>
                  <a:lnTo>
                    <a:pt x="6489" y="4445"/>
                  </a:lnTo>
                  <a:lnTo>
                    <a:pt x="11569" y="4686"/>
                  </a:lnTo>
                  <a:lnTo>
                    <a:pt x="18097" y="4699"/>
                  </a:lnTo>
                  <a:lnTo>
                    <a:pt x="68986" y="4381"/>
                  </a:lnTo>
                  <a:lnTo>
                    <a:pt x="92460" y="3701"/>
                  </a:lnTo>
                  <a:lnTo>
                    <a:pt x="106473" y="2268"/>
                  </a:lnTo>
                  <a:lnTo>
                    <a:pt x="112023" y="847"/>
                  </a:lnTo>
                  <a:lnTo>
                    <a:pt x="110108" y="203"/>
                  </a:lnTo>
                  <a:lnTo>
                    <a:pt x="5689" y="127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4" name="object 1286">
              <a:extLst>
                <a:ext uri="{FF2B5EF4-FFF2-40B4-BE49-F238E27FC236}">
                  <a16:creationId xmlns:a16="http://schemas.microsoft.com/office/drawing/2014/main" id="{CD910E8F-A15C-48EA-AE90-E0CC00A4C934}"/>
                </a:ext>
              </a:extLst>
            </p:cNvPr>
            <p:cNvSpPr/>
            <p:nvPr/>
          </p:nvSpPr>
          <p:spPr>
            <a:xfrm>
              <a:off x="7978053" y="6243126"/>
              <a:ext cx="110489" cy="78740"/>
            </a:xfrm>
            <a:custGeom>
              <a:avLst/>
              <a:gdLst/>
              <a:ahLst/>
              <a:cxnLst/>
              <a:rect l="l" t="t" r="r" b="b"/>
              <a:pathLst>
                <a:path w="110490" h="78740">
                  <a:moveTo>
                    <a:pt x="228" y="0"/>
                  </a:moveTo>
                  <a:lnTo>
                    <a:pt x="0" y="342"/>
                  </a:lnTo>
                  <a:lnTo>
                    <a:pt x="584" y="68643"/>
                  </a:lnTo>
                  <a:lnTo>
                    <a:pt x="1584" y="78163"/>
                  </a:lnTo>
                  <a:lnTo>
                    <a:pt x="2998" y="76001"/>
                  </a:lnTo>
                  <a:lnTo>
                    <a:pt x="4300" y="63312"/>
                  </a:lnTo>
                  <a:lnTo>
                    <a:pt x="4965" y="41249"/>
                  </a:lnTo>
                  <a:lnTo>
                    <a:pt x="5283" y="9168"/>
                  </a:lnTo>
                  <a:lnTo>
                    <a:pt x="5638" y="4762"/>
                  </a:lnTo>
                  <a:lnTo>
                    <a:pt x="6324" y="4330"/>
                  </a:lnTo>
                  <a:lnTo>
                    <a:pt x="11303" y="4559"/>
                  </a:lnTo>
                  <a:lnTo>
                    <a:pt x="17767" y="4572"/>
                  </a:lnTo>
                  <a:lnTo>
                    <a:pt x="67970" y="4254"/>
                  </a:lnTo>
                  <a:lnTo>
                    <a:pt x="90982" y="3594"/>
                  </a:lnTo>
                  <a:lnTo>
                    <a:pt x="104717" y="2205"/>
                  </a:lnTo>
                  <a:lnTo>
                    <a:pt x="110175" y="827"/>
                  </a:lnTo>
                  <a:lnTo>
                    <a:pt x="108356" y="203"/>
                  </a:lnTo>
                  <a:lnTo>
                    <a:pt x="5664" y="127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E3BB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5" name="object 1287">
              <a:extLst>
                <a:ext uri="{FF2B5EF4-FFF2-40B4-BE49-F238E27FC236}">
                  <a16:creationId xmlns:a16="http://schemas.microsoft.com/office/drawing/2014/main" id="{F13CDB3B-CC49-4BC9-812B-2C7BF8EF36F9}"/>
                </a:ext>
              </a:extLst>
            </p:cNvPr>
            <p:cNvSpPr/>
            <p:nvPr/>
          </p:nvSpPr>
          <p:spPr>
            <a:xfrm>
              <a:off x="7978067" y="6243138"/>
              <a:ext cx="108585" cy="76835"/>
            </a:xfrm>
            <a:custGeom>
              <a:avLst/>
              <a:gdLst/>
              <a:ahLst/>
              <a:cxnLst/>
              <a:rect l="l" t="t" r="r" b="b"/>
              <a:pathLst>
                <a:path w="108584" h="76834">
                  <a:moveTo>
                    <a:pt x="228" y="0"/>
                  </a:moveTo>
                  <a:lnTo>
                    <a:pt x="0" y="342"/>
                  </a:lnTo>
                  <a:lnTo>
                    <a:pt x="571" y="67729"/>
                  </a:lnTo>
                  <a:lnTo>
                    <a:pt x="1539" y="76749"/>
                  </a:lnTo>
                  <a:lnTo>
                    <a:pt x="2908" y="74272"/>
                  </a:lnTo>
                  <a:lnTo>
                    <a:pt x="4171" y="61599"/>
                  </a:lnTo>
                  <a:lnTo>
                    <a:pt x="4826" y="40030"/>
                  </a:lnTo>
                  <a:lnTo>
                    <a:pt x="5138" y="8906"/>
                  </a:lnTo>
                  <a:lnTo>
                    <a:pt x="5486" y="4635"/>
                  </a:lnTo>
                  <a:lnTo>
                    <a:pt x="6172" y="4216"/>
                  </a:lnTo>
                  <a:lnTo>
                    <a:pt x="11049" y="4432"/>
                  </a:lnTo>
                  <a:lnTo>
                    <a:pt x="17437" y="4432"/>
                  </a:lnTo>
                  <a:lnTo>
                    <a:pt x="66954" y="4114"/>
                  </a:lnTo>
                  <a:lnTo>
                    <a:pt x="89506" y="3476"/>
                  </a:lnTo>
                  <a:lnTo>
                    <a:pt x="102965" y="2135"/>
                  </a:lnTo>
                  <a:lnTo>
                    <a:pt x="108327" y="805"/>
                  </a:lnTo>
                  <a:lnTo>
                    <a:pt x="106591" y="203"/>
                  </a:lnTo>
                  <a:lnTo>
                    <a:pt x="5651" y="127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E4BC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6" name="object 1288">
              <a:extLst>
                <a:ext uri="{FF2B5EF4-FFF2-40B4-BE49-F238E27FC236}">
                  <a16:creationId xmlns:a16="http://schemas.microsoft.com/office/drawing/2014/main" id="{94FBDD38-295E-41D1-8B48-03A1E738A7D0}"/>
                </a:ext>
              </a:extLst>
            </p:cNvPr>
            <p:cNvSpPr/>
            <p:nvPr/>
          </p:nvSpPr>
          <p:spPr>
            <a:xfrm>
              <a:off x="7978094" y="6243145"/>
              <a:ext cx="106680" cy="75565"/>
            </a:xfrm>
            <a:custGeom>
              <a:avLst/>
              <a:gdLst/>
              <a:ahLst/>
              <a:cxnLst/>
              <a:rect l="l" t="t" r="r" b="b"/>
              <a:pathLst>
                <a:path w="106679" h="75565">
                  <a:moveTo>
                    <a:pt x="215" y="0"/>
                  </a:moveTo>
                  <a:lnTo>
                    <a:pt x="0" y="342"/>
                  </a:lnTo>
                  <a:lnTo>
                    <a:pt x="546" y="66814"/>
                  </a:lnTo>
                  <a:lnTo>
                    <a:pt x="1474" y="75336"/>
                  </a:lnTo>
                  <a:lnTo>
                    <a:pt x="2794" y="72547"/>
                  </a:lnTo>
                  <a:lnTo>
                    <a:pt x="4017" y="59887"/>
                  </a:lnTo>
                  <a:lnTo>
                    <a:pt x="4660" y="38798"/>
                  </a:lnTo>
                  <a:lnTo>
                    <a:pt x="4978" y="8646"/>
                  </a:lnTo>
                  <a:lnTo>
                    <a:pt x="5321" y="4508"/>
                  </a:lnTo>
                  <a:lnTo>
                    <a:pt x="6007" y="4102"/>
                  </a:lnTo>
                  <a:lnTo>
                    <a:pt x="17094" y="4305"/>
                  </a:lnTo>
                  <a:lnTo>
                    <a:pt x="65913" y="3987"/>
                  </a:lnTo>
                  <a:lnTo>
                    <a:pt x="88005" y="3364"/>
                  </a:lnTo>
                  <a:lnTo>
                    <a:pt x="101188" y="2066"/>
                  </a:lnTo>
                  <a:lnTo>
                    <a:pt x="106459" y="783"/>
                  </a:lnTo>
                  <a:lnTo>
                    <a:pt x="104813" y="203"/>
                  </a:lnTo>
                  <a:lnTo>
                    <a:pt x="5626" y="126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E6BD2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7" name="object 1289">
              <a:extLst>
                <a:ext uri="{FF2B5EF4-FFF2-40B4-BE49-F238E27FC236}">
                  <a16:creationId xmlns:a16="http://schemas.microsoft.com/office/drawing/2014/main" id="{8D31B700-C48A-4B8F-968A-D7E83F1F3F2C}"/>
                </a:ext>
              </a:extLst>
            </p:cNvPr>
            <p:cNvSpPr/>
            <p:nvPr/>
          </p:nvSpPr>
          <p:spPr>
            <a:xfrm>
              <a:off x="7978102" y="6243171"/>
              <a:ext cx="104775" cy="74295"/>
            </a:xfrm>
            <a:custGeom>
              <a:avLst/>
              <a:gdLst/>
              <a:ahLst/>
              <a:cxnLst/>
              <a:rect l="l" t="t" r="r" b="b"/>
              <a:pathLst>
                <a:path w="104775" h="74295">
                  <a:moveTo>
                    <a:pt x="104609" y="762"/>
                  </a:moveTo>
                  <a:lnTo>
                    <a:pt x="103047" y="203"/>
                  </a:lnTo>
                  <a:lnTo>
                    <a:pt x="228" y="0"/>
                  </a:lnTo>
                  <a:lnTo>
                    <a:pt x="76" y="228"/>
                  </a:lnTo>
                  <a:lnTo>
                    <a:pt x="50" y="6591"/>
                  </a:lnTo>
                  <a:lnTo>
                    <a:pt x="50" y="7848"/>
                  </a:lnTo>
                  <a:lnTo>
                    <a:pt x="177" y="22199"/>
                  </a:lnTo>
                  <a:lnTo>
                    <a:pt x="177" y="35788"/>
                  </a:lnTo>
                  <a:lnTo>
                    <a:pt x="381" y="47167"/>
                  </a:lnTo>
                  <a:lnTo>
                    <a:pt x="381" y="56108"/>
                  </a:lnTo>
                  <a:lnTo>
                    <a:pt x="495" y="61214"/>
                  </a:lnTo>
                  <a:lnTo>
                    <a:pt x="495" y="64998"/>
                  </a:lnTo>
                  <a:lnTo>
                    <a:pt x="533" y="65887"/>
                  </a:lnTo>
                  <a:lnTo>
                    <a:pt x="749" y="67843"/>
                  </a:lnTo>
                  <a:lnTo>
                    <a:pt x="749" y="68808"/>
                  </a:lnTo>
                  <a:lnTo>
                    <a:pt x="1181" y="71742"/>
                  </a:lnTo>
                  <a:lnTo>
                    <a:pt x="1181" y="72618"/>
                  </a:lnTo>
                  <a:lnTo>
                    <a:pt x="1422" y="73914"/>
                  </a:lnTo>
                  <a:lnTo>
                    <a:pt x="1955" y="72618"/>
                  </a:lnTo>
                  <a:lnTo>
                    <a:pt x="2032" y="72453"/>
                  </a:lnTo>
                  <a:lnTo>
                    <a:pt x="2705" y="70815"/>
                  </a:lnTo>
                  <a:lnTo>
                    <a:pt x="3238" y="64998"/>
                  </a:lnTo>
                  <a:lnTo>
                    <a:pt x="3390" y="64998"/>
                  </a:lnTo>
                  <a:lnTo>
                    <a:pt x="3390" y="63474"/>
                  </a:lnTo>
                  <a:lnTo>
                    <a:pt x="3886" y="58166"/>
                  </a:lnTo>
                  <a:lnTo>
                    <a:pt x="3937" y="56108"/>
                  </a:lnTo>
                  <a:lnTo>
                    <a:pt x="4076" y="56108"/>
                  </a:lnTo>
                  <a:lnTo>
                    <a:pt x="4076" y="51866"/>
                  </a:lnTo>
                  <a:lnTo>
                    <a:pt x="4508" y="37566"/>
                  </a:lnTo>
                  <a:lnTo>
                    <a:pt x="4521" y="35788"/>
                  </a:lnTo>
                  <a:lnTo>
                    <a:pt x="4546" y="34201"/>
                  </a:lnTo>
                  <a:lnTo>
                    <a:pt x="4838" y="8369"/>
                  </a:lnTo>
                  <a:lnTo>
                    <a:pt x="4876" y="7848"/>
                  </a:lnTo>
                  <a:lnTo>
                    <a:pt x="5181" y="4381"/>
                  </a:lnTo>
                  <a:lnTo>
                    <a:pt x="5727" y="4038"/>
                  </a:lnTo>
                  <a:lnTo>
                    <a:pt x="7391" y="4038"/>
                  </a:lnTo>
                  <a:lnTo>
                    <a:pt x="10502" y="4165"/>
                  </a:lnTo>
                  <a:lnTo>
                    <a:pt x="16764" y="4165"/>
                  </a:lnTo>
                  <a:lnTo>
                    <a:pt x="36017" y="4038"/>
                  </a:lnTo>
                  <a:lnTo>
                    <a:pt x="75539" y="4038"/>
                  </a:lnTo>
                  <a:lnTo>
                    <a:pt x="75539" y="3556"/>
                  </a:lnTo>
                  <a:lnTo>
                    <a:pt x="86525" y="3251"/>
                  </a:lnTo>
                  <a:lnTo>
                    <a:pt x="91465" y="2768"/>
                  </a:lnTo>
                  <a:lnTo>
                    <a:pt x="95643" y="2768"/>
                  </a:lnTo>
                  <a:lnTo>
                    <a:pt x="95643" y="2374"/>
                  </a:lnTo>
                  <a:lnTo>
                    <a:pt x="99428" y="1993"/>
                  </a:lnTo>
                  <a:lnTo>
                    <a:pt x="101511" y="1498"/>
                  </a:lnTo>
                  <a:lnTo>
                    <a:pt x="102260" y="1498"/>
                  </a:lnTo>
                  <a:lnTo>
                    <a:pt x="102260" y="1320"/>
                  </a:lnTo>
                  <a:lnTo>
                    <a:pt x="104609" y="762"/>
                  </a:lnTo>
                  <a:close/>
                </a:path>
              </a:pathLst>
            </a:custGeom>
            <a:solidFill>
              <a:srgbClr val="E7BE2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8" name="object 1290">
              <a:extLst>
                <a:ext uri="{FF2B5EF4-FFF2-40B4-BE49-F238E27FC236}">
                  <a16:creationId xmlns:a16="http://schemas.microsoft.com/office/drawing/2014/main" id="{D8AA493D-A615-4F57-902C-D63DED1CA1B9}"/>
                </a:ext>
              </a:extLst>
            </p:cNvPr>
            <p:cNvSpPr/>
            <p:nvPr/>
          </p:nvSpPr>
          <p:spPr>
            <a:xfrm>
              <a:off x="7978140" y="6243272"/>
              <a:ext cx="100965" cy="71120"/>
            </a:xfrm>
            <a:custGeom>
              <a:avLst/>
              <a:gdLst/>
              <a:ahLst/>
              <a:cxnLst/>
              <a:rect l="l" t="t" r="r" b="b"/>
              <a:pathLst>
                <a:path w="100965" h="71120">
                  <a:moveTo>
                    <a:pt x="100838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2" y="3810"/>
                  </a:lnTo>
                  <a:lnTo>
                    <a:pt x="38" y="7620"/>
                  </a:lnTo>
                  <a:lnTo>
                    <a:pt x="152" y="35560"/>
                  </a:lnTo>
                  <a:lnTo>
                    <a:pt x="342" y="35560"/>
                  </a:lnTo>
                  <a:lnTo>
                    <a:pt x="342" y="54610"/>
                  </a:lnTo>
                  <a:lnTo>
                    <a:pt x="444" y="63500"/>
                  </a:lnTo>
                  <a:lnTo>
                    <a:pt x="660" y="63500"/>
                  </a:lnTo>
                  <a:lnTo>
                    <a:pt x="660" y="67310"/>
                  </a:lnTo>
                  <a:lnTo>
                    <a:pt x="1104" y="67310"/>
                  </a:lnTo>
                  <a:lnTo>
                    <a:pt x="1104" y="71120"/>
                  </a:lnTo>
                  <a:lnTo>
                    <a:pt x="1879" y="71120"/>
                  </a:lnTo>
                  <a:lnTo>
                    <a:pt x="1879" y="67310"/>
                  </a:lnTo>
                  <a:lnTo>
                    <a:pt x="2654" y="67310"/>
                  </a:lnTo>
                  <a:lnTo>
                    <a:pt x="2654" y="63500"/>
                  </a:lnTo>
                  <a:lnTo>
                    <a:pt x="3213" y="63500"/>
                  </a:lnTo>
                  <a:lnTo>
                    <a:pt x="3213" y="54610"/>
                  </a:lnTo>
                  <a:lnTo>
                    <a:pt x="3886" y="54610"/>
                  </a:lnTo>
                  <a:lnTo>
                    <a:pt x="3886" y="35560"/>
                  </a:lnTo>
                  <a:lnTo>
                    <a:pt x="4368" y="35560"/>
                  </a:lnTo>
                  <a:lnTo>
                    <a:pt x="4368" y="7620"/>
                  </a:lnTo>
                  <a:lnTo>
                    <a:pt x="4724" y="7620"/>
                  </a:lnTo>
                  <a:lnTo>
                    <a:pt x="4724" y="3810"/>
                  </a:lnTo>
                  <a:lnTo>
                    <a:pt x="74333" y="3810"/>
                  </a:lnTo>
                  <a:lnTo>
                    <a:pt x="74333" y="2540"/>
                  </a:lnTo>
                  <a:lnTo>
                    <a:pt x="94488" y="2540"/>
                  </a:lnTo>
                  <a:lnTo>
                    <a:pt x="94488" y="1270"/>
                  </a:lnTo>
                  <a:lnTo>
                    <a:pt x="100838" y="1270"/>
                  </a:lnTo>
                  <a:lnTo>
                    <a:pt x="100838" y="0"/>
                  </a:lnTo>
                  <a:close/>
                </a:path>
              </a:pathLst>
            </a:custGeom>
            <a:solidFill>
              <a:srgbClr val="E8C1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99" name="object 1291">
              <a:extLst>
                <a:ext uri="{FF2B5EF4-FFF2-40B4-BE49-F238E27FC236}">
                  <a16:creationId xmlns:a16="http://schemas.microsoft.com/office/drawing/2014/main" id="{092A0EF8-4A78-405B-95FB-967827265D83}"/>
                </a:ext>
              </a:extLst>
            </p:cNvPr>
            <p:cNvSpPr/>
            <p:nvPr/>
          </p:nvSpPr>
          <p:spPr>
            <a:xfrm>
              <a:off x="7978153" y="6243145"/>
              <a:ext cx="99060" cy="69850"/>
            </a:xfrm>
            <a:custGeom>
              <a:avLst/>
              <a:gdLst/>
              <a:ahLst/>
              <a:cxnLst/>
              <a:rect l="l" t="t" r="r" b="b"/>
              <a:pathLst>
                <a:path w="99059" h="69850">
                  <a:moveTo>
                    <a:pt x="98767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2" y="3810"/>
                  </a:lnTo>
                  <a:lnTo>
                    <a:pt x="38" y="7620"/>
                  </a:lnTo>
                  <a:lnTo>
                    <a:pt x="152" y="34290"/>
                  </a:lnTo>
                  <a:lnTo>
                    <a:pt x="330" y="34290"/>
                  </a:lnTo>
                  <a:lnTo>
                    <a:pt x="330" y="53340"/>
                  </a:lnTo>
                  <a:lnTo>
                    <a:pt x="444" y="63500"/>
                  </a:lnTo>
                  <a:lnTo>
                    <a:pt x="673" y="63500"/>
                  </a:lnTo>
                  <a:lnTo>
                    <a:pt x="673" y="66040"/>
                  </a:lnTo>
                  <a:lnTo>
                    <a:pt x="1054" y="66040"/>
                  </a:lnTo>
                  <a:lnTo>
                    <a:pt x="1054" y="69850"/>
                  </a:lnTo>
                  <a:lnTo>
                    <a:pt x="1765" y="69850"/>
                  </a:lnTo>
                  <a:lnTo>
                    <a:pt x="1765" y="66040"/>
                  </a:lnTo>
                  <a:lnTo>
                    <a:pt x="2476" y="66040"/>
                  </a:lnTo>
                  <a:lnTo>
                    <a:pt x="2476" y="63500"/>
                  </a:lnTo>
                  <a:lnTo>
                    <a:pt x="3009" y="63500"/>
                  </a:lnTo>
                  <a:lnTo>
                    <a:pt x="3009" y="53340"/>
                  </a:lnTo>
                  <a:lnTo>
                    <a:pt x="3746" y="53340"/>
                  </a:lnTo>
                  <a:lnTo>
                    <a:pt x="3746" y="34290"/>
                  </a:lnTo>
                  <a:lnTo>
                    <a:pt x="4216" y="34290"/>
                  </a:lnTo>
                  <a:lnTo>
                    <a:pt x="4216" y="7620"/>
                  </a:lnTo>
                  <a:lnTo>
                    <a:pt x="4572" y="7620"/>
                  </a:lnTo>
                  <a:lnTo>
                    <a:pt x="4572" y="3810"/>
                  </a:lnTo>
                  <a:lnTo>
                    <a:pt x="73520" y="3810"/>
                  </a:lnTo>
                  <a:lnTo>
                    <a:pt x="73520" y="2540"/>
                  </a:lnTo>
                  <a:lnTo>
                    <a:pt x="93459" y="2540"/>
                  </a:lnTo>
                  <a:lnTo>
                    <a:pt x="93459" y="1270"/>
                  </a:lnTo>
                  <a:lnTo>
                    <a:pt x="98767" y="1270"/>
                  </a:lnTo>
                  <a:lnTo>
                    <a:pt x="98767" y="0"/>
                  </a:lnTo>
                  <a:close/>
                </a:path>
              </a:pathLst>
            </a:custGeom>
            <a:solidFill>
              <a:srgbClr val="E9C12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0" name="object 1292">
              <a:extLst>
                <a:ext uri="{FF2B5EF4-FFF2-40B4-BE49-F238E27FC236}">
                  <a16:creationId xmlns:a16="http://schemas.microsoft.com/office/drawing/2014/main" id="{83FB6EBD-100D-4313-8817-2F727EC43F65}"/>
                </a:ext>
              </a:extLst>
            </p:cNvPr>
            <p:cNvSpPr/>
            <p:nvPr/>
          </p:nvSpPr>
          <p:spPr>
            <a:xfrm>
              <a:off x="7978165" y="6243018"/>
              <a:ext cx="97155" cy="68580"/>
            </a:xfrm>
            <a:custGeom>
              <a:avLst/>
              <a:gdLst/>
              <a:ahLst/>
              <a:cxnLst/>
              <a:rect l="l" t="t" r="r" b="b"/>
              <a:pathLst>
                <a:path w="97154" h="68579">
                  <a:moveTo>
                    <a:pt x="96659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2" y="3810"/>
                  </a:lnTo>
                  <a:lnTo>
                    <a:pt x="38" y="7620"/>
                  </a:lnTo>
                  <a:lnTo>
                    <a:pt x="139" y="33020"/>
                  </a:lnTo>
                  <a:lnTo>
                    <a:pt x="317" y="33020"/>
                  </a:lnTo>
                  <a:lnTo>
                    <a:pt x="317" y="52070"/>
                  </a:lnTo>
                  <a:lnTo>
                    <a:pt x="419" y="62230"/>
                  </a:lnTo>
                  <a:lnTo>
                    <a:pt x="520" y="63500"/>
                  </a:lnTo>
                  <a:lnTo>
                    <a:pt x="914" y="63500"/>
                  </a:lnTo>
                  <a:lnTo>
                    <a:pt x="914" y="68580"/>
                  </a:lnTo>
                  <a:lnTo>
                    <a:pt x="1816" y="68580"/>
                  </a:lnTo>
                  <a:lnTo>
                    <a:pt x="1816" y="63500"/>
                  </a:lnTo>
                  <a:lnTo>
                    <a:pt x="2400" y="63500"/>
                  </a:lnTo>
                  <a:lnTo>
                    <a:pt x="2400" y="62230"/>
                  </a:lnTo>
                  <a:lnTo>
                    <a:pt x="2857" y="62230"/>
                  </a:lnTo>
                  <a:lnTo>
                    <a:pt x="2857" y="52070"/>
                  </a:lnTo>
                  <a:lnTo>
                    <a:pt x="3594" y="52070"/>
                  </a:lnTo>
                  <a:lnTo>
                    <a:pt x="3594" y="33020"/>
                  </a:lnTo>
                  <a:lnTo>
                    <a:pt x="4076" y="33020"/>
                  </a:lnTo>
                  <a:lnTo>
                    <a:pt x="4076" y="7620"/>
                  </a:lnTo>
                  <a:lnTo>
                    <a:pt x="4419" y="7620"/>
                  </a:lnTo>
                  <a:lnTo>
                    <a:pt x="4419" y="3810"/>
                  </a:lnTo>
                  <a:lnTo>
                    <a:pt x="72555" y="3810"/>
                  </a:lnTo>
                  <a:lnTo>
                    <a:pt x="72555" y="2540"/>
                  </a:lnTo>
                  <a:lnTo>
                    <a:pt x="92392" y="2540"/>
                  </a:lnTo>
                  <a:lnTo>
                    <a:pt x="92392" y="1270"/>
                  </a:lnTo>
                  <a:lnTo>
                    <a:pt x="96659" y="1270"/>
                  </a:lnTo>
                  <a:lnTo>
                    <a:pt x="96659" y="0"/>
                  </a:lnTo>
                  <a:close/>
                </a:path>
              </a:pathLst>
            </a:custGeom>
            <a:solidFill>
              <a:srgbClr val="EAC3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1" name="object 1293">
              <a:extLst>
                <a:ext uri="{FF2B5EF4-FFF2-40B4-BE49-F238E27FC236}">
                  <a16:creationId xmlns:a16="http://schemas.microsoft.com/office/drawing/2014/main" id="{023E4535-8FE2-415E-87B9-744E4D484BB4}"/>
                </a:ext>
              </a:extLst>
            </p:cNvPr>
            <p:cNvSpPr/>
            <p:nvPr/>
          </p:nvSpPr>
          <p:spPr>
            <a:xfrm>
              <a:off x="7978191" y="6242891"/>
              <a:ext cx="94615" cy="67310"/>
            </a:xfrm>
            <a:custGeom>
              <a:avLst/>
              <a:gdLst/>
              <a:ahLst/>
              <a:cxnLst/>
              <a:rect l="l" t="t" r="r" b="b"/>
              <a:pathLst>
                <a:path w="94615" h="67309">
                  <a:moveTo>
                    <a:pt x="94513" y="0"/>
                  </a:moveTo>
                  <a:lnTo>
                    <a:pt x="0" y="0"/>
                  </a:lnTo>
                  <a:lnTo>
                    <a:pt x="0" y="1270"/>
                  </a:lnTo>
                  <a:lnTo>
                    <a:pt x="0" y="2540"/>
                  </a:lnTo>
                  <a:lnTo>
                    <a:pt x="12" y="3810"/>
                  </a:lnTo>
                  <a:lnTo>
                    <a:pt x="25" y="7620"/>
                  </a:lnTo>
                  <a:lnTo>
                    <a:pt x="127" y="31750"/>
                  </a:lnTo>
                  <a:lnTo>
                    <a:pt x="279" y="31750"/>
                  </a:lnTo>
                  <a:lnTo>
                    <a:pt x="279" y="49530"/>
                  </a:lnTo>
                  <a:lnTo>
                    <a:pt x="393" y="62230"/>
                  </a:lnTo>
                  <a:lnTo>
                    <a:pt x="850" y="62230"/>
                  </a:lnTo>
                  <a:lnTo>
                    <a:pt x="850" y="67310"/>
                  </a:lnTo>
                  <a:lnTo>
                    <a:pt x="1689" y="67310"/>
                  </a:lnTo>
                  <a:lnTo>
                    <a:pt x="1689" y="62230"/>
                  </a:lnTo>
                  <a:lnTo>
                    <a:pt x="2717" y="62230"/>
                  </a:lnTo>
                  <a:lnTo>
                    <a:pt x="2717" y="49530"/>
                  </a:lnTo>
                  <a:lnTo>
                    <a:pt x="3467" y="49530"/>
                  </a:lnTo>
                  <a:lnTo>
                    <a:pt x="3467" y="31750"/>
                  </a:lnTo>
                  <a:lnTo>
                    <a:pt x="3911" y="31750"/>
                  </a:lnTo>
                  <a:lnTo>
                    <a:pt x="3911" y="7620"/>
                  </a:lnTo>
                  <a:lnTo>
                    <a:pt x="4254" y="7620"/>
                  </a:lnTo>
                  <a:lnTo>
                    <a:pt x="4254" y="3810"/>
                  </a:lnTo>
                  <a:lnTo>
                    <a:pt x="71767" y="3810"/>
                  </a:lnTo>
                  <a:lnTo>
                    <a:pt x="71767" y="2540"/>
                  </a:lnTo>
                  <a:lnTo>
                    <a:pt x="90932" y="2540"/>
                  </a:lnTo>
                  <a:lnTo>
                    <a:pt x="90932" y="1270"/>
                  </a:lnTo>
                  <a:lnTo>
                    <a:pt x="94513" y="1270"/>
                  </a:lnTo>
                  <a:lnTo>
                    <a:pt x="94513" y="0"/>
                  </a:lnTo>
                  <a:close/>
                </a:path>
              </a:pathLst>
            </a:custGeom>
            <a:solidFill>
              <a:srgbClr val="EBC4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2" name="object 1294">
              <a:extLst>
                <a:ext uri="{FF2B5EF4-FFF2-40B4-BE49-F238E27FC236}">
                  <a16:creationId xmlns:a16="http://schemas.microsoft.com/office/drawing/2014/main" id="{B204A44D-7658-4D10-811D-F5A9D1A0CEA2}"/>
                </a:ext>
              </a:extLst>
            </p:cNvPr>
            <p:cNvSpPr/>
            <p:nvPr/>
          </p:nvSpPr>
          <p:spPr>
            <a:xfrm>
              <a:off x="7978203" y="6242777"/>
              <a:ext cx="92710" cy="66040"/>
            </a:xfrm>
            <a:custGeom>
              <a:avLst/>
              <a:gdLst/>
              <a:ahLst/>
              <a:cxnLst/>
              <a:rect l="l" t="t" r="r" b="b"/>
              <a:pathLst>
                <a:path w="92709" h="66040">
                  <a:moveTo>
                    <a:pt x="92443" y="0"/>
                  </a:moveTo>
                  <a:lnTo>
                    <a:pt x="88" y="0"/>
                  </a:lnTo>
                  <a:lnTo>
                    <a:pt x="88" y="1270"/>
                  </a:lnTo>
                  <a:lnTo>
                    <a:pt x="0" y="2540"/>
                  </a:lnTo>
                  <a:lnTo>
                    <a:pt x="12" y="3810"/>
                  </a:lnTo>
                  <a:lnTo>
                    <a:pt x="25" y="7620"/>
                  </a:lnTo>
                  <a:lnTo>
                    <a:pt x="127" y="30480"/>
                  </a:lnTo>
                  <a:lnTo>
                    <a:pt x="279" y="30480"/>
                  </a:lnTo>
                  <a:lnTo>
                    <a:pt x="279" y="48260"/>
                  </a:lnTo>
                  <a:lnTo>
                    <a:pt x="393" y="60960"/>
                  </a:lnTo>
                  <a:lnTo>
                    <a:pt x="787" y="60960"/>
                  </a:lnTo>
                  <a:lnTo>
                    <a:pt x="787" y="66040"/>
                  </a:lnTo>
                  <a:lnTo>
                    <a:pt x="1587" y="66040"/>
                  </a:lnTo>
                  <a:lnTo>
                    <a:pt x="1587" y="60960"/>
                  </a:lnTo>
                  <a:lnTo>
                    <a:pt x="2565" y="60960"/>
                  </a:lnTo>
                  <a:lnTo>
                    <a:pt x="2565" y="48260"/>
                  </a:lnTo>
                  <a:lnTo>
                    <a:pt x="3314" y="48260"/>
                  </a:lnTo>
                  <a:lnTo>
                    <a:pt x="3314" y="30480"/>
                  </a:lnTo>
                  <a:lnTo>
                    <a:pt x="3771" y="30480"/>
                  </a:lnTo>
                  <a:lnTo>
                    <a:pt x="3771" y="7620"/>
                  </a:lnTo>
                  <a:lnTo>
                    <a:pt x="4102" y="7620"/>
                  </a:lnTo>
                  <a:lnTo>
                    <a:pt x="4102" y="3810"/>
                  </a:lnTo>
                  <a:lnTo>
                    <a:pt x="70942" y="3810"/>
                  </a:lnTo>
                  <a:lnTo>
                    <a:pt x="70942" y="2540"/>
                  </a:lnTo>
                  <a:lnTo>
                    <a:pt x="89484" y="2540"/>
                  </a:lnTo>
                  <a:lnTo>
                    <a:pt x="89484" y="1270"/>
                  </a:lnTo>
                  <a:lnTo>
                    <a:pt x="92443" y="1270"/>
                  </a:lnTo>
                  <a:lnTo>
                    <a:pt x="92443" y="0"/>
                  </a:lnTo>
                  <a:close/>
                </a:path>
              </a:pathLst>
            </a:custGeom>
            <a:solidFill>
              <a:srgbClr val="ECC5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3" name="object 1295">
              <a:extLst>
                <a:ext uri="{FF2B5EF4-FFF2-40B4-BE49-F238E27FC236}">
                  <a16:creationId xmlns:a16="http://schemas.microsoft.com/office/drawing/2014/main" id="{B7EDCC20-D68B-4B74-AF56-7FAA2450A92E}"/>
                </a:ext>
              </a:extLst>
            </p:cNvPr>
            <p:cNvSpPr/>
            <p:nvPr/>
          </p:nvSpPr>
          <p:spPr>
            <a:xfrm>
              <a:off x="7978222" y="6243231"/>
              <a:ext cx="92075" cy="64135"/>
            </a:xfrm>
            <a:custGeom>
              <a:avLst/>
              <a:gdLst/>
              <a:ahLst/>
              <a:cxnLst/>
              <a:rect l="l" t="t" r="r" b="b"/>
              <a:pathLst>
                <a:path w="92075" h="64134">
                  <a:moveTo>
                    <a:pt x="215" y="0"/>
                  </a:moveTo>
                  <a:lnTo>
                    <a:pt x="0" y="330"/>
                  </a:lnTo>
                  <a:lnTo>
                    <a:pt x="419" y="59486"/>
                  </a:lnTo>
                  <a:lnTo>
                    <a:pt x="1069" y="64023"/>
                  </a:lnTo>
                  <a:lnTo>
                    <a:pt x="2005" y="58724"/>
                  </a:lnTo>
                  <a:lnTo>
                    <a:pt x="2899" y="46177"/>
                  </a:lnTo>
                  <a:lnTo>
                    <a:pt x="3818" y="6535"/>
                  </a:lnTo>
                  <a:lnTo>
                    <a:pt x="4127" y="3492"/>
                  </a:lnTo>
                  <a:lnTo>
                    <a:pt x="4711" y="3136"/>
                  </a:lnTo>
                  <a:lnTo>
                    <a:pt x="14414" y="3225"/>
                  </a:lnTo>
                  <a:lnTo>
                    <a:pt x="57708" y="2895"/>
                  </a:lnTo>
                  <a:lnTo>
                    <a:pt x="76135" y="2446"/>
                  </a:lnTo>
                  <a:lnTo>
                    <a:pt x="87114" y="1519"/>
                  </a:lnTo>
                  <a:lnTo>
                    <a:pt x="91632" y="604"/>
                  </a:lnTo>
                  <a:lnTo>
                    <a:pt x="90677" y="190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EDC62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4" name="object 1296">
              <a:extLst>
                <a:ext uri="{FF2B5EF4-FFF2-40B4-BE49-F238E27FC236}">
                  <a16:creationId xmlns:a16="http://schemas.microsoft.com/office/drawing/2014/main" id="{36C6DC02-A0B1-44B2-92F6-83F3759CC9EB}"/>
                </a:ext>
              </a:extLst>
            </p:cNvPr>
            <p:cNvSpPr/>
            <p:nvPr/>
          </p:nvSpPr>
          <p:spPr>
            <a:xfrm>
              <a:off x="7978236" y="6243236"/>
              <a:ext cx="90170" cy="62865"/>
            </a:xfrm>
            <a:custGeom>
              <a:avLst/>
              <a:gdLst/>
              <a:ahLst/>
              <a:cxnLst/>
              <a:rect l="l" t="t" r="r" b="b"/>
              <a:pathLst>
                <a:path w="90170" h="62865">
                  <a:moveTo>
                    <a:pt x="215" y="0"/>
                  </a:moveTo>
                  <a:lnTo>
                    <a:pt x="0" y="342"/>
                  </a:lnTo>
                  <a:lnTo>
                    <a:pt x="406" y="58585"/>
                  </a:lnTo>
                  <a:lnTo>
                    <a:pt x="1024" y="62616"/>
                  </a:lnTo>
                  <a:lnTo>
                    <a:pt x="1912" y="57002"/>
                  </a:lnTo>
                  <a:lnTo>
                    <a:pt x="2765" y="44470"/>
                  </a:lnTo>
                  <a:lnTo>
                    <a:pt x="3416" y="20358"/>
                  </a:lnTo>
                  <a:lnTo>
                    <a:pt x="3467" y="3695"/>
                  </a:lnTo>
                  <a:lnTo>
                    <a:pt x="4559" y="3022"/>
                  </a:lnTo>
                  <a:lnTo>
                    <a:pt x="56680" y="2755"/>
                  </a:lnTo>
                  <a:lnTo>
                    <a:pt x="89778" y="584"/>
                  </a:lnTo>
                  <a:lnTo>
                    <a:pt x="88912" y="190"/>
                  </a:lnTo>
                  <a:lnTo>
                    <a:pt x="5435" y="101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EEC82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5" name="object 1297">
              <a:extLst>
                <a:ext uri="{FF2B5EF4-FFF2-40B4-BE49-F238E27FC236}">
                  <a16:creationId xmlns:a16="http://schemas.microsoft.com/office/drawing/2014/main" id="{0A695B38-53E9-49BC-A34D-FA8FD422E131}"/>
                </a:ext>
              </a:extLst>
            </p:cNvPr>
            <p:cNvSpPr/>
            <p:nvPr/>
          </p:nvSpPr>
          <p:spPr>
            <a:xfrm>
              <a:off x="7978250" y="6243248"/>
              <a:ext cx="88265" cy="61594"/>
            </a:xfrm>
            <a:custGeom>
              <a:avLst/>
              <a:gdLst/>
              <a:ahLst/>
              <a:cxnLst/>
              <a:rect l="l" t="t" r="r" b="b"/>
              <a:pathLst>
                <a:path w="88265" h="61595">
                  <a:moveTo>
                    <a:pt x="228" y="0"/>
                  </a:moveTo>
                  <a:lnTo>
                    <a:pt x="0" y="342"/>
                  </a:lnTo>
                  <a:lnTo>
                    <a:pt x="393" y="57657"/>
                  </a:lnTo>
                  <a:lnTo>
                    <a:pt x="972" y="61196"/>
                  </a:lnTo>
                  <a:lnTo>
                    <a:pt x="1812" y="55270"/>
                  </a:lnTo>
                  <a:lnTo>
                    <a:pt x="2629" y="42752"/>
                  </a:lnTo>
                  <a:lnTo>
                    <a:pt x="3276" y="19392"/>
                  </a:lnTo>
                  <a:lnTo>
                    <a:pt x="3327" y="3568"/>
                  </a:lnTo>
                  <a:lnTo>
                    <a:pt x="4394" y="2895"/>
                  </a:lnTo>
                  <a:lnTo>
                    <a:pt x="55664" y="2616"/>
                  </a:lnTo>
                  <a:lnTo>
                    <a:pt x="87930" y="562"/>
                  </a:lnTo>
                  <a:lnTo>
                    <a:pt x="87147" y="190"/>
                  </a:lnTo>
                  <a:lnTo>
                    <a:pt x="5422" y="101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EFC92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6" name="object 1298">
              <a:extLst>
                <a:ext uri="{FF2B5EF4-FFF2-40B4-BE49-F238E27FC236}">
                  <a16:creationId xmlns:a16="http://schemas.microsoft.com/office/drawing/2014/main" id="{85B5A45B-2000-4618-B8AA-34C067A7D2C0}"/>
                </a:ext>
              </a:extLst>
            </p:cNvPr>
            <p:cNvSpPr/>
            <p:nvPr/>
          </p:nvSpPr>
          <p:spPr>
            <a:xfrm>
              <a:off x="7978261" y="6243264"/>
              <a:ext cx="86360" cy="60325"/>
            </a:xfrm>
            <a:custGeom>
              <a:avLst/>
              <a:gdLst/>
              <a:ahLst/>
              <a:cxnLst/>
              <a:rect l="l" t="t" r="r" b="b"/>
              <a:pathLst>
                <a:path w="86359" h="60325">
                  <a:moveTo>
                    <a:pt x="228" y="0"/>
                  </a:moveTo>
                  <a:lnTo>
                    <a:pt x="0" y="330"/>
                  </a:lnTo>
                  <a:lnTo>
                    <a:pt x="381" y="56743"/>
                  </a:lnTo>
                  <a:lnTo>
                    <a:pt x="927" y="59782"/>
                  </a:lnTo>
                  <a:lnTo>
                    <a:pt x="1720" y="53540"/>
                  </a:lnTo>
                  <a:lnTo>
                    <a:pt x="2495" y="41034"/>
                  </a:lnTo>
                  <a:lnTo>
                    <a:pt x="3124" y="18440"/>
                  </a:lnTo>
                  <a:lnTo>
                    <a:pt x="3187" y="3429"/>
                  </a:lnTo>
                  <a:lnTo>
                    <a:pt x="4241" y="2768"/>
                  </a:lnTo>
                  <a:lnTo>
                    <a:pt x="54648" y="2476"/>
                  </a:lnTo>
                  <a:lnTo>
                    <a:pt x="86082" y="529"/>
                  </a:lnTo>
                  <a:lnTo>
                    <a:pt x="85382" y="177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0CA30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7" name="object 1299">
              <a:extLst>
                <a:ext uri="{FF2B5EF4-FFF2-40B4-BE49-F238E27FC236}">
                  <a16:creationId xmlns:a16="http://schemas.microsoft.com/office/drawing/2014/main" id="{FD305899-3674-4ED5-B140-BDD7EB53CE9F}"/>
                </a:ext>
              </a:extLst>
            </p:cNvPr>
            <p:cNvSpPr/>
            <p:nvPr/>
          </p:nvSpPr>
          <p:spPr>
            <a:xfrm>
              <a:off x="7978288" y="6243266"/>
              <a:ext cx="84455" cy="58419"/>
            </a:xfrm>
            <a:custGeom>
              <a:avLst/>
              <a:gdLst/>
              <a:ahLst/>
              <a:cxnLst/>
              <a:rect l="l" t="t" r="r" b="b"/>
              <a:pathLst>
                <a:path w="84454" h="58420">
                  <a:moveTo>
                    <a:pt x="215" y="0"/>
                  </a:moveTo>
                  <a:lnTo>
                    <a:pt x="0" y="342"/>
                  </a:lnTo>
                  <a:lnTo>
                    <a:pt x="355" y="55829"/>
                  </a:lnTo>
                  <a:lnTo>
                    <a:pt x="869" y="58372"/>
                  </a:lnTo>
                  <a:lnTo>
                    <a:pt x="1616" y="51820"/>
                  </a:lnTo>
                  <a:lnTo>
                    <a:pt x="2348" y="39332"/>
                  </a:lnTo>
                  <a:lnTo>
                    <a:pt x="2971" y="17487"/>
                  </a:lnTo>
                  <a:lnTo>
                    <a:pt x="3047" y="3301"/>
                  </a:lnTo>
                  <a:lnTo>
                    <a:pt x="4063" y="2654"/>
                  </a:lnTo>
                  <a:lnTo>
                    <a:pt x="53606" y="2349"/>
                  </a:lnTo>
                  <a:lnTo>
                    <a:pt x="84214" y="520"/>
                  </a:lnTo>
                  <a:lnTo>
                    <a:pt x="83604" y="190"/>
                  </a:lnTo>
                  <a:lnTo>
                    <a:pt x="5372" y="101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2CC3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8" name="object 1300">
              <a:extLst>
                <a:ext uri="{FF2B5EF4-FFF2-40B4-BE49-F238E27FC236}">
                  <a16:creationId xmlns:a16="http://schemas.microsoft.com/office/drawing/2014/main" id="{BBDC1067-388F-4989-8A1D-7B91FC848ACF}"/>
                </a:ext>
              </a:extLst>
            </p:cNvPr>
            <p:cNvSpPr/>
            <p:nvPr/>
          </p:nvSpPr>
          <p:spPr>
            <a:xfrm>
              <a:off x="7978301" y="6243281"/>
              <a:ext cx="82550" cy="57150"/>
            </a:xfrm>
            <a:custGeom>
              <a:avLst/>
              <a:gdLst/>
              <a:ahLst/>
              <a:cxnLst/>
              <a:rect l="l" t="t" r="r" b="b"/>
              <a:pathLst>
                <a:path w="82550" h="57150">
                  <a:moveTo>
                    <a:pt x="215" y="0"/>
                  </a:moveTo>
                  <a:lnTo>
                    <a:pt x="0" y="342"/>
                  </a:lnTo>
                  <a:lnTo>
                    <a:pt x="342" y="54914"/>
                  </a:lnTo>
                  <a:lnTo>
                    <a:pt x="822" y="56958"/>
                  </a:lnTo>
                  <a:lnTo>
                    <a:pt x="1519" y="50090"/>
                  </a:lnTo>
                  <a:lnTo>
                    <a:pt x="2209" y="37614"/>
                  </a:lnTo>
                  <a:lnTo>
                    <a:pt x="2819" y="16522"/>
                  </a:lnTo>
                  <a:lnTo>
                    <a:pt x="2908" y="3162"/>
                  </a:lnTo>
                  <a:lnTo>
                    <a:pt x="3911" y="2540"/>
                  </a:lnTo>
                  <a:lnTo>
                    <a:pt x="52578" y="2209"/>
                  </a:lnTo>
                  <a:lnTo>
                    <a:pt x="82365" y="488"/>
                  </a:lnTo>
                  <a:lnTo>
                    <a:pt x="81838" y="177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3CD3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09" name="object 1301">
              <a:extLst>
                <a:ext uri="{FF2B5EF4-FFF2-40B4-BE49-F238E27FC236}">
                  <a16:creationId xmlns:a16="http://schemas.microsoft.com/office/drawing/2014/main" id="{BAFE44CB-60E4-47CA-8D9A-44D40A784796}"/>
                </a:ext>
              </a:extLst>
            </p:cNvPr>
            <p:cNvSpPr/>
            <p:nvPr/>
          </p:nvSpPr>
          <p:spPr>
            <a:xfrm>
              <a:off x="7978313" y="6243288"/>
              <a:ext cx="80645" cy="55880"/>
            </a:xfrm>
            <a:custGeom>
              <a:avLst/>
              <a:gdLst/>
              <a:ahLst/>
              <a:cxnLst/>
              <a:rect l="l" t="t" r="r" b="b"/>
              <a:pathLst>
                <a:path w="80645" h="55879">
                  <a:moveTo>
                    <a:pt x="228" y="0"/>
                  </a:moveTo>
                  <a:lnTo>
                    <a:pt x="0" y="342"/>
                  </a:lnTo>
                  <a:lnTo>
                    <a:pt x="330" y="54000"/>
                  </a:lnTo>
                  <a:lnTo>
                    <a:pt x="769" y="55546"/>
                  </a:lnTo>
                  <a:lnTo>
                    <a:pt x="1417" y="48364"/>
                  </a:lnTo>
                  <a:lnTo>
                    <a:pt x="2067" y="35901"/>
                  </a:lnTo>
                  <a:lnTo>
                    <a:pt x="2679" y="15570"/>
                  </a:lnTo>
                  <a:lnTo>
                    <a:pt x="2768" y="3035"/>
                  </a:lnTo>
                  <a:lnTo>
                    <a:pt x="3746" y="2413"/>
                  </a:lnTo>
                  <a:lnTo>
                    <a:pt x="51561" y="2070"/>
                  </a:lnTo>
                  <a:lnTo>
                    <a:pt x="80517" y="478"/>
                  </a:lnTo>
                  <a:lnTo>
                    <a:pt x="80086" y="190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4CE3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0" name="object 1302">
              <a:extLst>
                <a:ext uri="{FF2B5EF4-FFF2-40B4-BE49-F238E27FC236}">
                  <a16:creationId xmlns:a16="http://schemas.microsoft.com/office/drawing/2014/main" id="{596420EA-F310-4A1B-90B6-C0E140F719E2}"/>
                </a:ext>
              </a:extLst>
            </p:cNvPr>
            <p:cNvSpPr/>
            <p:nvPr/>
          </p:nvSpPr>
          <p:spPr>
            <a:xfrm>
              <a:off x="7978335" y="6243300"/>
              <a:ext cx="78740" cy="54610"/>
            </a:xfrm>
            <a:custGeom>
              <a:avLst/>
              <a:gdLst/>
              <a:ahLst/>
              <a:cxnLst/>
              <a:rect l="l" t="t" r="r" b="b"/>
              <a:pathLst>
                <a:path w="78740" h="54609">
                  <a:moveTo>
                    <a:pt x="215" y="0"/>
                  </a:moveTo>
                  <a:lnTo>
                    <a:pt x="0" y="342"/>
                  </a:lnTo>
                  <a:lnTo>
                    <a:pt x="304" y="53085"/>
                  </a:lnTo>
                  <a:lnTo>
                    <a:pt x="717" y="54132"/>
                  </a:lnTo>
                  <a:lnTo>
                    <a:pt x="1319" y="46634"/>
                  </a:lnTo>
                  <a:lnTo>
                    <a:pt x="1928" y="34183"/>
                  </a:lnTo>
                  <a:lnTo>
                    <a:pt x="2527" y="14604"/>
                  </a:lnTo>
                  <a:lnTo>
                    <a:pt x="2616" y="2895"/>
                  </a:lnTo>
                  <a:lnTo>
                    <a:pt x="3581" y="2298"/>
                  </a:lnTo>
                  <a:lnTo>
                    <a:pt x="50533" y="1930"/>
                  </a:lnTo>
                  <a:lnTo>
                    <a:pt x="78656" y="446"/>
                  </a:lnTo>
                  <a:lnTo>
                    <a:pt x="78308" y="177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5CF3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1" name="object 1303">
              <a:extLst>
                <a:ext uri="{FF2B5EF4-FFF2-40B4-BE49-F238E27FC236}">
                  <a16:creationId xmlns:a16="http://schemas.microsoft.com/office/drawing/2014/main" id="{546ECF3F-ACF9-483E-B13E-AFBC924CCC53}"/>
                </a:ext>
              </a:extLst>
            </p:cNvPr>
            <p:cNvSpPr/>
            <p:nvPr/>
          </p:nvSpPr>
          <p:spPr>
            <a:xfrm>
              <a:off x="7978345" y="6243304"/>
              <a:ext cx="76835" cy="53340"/>
            </a:xfrm>
            <a:custGeom>
              <a:avLst/>
              <a:gdLst/>
              <a:ahLst/>
              <a:cxnLst/>
              <a:rect l="l" t="t" r="r" b="b"/>
              <a:pathLst>
                <a:path w="76834" h="53340">
                  <a:moveTo>
                    <a:pt x="228" y="0"/>
                  </a:moveTo>
                  <a:lnTo>
                    <a:pt x="0" y="342"/>
                  </a:lnTo>
                  <a:lnTo>
                    <a:pt x="292" y="52171"/>
                  </a:lnTo>
                  <a:lnTo>
                    <a:pt x="672" y="52720"/>
                  </a:lnTo>
                  <a:lnTo>
                    <a:pt x="1227" y="44910"/>
                  </a:lnTo>
                  <a:lnTo>
                    <a:pt x="1794" y="32476"/>
                  </a:lnTo>
                  <a:lnTo>
                    <a:pt x="2387" y="13652"/>
                  </a:lnTo>
                  <a:lnTo>
                    <a:pt x="2489" y="2781"/>
                  </a:lnTo>
                  <a:lnTo>
                    <a:pt x="3428" y="2184"/>
                  </a:lnTo>
                  <a:lnTo>
                    <a:pt x="49504" y="1803"/>
                  </a:lnTo>
                  <a:lnTo>
                    <a:pt x="76808" y="437"/>
                  </a:lnTo>
                  <a:lnTo>
                    <a:pt x="76542" y="190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6D2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2" name="object 1304">
              <a:extLst>
                <a:ext uri="{FF2B5EF4-FFF2-40B4-BE49-F238E27FC236}">
                  <a16:creationId xmlns:a16="http://schemas.microsoft.com/office/drawing/2014/main" id="{419E3DC4-16AF-427C-BEFC-4096CE1B8525}"/>
                </a:ext>
              </a:extLst>
            </p:cNvPr>
            <p:cNvSpPr/>
            <p:nvPr/>
          </p:nvSpPr>
          <p:spPr>
            <a:xfrm>
              <a:off x="7978359" y="6243322"/>
              <a:ext cx="75565" cy="51435"/>
            </a:xfrm>
            <a:custGeom>
              <a:avLst/>
              <a:gdLst/>
              <a:ahLst/>
              <a:cxnLst/>
              <a:rect l="l" t="t" r="r" b="b"/>
              <a:pathLst>
                <a:path w="75565" h="51434">
                  <a:moveTo>
                    <a:pt x="228" y="0"/>
                  </a:moveTo>
                  <a:lnTo>
                    <a:pt x="0" y="342"/>
                  </a:lnTo>
                  <a:lnTo>
                    <a:pt x="279" y="51257"/>
                  </a:lnTo>
                  <a:lnTo>
                    <a:pt x="619" y="51306"/>
                  </a:lnTo>
                  <a:lnTo>
                    <a:pt x="1125" y="43180"/>
                  </a:lnTo>
                  <a:lnTo>
                    <a:pt x="2235" y="12687"/>
                  </a:lnTo>
                  <a:lnTo>
                    <a:pt x="2349" y="2641"/>
                  </a:lnTo>
                  <a:lnTo>
                    <a:pt x="3263" y="2057"/>
                  </a:lnTo>
                  <a:lnTo>
                    <a:pt x="48488" y="1663"/>
                  </a:lnTo>
                  <a:lnTo>
                    <a:pt x="74959" y="404"/>
                  </a:lnTo>
                  <a:lnTo>
                    <a:pt x="74790" y="177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7D23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3" name="object 1305">
              <a:extLst>
                <a:ext uri="{FF2B5EF4-FFF2-40B4-BE49-F238E27FC236}">
                  <a16:creationId xmlns:a16="http://schemas.microsoft.com/office/drawing/2014/main" id="{46164484-C069-4014-93FA-E581DB273AA7}"/>
                </a:ext>
              </a:extLst>
            </p:cNvPr>
            <p:cNvSpPr/>
            <p:nvPr/>
          </p:nvSpPr>
          <p:spPr>
            <a:xfrm>
              <a:off x="7978373" y="6243325"/>
              <a:ext cx="73660" cy="50800"/>
            </a:xfrm>
            <a:custGeom>
              <a:avLst/>
              <a:gdLst/>
              <a:ahLst/>
              <a:cxnLst/>
              <a:rect l="l" t="t" r="r" b="b"/>
              <a:pathLst>
                <a:path w="73659" h="50800">
                  <a:moveTo>
                    <a:pt x="228" y="0"/>
                  </a:moveTo>
                  <a:lnTo>
                    <a:pt x="0" y="342"/>
                  </a:lnTo>
                  <a:lnTo>
                    <a:pt x="266" y="50342"/>
                  </a:lnTo>
                  <a:lnTo>
                    <a:pt x="574" y="49895"/>
                  </a:lnTo>
                  <a:lnTo>
                    <a:pt x="1033" y="41460"/>
                  </a:lnTo>
                  <a:lnTo>
                    <a:pt x="2082" y="11734"/>
                  </a:lnTo>
                  <a:lnTo>
                    <a:pt x="2209" y="2514"/>
                  </a:lnTo>
                  <a:lnTo>
                    <a:pt x="3111" y="1943"/>
                  </a:lnTo>
                  <a:lnTo>
                    <a:pt x="11087" y="1892"/>
                  </a:lnTo>
                  <a:lnTo>
                    <a:pt x="61305" y="1308"/>
                  </a:lnTo>
                  <a:lnTo>
                    <a:pt x="69529" y="842"/>
                  </a:lnTo>
                  <a:lnTo>
                    <a:pt x="73109" y="384"/>
                  </a:lnTo>
                  <a:lnTo>
                    <a:pt x="73025" y="177"/>
                  </a:lnTo>
                  <a:lnTo>
                    <a:pt x="5270" y="88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7D34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4" name="object 1306">
              <a:extLst>
                <a:ext uri="{FF2B5EF4-FFF2-40B4-BE49-F238E27FC236}">
                  <a16:creationId xmlns:a16="http://schemas.microsoft.com/office/drawing/2014/main" id="{4533E353-AC4E-4A52-BFA2-9B1E98BE4671}"/>
                </a:ext>
              </a:extLst>
            </p:cNvPr>
            <p:cNvSpPr/>
            <p:nvPr/>
          </p:nvSpPr>
          <p:spPr>
            <a:xfrm>
              <a:off x="7978396" y="6243336"/>
              <a:ext cx="71755" cy="49530"/>
            </a:xfrm>
            <a:custGeom>
              <a:avLst/>
              <a:gdLst/>
              <a:ahLst/>
              <a:cxnLst/>
              <a:rect l="l" t="t" r="r" b="b"/>
              <a:pathLst>
                <a:path w="71754" h="49529">
                  <a:moveTo>
                    <a:pt x="228" y="0"/>
                  </a:moveTo>
                  <a:lnTo>
                    <a:pt x="0" y="342"/>
                  </a:lnTo>
                  <a:lnTo>
                    <a:pt x="241" y="49428"/>
                  </a:lnTo>
                  <a:lnTo>
                    <a:pt x="516" y="48481"/>
                  </a:lnTo>
                  <a:lnTo>
                    <a:pt x="1930" y="10782"/>
                  </a:lnTo>
                  <a:lnTo>
                    <a:pt x="2070" y="2374"/>
                  </a:lnTo>
                  <a:lnTo>
                    <a:pt x="2946" y="1816"/>
                  </a:lnTo>
                  <a:lnTo>
                    <a:pt x="59815" y="1190"/>
                  </a:lnTo>
                  <a:lnTo>
                    <a:pt x="71247" y="177"/>
                  </a:lnTo>
                  <a:lnTo>
                    <a:pt x="5245" y="88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8D442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5" name="object 1307">
              <a:extLst>
                <a:ext uri="{FF2B5EF4-FFF2-40B4-BE49-F238E27FC236}">
                  <a16:creationId xmlns:a16="http://schemas.microsoft.com/office/drawing/2014/main" id="{C9A195D3-B344-445E-8FFE-0EA6CE351AA6}"/>
                </a:ext>
              </a:extLst>
            </p:cNvPr>
            <p:cNvSpPr/>
            <p:nvPr/>
          </p:nvSpPr>
          <p:spPr>
            <a:xfrm>
              <a:off x="7978420" y="6243356"/>
              <a:ext cx="69850" cy="48895"/>
            </a:xfrm>
            <a:custGeom>
              <a:avLst/>
              <a:gdLst/>
              <a:ahLst/>
              <a:cxnLst/>
              <a:rect l="l" t="t" r="r" b="b"/>
              <a:pathLst>
                <a:path w="69850" h="48895">
                  <a:moveTo>
                    <a:pt x="215" y="0"/>
                  </a:moveTo>
                  <a:lnTo>
                    <a:pt x="0" y="330"/>
                  </a:lnTo>
                  <a:lnTo>
                    <a:pt x="215" y="48501"/>
                  </a:lnTo>
                  <a:lnTo>
                    <a:pt x="457" y="47056"/>
                  </a:lnTo>
                  <a:lnTo>
                    <a:pt x="1777" y="9804"/>
                  </a:lnTo>
                  <a:lnTo>
                    <a:pt x="1917" y="2235"/>
                  </a:lnTo>
                  <a:lnTo>
                    <a:pt x="2768" y="1689"/>
                  </a:lnTo>
                  <a:lnTo>
                    <a:pt x="58326" y="1072"/>
                  </a:lnTo>
                  <a:lnTo>
                    <a:pt x="69468" y="177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9D6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6" name="object 1308">
              <a:extLst>
                <a:ext uri="{FF2B5EF4-FFF2-40B4-BE49-F238E27FC236}">
                  <a16:creationId xmlns:a16="http://schemas.microsoft.com/office/drawing/2014/main" id="{8A3B366E-7644-4D49-8E36-92AEAB533AAF}"/>
                </a:ext>
              </a:extLst>
            </p:cNvPr>
            <p:cNvSpPr/>
            <p:nvPr/>
          </p:nvSpPr>
          <p:spPr>
            <a:xfrm>
              <a:off x="7978430" y="6243356"/>
              <a:ext cx="67945" cy="47625"/>
            </a:xfrm>
            <a:custGeom>
              <a:avLst/>
              <a:gdLst/>
              <a:ahLst/>
              <a:cxnLst/>
              <a:rect l="l" t="t" r="r" b="b"/>
              <a:pathLst>
                <a:path w="67945" h="47625">
                  <a:moveTo>
                    <a:pt x="228" y="0"/>
                  </a:moveTo>
                  <a:lnTo>
                    <a:pt x="0" y="342"/>
                  </a:lnTo>
                  <a:lnTo>
                    <a:pt x="203" y="47599"/>
                  </a:lnTo>
                  <a:lnTo>
                    <a:pt x="411" y="45655"/>
                  </a:lnTo>
                  <a:lnTo>
                    <a:pt x="1778" y="2108"/>
                  </a:lnTo>
                  <a:lnTo>
                    <a:pt x="2616" y="1587"/>
                  </a:lnTo>
                  <a:lnTo>
                    <a:pt x="10071" y="1485"/>
                  </a:lnTo>
                  <a:lnTo>
                    <a:pt x="56845" y="960"/>
                  </a:lnTo>
                  <a:lnTo>
                    <a:pt x="64241" y="638"/>
                  </a:lnTo>
                  <a:lnTo>
                    <a:pt x="67539" y="321"/>
                  </a:lnTo>
                  <a:lnTo>
                    <a:pt x="67716" y="177"/>
                  </a:lnTo>
                  <a:lnTo>
                    <a:pt x="5194" y="88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AD74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7" name="object 1309">
              <a:extLst>
                <a:ext uri="{FF2B5EF4-FFF2-40B4-BE49-F238E27FC236}">
                  <a16:creationId xmlns:a16="http://schemas.microsoft.com/office/drawing/2014/main" id="{4F01E107-688A-4C4C-8D93-21DF6154B3F5}"/>
                </a:ext>
              </a:extLst>
            </p:cNvPr>
            <p:cNvSpPr/>
            <p:nvPr/>
          </p:nvSpPr>
          <p:spPr>
            <a:xfrm>
              <a:off x="7978448" y="6243374"/>
              <a:ext cx="67310" cy="46990"/>
            </a:xfrm>
            <a:custGeom>
              <a:avLst/>
              <a:gdLst/>
              <a:ahLst/>
              <a:cxnLst/>
              <a:rect l="l" t="t" r="r" b="b"/>
              <a:pathLst>
                <a:path w="67309" h="46990">
                  <a:moveTo>
                    <a:pt x="215" y="0"/>
                  </a:moveTo>
                  <a:lnTo>
                    <a:pt x="0" y="330"/>
                  </a:lnTo>
                  <a:lnTo>
                    <a:pt x="190" y="46672"/>
                  </a:lnTo>
                  <a:lnTo>
                    <a:pt x="359" y="44230"/>
                  </a:lnTo>
                  <a:lnTo>
                    <a:pt x="1282" y="11772"/>
                  </a:lnTo>
                  <a:lnTo>
                    <a:pt x="1638" y="1968"/>
                  </a:lnTo>
                  <a:lnTo>
                    <a:pt x="2463" y="1447"/>
                  </a:lnTo>
                  <a:lnTo>
                    <a:pt x="9740" y="1346"/>
                  </a:lnTo>
                  <a:lnTo>
                    <a:pt x="43357" y="977"/>
                  </a:lnTo>
                  <a:lnTo>
                    <a:pt x="63068" y="939"/>
                  </a:lnTo>
                  <a:lnTo>
                    <a:pt x="67119" y="177"/>
                  </a:lnTo>
                  <a:lnTo>
                    <a:pt x="215" y="0"/>
                  </a:lnTo>
                  <a:close/>
                </a:path>
              </a:pathLst>
            </a:custGeom>
            <a:solidFill>
              <a:srgbClr val="FBD84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8" name="object 1310">
              <a:extLst>
                <a:ext uri="{FF2B5EF4-FFF2-40B4-BE49-F238E27FC236}">
                  <a16:creationId xmlns:a16="http://schemas.microsoft.com/office/drawing/2014/main" id="{E58E47D7-56D0-4CA5-961F-5F753A2FB06E}"/>
                </a:ext>
              </a:extLst>
            </p:cNvPr>
            <p:cNvSpPr/>
            <p:nvPr/>
          </p:nvSpPr>
          <p:spPr>
            <a:xfrm>
              <a:off x="7978458" y="6243387"/>
              <a:ext cx="65405" cy="46355"/>
            </a:xfrm>
            <a:custGeom>
              <a:avLst/>
              <a:gdLst/>
              <a:ahLst/>
              <a:cxnLst/>
              <a:rect l="l" t="t" r="r" b="b"/>
              <a:pathLst>
                <a:path w="65404" h="46354">
                  <a:moveTo>
                    <a:pt x="228" y="0"/>
                  </a:moveTo>
                  <a:lnTo>
                    <a:pt x="0" y="330"/>
                  </a:lnTo>
                  <a:lnTo>
                    <a:pt x="177" y="45758"/>
                  </a:lnTo>
                  <a:lnTo>
                    <a:pt x="1142" y="10553"/>
                  </a:lnTo>
                  <a:lnTo>
                    <a:pt x="1511" y="1841"/>
                  </a:lnTo>
                  <a:lnTo>
                    <a:pt x="2298" y="1333"/>
                  </a:lnTo>
                  <a:lnTo>
                    <a:pt x="9410" y="1206"/>
                  </a:lnTo>
                  <a:lnTo>
                    <a:pt x="42329" y="838"/>
                  </a:lnTo>
                  <a:lnTo>
                    <a:pt x="61302" y="812"/>
                  </a:lnTo>
                  <a:lnTo>
                    <a:pt x="65125" y="165"/>
                  </a:lnTo>
                  <a:lnTo>
                    <a:pt x="228" y="0"/>
                  </a:lnTo>
                  <a:close/>
                </a:path>
              </a:pathLst>
            </a:custGeom>
            <a:solidFill>
              <a:srgbClr val="FCDA4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19" name="object 1311">
              <a:extLst>
                <a:ext uri="{FF2B5EF4-FFF2-40B4-BE49-F238E27FC236}">
                  <a16:creationId xmlns:a16="http://schemas.microsoft.com/office/drawing/2014/main" id="{51F85EA4-EDA4-406A-B0D5-E8CBB48ECACC}"/>
                </a:ext>
              </a:extLst>
            </p:cNvPr>
            <p:cNvSpPr/>
            <p:nvPr/>
          </p:nvSpPr>
          <p:spPr>
            <a:xfrm>
              <a:off x="7978422" y="6243391"/>
              <a:ext cx="63500" cy="45085"/>
            </a:xfrm>
            <a:custGeom>
              <a:avLst/>
              <a:gdLst/>
              <a:ahLst/>
              <a:cxnLst/>
              <a:rect l="l" t="t" r="r" b="b"/>
              <a:pathLst>
                <a:path w="63500" h="45084">
                  <a:moveTo>
                    <a:pt x="274" y="0"/>
                  </a:moveTo>
                  <a:lnTo>
                    <a:pt x="58" y="342"/>
                  </a:lnTo>
                  <a:lnTo>
                    <a:pt x="0" y="18047"/>
                  </a:lnTo>
                  <a:lnTo>
                    <a:pt x="223" y="44856"/>
                  </a:lnTo>
                  <a:lnTo>
                    <a:pt x="732" y="18763"/>
                  </a:lnTo>
                  <a:lnTo>
                    <a:pt x="1036" y="9321"/>
                  </a:lnTo>
                  <a:lnTo>
                    <a:pt x="41358" y="711"/>
                  </a:lnTo>
                  <a:lnTo>
                    <a:pt x="59608" y="673"/>
                  </a:lnTo>
                  <a:lnTo>
                    <a:pt x="63177" y="177"/>
                  </a:lnTo>
                  <a:lnTo>
                    <a:pt x="274" y="0"/>
                  </a:lnTo>
                  <a:close/>
                </a:path>
              </a:pathLst>
            </a:custGeom>
            <a:solidFill>
              <a:srgbClr val="FEDC4D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0" name="object 1312">
              <a:extLst>
                <a:ext uri="{FF2B5EF4-FFF2-40B4-BE49-F238E27FC236}">
                  <a16:creationId xmlns:a16="http://schemas.microsoft.com/office/drawing/2014/main" id="{44EF09C9-2630-4933-9E52-276491E3B518}"/>
                </a:ext>
              </a:extLst>
            </p:cNvPr>
            <p:cNvSpPr/>
            <p:nvPr/>
          </p:nvSpPr>
          <p:spPr>
            <a:xfrm>
              <a:off x="7978433" y="6243407"/>
              <a:ext cx="61594" cy="44450"/>
            </a:xfrm>
            <a:custGeom>
              <a:avLst/>
              <a:gdLst/>
              <a:ahLst/>
              <a:cxnLst/>
              <a:rect l="l" t="t" r="r" b="b"/>
              <a:pathLst>
                <a:path w="61595" h="44450">
                  <a:moveTo>
                    <a:pt x="288" y="0"/>
                  </a:moveTo>
                  <a:lnTo>
                    <a:pt x="60" y="330"/>
                  </a:lnTo>
                  <a:lnTo>
                    <a:pt x="0" y="17917"/>
                  </a:lnTo>
                  <a:lnTo>
                    <a:pt x="200" y="43929"/>
                  </a:lnTo>
                  <a:lnTo>
                    <a:pt x="594" y="17049"/>
                  </a:lnTo>
                  <a:lnTo>
                    <a:pt x="885" y="8089"/>
                  </a:lnTo>
                  <a:lnTo>
                    <a:pt x="40344" y="571"/>
                  </a:lnTo>
                  <a:lnTo>
                    <a:pt x="57845" y="546"/>
                  </a:lnTo>
                  <a:lnTo>
                    <a:pt x="61172" y="165"/>
                  </a:lnTo>
                  <a:lnTo>
                    <a:pt x="288" y="0"/>
                  </a:lnTo>
                  <a:close/>
                </a:path>
              </a:pathLst>
            </a:custGeom>
            <a:solidFill>
              <a:srgbClr val="FDDC4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1" name="object 1313">
              <a:extLst>
                <a:ext uri="{FF2B5EF4-FFF2-40B4-BE49-F238E27FC236}">
                  <a16:creationId xmlns:a16="http://schemas.microsoft.com/office/drawing/2014/main" id="{7DEABB72-0D58-448A-B360-46F9B10351EB}"/>
                </a:ext>
              </a:extLst>
            </p:cNvPr>
            <p:cNvSpPr/>
            <p:nvPr/>
          </p:nvSpPr>
          <p:spPr>
            <a:xfrm>
              <a:off x="7978446" y="6243413"/>
              <a:ext cx="59690" cy="43180"/>
            </a:xfrm>
            <a:custGeom>
              <a:avLst/>
              <a:gdLst/>
              <a:ahLst/>
              <a:cxnLst/>
              <a:rect l="l" t="t" r="r" b="b"/>
              <a:pathLst>
                <a:path w="59690" h="43179">
                  <a:moveTo>
                    <a:pt x="27430" y="20"/>
                  </a:moveTo>
                  <a:lnTo>
                    <a:pt x="5167" y="63"/>
                  </a:lnTo>
                  <a:lnTo>
                    <a:pt x="290" y="0"/>
                  </a:lnTo>
                  <a:lnTo>
                    <a:pt x="62" y="342"/>
                  </a:lnTo>
                  <a:lnTo>
                    <a:pt x="0" y="17788"/>
                  </a:lnTo>
                  <a:lnTo>
                    <a:pt x="189" y="43014"/>
                  </a:lnTo>
                  <a:lnTo>
                    <a:pt x="460" y="15341"/>
                  </a:lnTo>
                  <a:lnTo>
                    <a:pt x="735" y="6870"/>
                  </a:lnTo>
                  <a:lnTo>
                    <a:pt x="39318" y="431"/>
                  </a:lnTo>
                  <a:lnTo>
                    <a:pt x="56094" y="406"/>
                  </a:lnTo>
                  <a:lnTo>
                    <a:pt x="59180" y="165"/>
                  </a:lnTo>
                  <a:lnTo>
                    <a:pt x="27430" y="20"/>
                  </a:lnTo>
                  <a:close/>
                </a:path>
              </a:pathLst>
            </a:custGeom>
            <a:solidFill>
              <a:srgbClr val="FEDF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2" name="object 1314">
              <a:extLst>
                <a:ext uri="{FF2B5EF4-FFF2-40B4-BE49-F238E27FC236}">
                  <a16:creationId xmlns:a16="http://schemas.microsoft.com/office/drawing/2014/main" id="{41BEEB12-C276-452F-91FB-7E7C60A7ABF9}"/>
                </a:ext>
              </a:extLst>
            </p:cNvPr>
            <p:cNvSpPr/>
            <p:nvPr/>
          </p:nvSpPr>
          <p:spPr>
            <a:xfrm>
              <a:off x="7978521" y="6243411"/>
              <a:ext cx="57150" cy="42545"/>
            </a:xfrm>
            <a:custGeom>
              <a:avLst/>
              <a:gdLst/>
              <a:ahLst/>
              <a:cxnLst/>
              <a:rect l="l" t="t" r="r" b="b"/>
              <a:pathLst>
                <a:path w="57150" h="42545">
                  <a:moveTo>
                    <a:pt x="227" y="15"/>
                  </a:moveTo>
                  <a:lnTo>
                    <a:pt x="112" y="180"/>
                  </a:lnTo>
                  <a:lnTo>
                    <a:pt x="0" y="29123"/>
                  </a:lnTo>
                  <a:lnTo>
                    <a:pt x="112" y="42115"/>
                  </a:lnTo>
                  <a:lnTo>
                    <a:pt x="117" y="14277"/>
                  </a:lnTo>
                  <a:lnTo>
                    <a:pt x="253" y="9268"/>
                  </a:lnTo>
                  <a:lnTo>
                    <a:pt x="38238" y="307"/>
                  </a:lnTo>
                  <a:lnTo>
                    <a:pt x="54278" y="281"/>
                  </a:lnTo>
                  <a:lnTo>
                    <a:pt x="57123" y="180"/>
                  </a:lnTo>
                  <a:lnTo>
                    <a:pt x="5091" y="78"/>
                  </a:lnTo>
                  <a:lnTo>
                    <a:pt x="227" y="15"/>
                  </a:lnTo>
                  <a:close/>
                </a:path>
                <a:path w="57150" h="42545">
                  <a:moveTo>
                    <a:pt x="23483" y="0"/>
                  </a:moveTo>
                  <a:lnTo>
                    <a:pt x="5091" y="78"/>
                  </a:lnTo>
                  <a:lnTo>
                    <a:pt x="44605" y="78"/>
                  </a:lnTo>
                  <a:lnTo>
                    <a:pt x="23483" y="0"/>
                  </a:lnTo>
                  <a:close/>
                </a:path>
              </a:pathLst>
            </a:custGeom>
            <a:solidFill>
              <a:srgbClr val="FEE15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3" name="object 1315">
              <a:extLst>
                <a:ext uri="{FF2B5EF4-FFF2-40B4-BE49-F238E27FC236}">
                  <a16:creationId xmlns:a16="http://schemas.microsoft.com/office/drawing/2014/main" id="{48439878-79A4-4C6D-9315-627A8507858E}"/>
                </a:ext>
              </a:extLst>
            </p:cNvPr>
            <p:cNvSpPr/>
            <p:nvPr/>
          </p:nvSpPr>
          <p:spPr>
            <a:xfrm>
              <a:off x="8042549" y="6263671"/>
              <a:ext cx="62865" cy="140335"/>
            </a:xfrm>
            <a:custGeom>
              <a:avLst/>
              <a:gdLst/>
              <a:ahLst/>
              <a:cxnLst/>
              <a:rect l="l" t="t" r="r" b="b"/>
              <a:pathLst>
                <a:path w="62865" h="140334">
                  <a:moveTo>
                    <a:pt x="57883" y="0"/>
                  </a:moveTo>
                  <a:lnTo>
                    <a:pt x="57188" y="645"/>
                  </a:lnTo>
                  <a:lnTo>
                    <a:pt x="56934" y="21511"/>
                  </a:lnTo>
                  <a:lnTo>
                    <a:pt x="57122" y="36179"/>
                  </a:lnTo>
                  <a:lnTo>
                    <a:pt x="56903" y="53914"/>
                  </a:lnTo>
                  <a:lnTo>
                    <a:pt x="46138" y="94895"/>
                  </a:lnTo>
                  <a:lnTo>
                    <a:pt x="19469" y="123132"/>
                  </a:lnTo>
                  <a:lnTo>
                    <a:pt x="0" y="137246"/>
                  </a:lnTo>
                  <a:lnTo>
                    <a:pt x="1144" y="140321"/>
                  </a:lnTo>
                  <a:lnTo>
                    <a:pt x="39936" y="112076"/>
                  </a:lnTo>
                  <a:lnTo>
                    <a:pt x="61328" y="73149"/>
                  </a:lnTo>
                  <a:lnTo>
                    <a:pt x="62512" y="56746"/>
                  </a:lnTo>
                  <a:lnTo>
                    <a:pt x="62026" y="34084"/>
                  </a:lnTo>
                  <a:lnTo>
                    <a:pt x="61088" y="15734"/>
                  </a:lnTo>
                  <a:lnTo>
                    <a:pt x="59445" y="4701"/>
                  </a:lnTo>
                  <a:lnTo>
                    <a:pt x="57883" y="0"/>
                  </a:lnTo>
                  <a:close/>
                </a:path>
              </a:pathLst>
            </a:custGeom>
            <a:solidFill>
              <a:srgbClr val="DCB32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4" name="object 1316">
              <a:extLst>
                <a:ext uri="{FF2B5EF4-FFF2-40B4-BE49-F238E27FC236}">
                  <a16:creationId xmlns:a16="http://schemas.microsoft.com/office/drawing/2014/main" id="{983BEBBE-E392-4A39-8864-6F5F7740A6F5}"/>
                </a:ext>
              </a:extLst>
            </p:cNvPr>
            <p:cNvSpPr/>
            <p:nvPr/>
          </p:nvSpPr>
          <p:spPr>
            <a:xfrm>
              <a:off x="8043222" y="6264961"/>
              <a:ext cx="62230" cy="138430"/>
            </a:xfrm>
            <a:custGeom>
              <a:avLst/>
              <a:gdLst/>
              <a:ahLst/>
              <a:cxnLst/>
              <a:rect l="l" t="t" r="r" b="b"/>
              <a:pathLst>
                <a:path w="62229" h="138429">
                  <a:moveTo>
                    <a:pt x="57195" y="0"/>
                  </a:moveTo>
                  <a:lnTo>
                    <a:pt x="56527" y="619"/>
                  </a:lnTo>
                  <a:lnTo>
                    <a:pt x="56261" y="21764"/>
                  </a:lnTo>
                  <a:lnTo>
                    <a:pt x="56415" y="36073"/>
                  </a:lnTo>
                  <a:lnTo>
                    <a:pt x="56160" y="53384"/>
                  </a:lnTo>
                  <a:lnTo>
                    <a:pt x="45472" y="93611"/>
                  </a:lnTo>
                  <a:lnTo>
                    <a:pt x="19062" y="121635"/>
                  </a:lnTo>
                  <a:lnTo>
                    <a:pt x="0" y="135480"/>
                  </a:lnTo>
                  <a:lnTo>
                    <a:pt x="1134" y="138422"/>
                  </a:lnTo>
                  <a:lnTo>
                    <a:pt x="39350" y="110428"/>
                  </a:lnTo>
                  <a:lnTo>
                    <a:pt x="60490" y="71726"/>
                  </a:lnTo>
                  <a:lnTo>
                    <a:pt x="61652" y="55592"/>
                  </a:lnTo>
                  <a:lnTo>
                    <a:pt x="61175" y="32889"/>
                  </a:lnTo>
                  <a:lnTo>
                    <a:pt x="60272" y="15192"/>
                  </a:lnTo>
                  <a:lnTo>
                    <a:pt x="58694" y="4543"/>
                  </a:lnTo>
                  <a:lnTo>
                    <a:pt x="57195" y="0"/>
                  </a:lnTo>
                  <a:close/>
                </a:path>
              </a:pathLst>
            </a:custGeom>
            <a:solidFill>
              <a:srgbClr val="DEB4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5" name="object 1317">
              <a:extLst>
                <a:ext uri="{FF2B5EF4-FFF2-40B4-BE49-F238E27FC236}">
                  <a16:creationId xmlns:a16="http://schemas.microsoft.com/office/drawing/2014/main" id="{003113A7-5DEA-4D1E-BCD9-6772B92B5B29}"/>
                </a:ext>
              </a:extLst>
            </p:cNvPr>
            <p:cNvSpPr/>
            <p:nvPr/>
          </p:nvSpPr>
          <p:spPr>
            <a:xfrm>
              <a:off x="8043888" y="6266247"/>
              <a:ext cx="60960" cy="136525"/>
            </a:xfrm>
            <a:custGeom>
              <a:avLst/>
              <a:gdLst/>
              <a:ahLst/>
              <a:cxnLst/>
              <a:rect l="l" t="t" r="r" b="b"/>
              <a:pathLst>
                <a:path w="60959" h="136525">
                  <a:moveTo>
                    <a:pt x="56503" y="0"/>
                  </a:moveTo>
                  <a:lnTo>
                    <a:pt x="55854" y="601"/>
                  </a:lnTo>
                  <a:lnTo>
                    <a:pt x="55600" y="22013"/>
                  </a:lnTo>
                  <a:lnTo>
                    <a:pt x="55719" y="35962"/>
                  </a:lnTo>
                  <a:lnTo>
                    <a:pt x="55424" y="52852"/>
                  </a:lnTo>
                  <a:lnTo>
                    <a:pt x="44817" y="92341"/>
                  </a:lnTo>
                  <a:lnTo>
                    <a:pt x="18661" y="120141"/>
                  </a:lnTo>
                  <a:lnTo>
                    <a:pt x="0" y="133723"/>
                  </a:lnTo>
                  <a:lnTo>
                    <a:pt x="1125" y="136524"/>
                  </a:lnTo>
                  <a:lnTo>
                    <a:pt x="38774" y="108783"/>
                  </a:lnTo>
                  <a:lnTo>
                    <a:pt x="59651" y="70311"/>
                  </a:lnTo>
                  <a:lnTo>
                    <a:pt x="60796" y="54440"/>
                  </a:lnTo>
                  <a:lnTo>
                    <a:pt x="60325" y="31703"/>
                  </a:lnTo>
                  <a:lnTo>
                    <a:pt x="59462" y="14646"/>
                  </a:lnTo>
                  <a:lnTo>
                    <a:pt x="57946" y="4379"/>
                  </a:lnTo>
                  <a:lnTo>
                    <a:pt x="56503" y="0"/>
                  </a:lnTo>
                  <a:close/>
                </a:path>
              </a:pathLst>
            </a:custGeom>
            <a:solidFill>
              <a:srgbClr val="DFB625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6" name="object 1318">
              <a:extLst>
                <a:ext uri="{FF2B5EF4-FFF2-40B4-BE49-F238E27FC236}">
                  <a16:creationId xmlns:a16="http://schemas.microsoft.com/office/drawing/2014/main" id="{3F15AF86-02A8-4EA4-A1FC-EECF59CA492D}"/>
                </a:ext>
              </a:extLst>
            </p:cNvPr>
            <p:cNvSpPr/>
            <p:nvPr/>
          </p:nvSpPr>
          <p:spPr>
            <a:xfrm>
              <a:off x="8044548" y="6267531"/>
              <a:ext cx="60325" cy="135255"/>
            </a:xfrm>
            <a:custGeom>
              <a:avLst/>
              <a:gdLst/>
              <a:ahLst/>
              <a:cxnLst/>
              <a:rect l="l" t="t" r="r" b="b"/>
              <a:pathLst>
                <a:path w="60325" h="135254">
                  <a:moveTo>
                    <a:pt x="55822" y="0"/>
                  </a:moveTo>
                  <a:lnTo>
                    <a:pt x="55206" y="575"/>
                  </a:lnTo>
                  <a:lnTo>
                    <a:pt x="54940" y="22266"/>
                  </a:lnTo>
                  <a:lnTo>
                    <a:pt x="55024" y="35861"/>
                  </a:lnTo>
                  <a:lnTo>
                    <a:pt x="54692" y="52330"/>
                  </a:lnTo>
                  <a:lnTo>
                    <a:pt x="44159" y="91069"/>
                  </a:lnTo>
                  <a:lnTo>
                    <a:pt x="9415" y="125541"/>
                  </a:lnTo>
                  <a:lnTo>
                    <a:pt x="0" y="131982"/>
                  </a:lnTo>
                  <a:lnTo>
                    <a:pt x="1116" y="134638"/>
                  </a:lnTo>
                  <a:lnTo>
                    <a:pt x="38207" y="107145"/>
                  </a:lnTo>
                  <a:lnTo>
                    <a:pt x="58826" y="68875"/>
                  </a:lnTo>
                  <a:lnTo>
                    <a:pt x="59949" y="53294"/>
                  </a:lnTo>
                  <a:lnTo>
                    <a:pt x="59499" y="30509"/>
                  </a:lnTo>
                  <a:lnTo>
                    <a:pt x="58662" y="14103"/>
                  </a:lnTo>
                  <a:lnTo>
                    <a:pt x="57205" y="4221"/>
                  </a:lnTo>
                  <a:lnTo>
                    <a:pt x="55822" y="0"/>
                  </a:lnTo>
                  <a:close/>
                </a:path>
              </a:pathLst>
            </a:custGeom>
            <a:solidFill>
              <a:srgbClr val="E0B82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7" name="object 1319">
              <a:extLst>
                <a:ext uri="{FF2B5EF4-FFF2-40B4-BE49-F238E27FC236}">
                  <a16:creationId xmlns:a16="http://schemas.microsoft.com/office/drawing/2014/main" id="{81C61F4A-B0B5-480B-96B6-63A4175EC8E1}"/>
                </a:ext>
              </a:extLst>
            </p:cNvPr>
            <p:cNvSpPr/>
            <p:nvPr/>
          </p:nvSpPr>
          <p:spPr>
            <a:xfrm>
              <a:off x="8045223" y="6268812"/>
              <a:ext cx="59690" cy="133350"/>
            </a:xfrm>
            <a:custGeom>
              <a:avLst/>
              <a:gdLst/>
              <a:ahLst/>
              <a:cxnLst/>
              <a:rect l="l" t="t" r="r" b="b"/>
              <a:pathLst>
                <a:path w="59690" h="133350">
                  <a:moveTo>
                    <a:pt x="55122" y="0"/>
                  </a:moveTo>
                  <a:lnTo>
                    <a:pt x="54533" y="548"/>
                  </a:lnTo>
                  <a:lnTo>
                    <a:pt x="54267" y="22519"/>
                  </a:lnTo>
                  <a:lnTo>
                    <a:pt x="54321" y="35755"/>
                  </a:lnTo>
                  <a:lnTo>
                    <a:pt x="53949" y="51802"/>
                  </a:lnTo>
                  <a:lnTo>
                    <a:pt x="43498" y="89801"/>
                  </a:lnTo>
                  <a:lnTo>
                    <a:pt x="9224" y="123895"/>
                  </a:lnTo>
                  <a:lnTo>
                    <a:pt x="0" y="130228"/>
                  </a:lnTo>
                  <a:lnTo>
                    <a:pt x="1106" y="132744"/>
                  </a:lnTo>
                  <a:lnTo>
                    <a:pt x="37625" y="105499"/>
                  </a:lnTo>
                  <a:lnTo>
                    <a:pt x="58000" y="67464"/>
                  </a:lnTo>
                  <a:lnTo>
                    <a:pt x="59087" y="52152"/>
                  </a:lnTo>
                  <a:lnTo>
                    <a:pt x="58635" y="29326"/>
                  </a:lnTo>
                  <a:lnTo>
                    <a:pt x="57839" y="13566"/>
                  </a:lnTo>
                  <a:lnTo>
                    <a:pt x="56446" y="4064"/>
                  </a:lnTo>
                  <a:lnTo>
                    <a:pt x="55122" y="0"/>
                  </a:lnTo>
                  <a:close/>
                </a:path>
              </a:pathLst>
            </a:custGeom>
            <a:solidFill>
              <a:srgbClr val="E1B9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8" name="object 1320">
              <a:extLst>
                <a:ext uri="{FF2B5EF4-FFF2-40B4-BE49-F238E27FC236}">
                  <a16:creationId xmlns:a16="http://schemas.microsoft.com/office/drawing/2014/main" id="{71665D26-05E2-4C5B-AD47-B22BE0E24BC2}"/>
                </a:ext>
              </a:extLst>
            </p:cNvPr>
            <p:cNvSpPr/>
            <p:nvPr/>
          </p:nvSpPr>
          <p:spPr>
            <a:xfrm>
              <a:off x="8045887" y="6270100"/>
              <a:ext cx="58419" cy="134620"/>
            </a:xfrm>
            <a:custGeom>
              <a:avLst/>
              <a:gdLst/>
              <a:ahLst/>
              <a:cxnLst/>
              <a:rect l="l" t="t" r="r" b="b"/>
              <a:pathLst>
                <a:path w="58420" h="134620">
                  <a:moveTo>
                    <a:pt x="54436" y="0"/>
                  </a:moveTo>
                  <a:lnTo>
                    <a:pt x="53873" y="529"/>
                  </a:lnTo>
                  <a:lnTo>
                    <a:pt x="53625" y="35655"/>
                  </a:lnTo>
                  <a:lnTo>
                    <a:pt x="53213" y="51280"/>
                  </a:lnTo>
                  <a:lnTo>
                    <a:pt x="42838" y="88524"/>
                  </a:lnTo>
                  <a:lnTo>
                    <a:pt x="9043" y="122246"/>
                  </a:lnTo>
                  <a:lnTo>
                    <a:pt x="0" y="128469"/>
                  </a:lnTo>
                  <a:lnTo>
                    <a:pt x="0" y="134069"/>
                  </a:lnTo>
                  <a:lnTo>
                    <a:pt x="5892" y="129345"/>
                  </a:lnTo>
                  <a:lnTo>
                    <a:pt x="17157" y="121598"/>
                  </a:lnTo>
                  <a:lnTo>
                    <a:pt x="26835" y="113914"/>
                  </a:lnTo>
                  <a:lnTo>
                    <a:pt x="52781" y="80742"/>
                  </a:lnTo>
                  <a:lnTo>
                    <a:pt x="58233" y="51004"/>
                  </a:lnTo>
                  <a:lnTo>
                    <a:pt x="57797" y="28139"/>
                  </a:lnTo>
                  <a:lnTo>
                    <a:pt x="57034" y="13023"/>
                  </a:lnTo>
                  <a:lnTo>
                    <a:pt x="55702" y="3904"/>
                  </a:lnTo>
                  <a:lnTo>
                    <a:pt x="54436" y="0"/>
                  </a:lnTo>
                  <a:close/>
                </a:path>
              </a:pathLst>
            </a:custGeom>
            <a:solidFill>
              <a:srgbClr val="E2BB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29" name="object 1321">
              <a:extLst>
                <a:ext uri="{FF2B5EF4-FFF2-40B4-BE49-F238E27FC236}">
                  <a16:creationId xmlns:a16="http://schemas.microsoft.com/office/drawing/2014/main" id="{67DD57B3-1A67-4EBE-9A52-A886760706A8}"/>
                </a:ext>
              </a:extLst>
            </p:cNvPr>
            <p:cNvSpPr/>
            <p:nvPr/>
          </p:nvSpPr>
          <p:spPr>
            <a:xfrm>
              <a:off x="8046565" y="6271385"/>
              <a:ext cx="57785" cy="132080"/>
            </a:xfrm>
            <a:custGeom>
              <a:avLst/>
              <a:gdLst/>
              <a:ahLst/>
              <a:cxnLst/>
              <a:rect l="l" t="t" r="r" b="b"/>
              <a:pathLst>
                <a:path w="57784" h="132079">
                  <a:moveTo>
                    <a:pt x="53742" y="0"/>
                  </a:moveTo>
                  <a:lnTo>
                    <a:pt x="53200" y="503"/>
                  </a:lnTo>
                  <a:lnTo>
                    <a:pt x="52916" y="35548"/>
                  </a:lnTo>
                  <a:lnTo>
                    <a:pt x="52465" y="50752"/>
                  </a:lnTo>
                  <a:lnTo>
                    <a:pt x="37992" y="93416"/>
                  </a:lnTo>
                  <a:lnTo>
                    <a:pt x="8852" y="120598"/>
                  </a:lnTo>
                  <a:lnTo>
                    <a:pt x="0" y="126715"/>
                  </a:lnTo>
                  <a:lnTo>
                    <a:pt x="0" y="132036"/>
                  </a:lnTo>
                  <a:lnTo>
                    <a:pt x="5842" y="127401"/>
                  </a:lnTo>
                  <a:lnTo>
                    <a:pt x="16891" y="119756"/>
                  </a:lnTo>
                  <a:lnTo>
                    <a:pt x="26421" y="112141"/>
                  </a:lnTo>
                  <a:lnTo>
                    <a:pt x="51943" y="79370"/>
                  </a:lnTo>
                  <a:lnTo>
                    <a:pt x="57371" y="49858"/>
                  </a:lnTo>
                  <a:lnTo>
                    <a:pt x="56946" y="26944"/>
                  </a:lnTo>
                  <a:lnTo>
                    <a:pt x="56218" y="12481"/>
                  </a:lnTo>
                  <a:lnTo>
                    <a:pt x="54949" y="3746"/>
                  </a:lnTo>
                  <a:lnTo>
                    <a:pt x="53742" y="0"/>
                  </a:lnTo>
                  <a:close/>
                </a:path>
              </a:pathLst>
            </a:custGeom>
            <a:solidFill>
              <a:srgbClr val="E4BD2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0" name="object 1322">
              <a:extLst>
                <a:ext uri="{FF2B5EF4-FFF2-40B4-BE49-F238E27FC236}">
                  <a16:creationId xmlns:a16="http://schemas.microsoft.com/office/drawing/2014/main" id="{D0C0EFD4-5D42-4A7D-9D36-2E61C888F124}"/>
                </a:ext>
              </a:extLst>
            </p:cNvPr>
            <p:cNvSpPr/>
            <p:nvPr/>
          </p:nvSpPr>
          <p:spPr>
            <a:xfrm>
              <a:off x="8047225" y="6272672"/>
              <a:ext cx="57150" cy="130175"/>
            </a:xfrm>
            <a:custGeom>
              <a:avLst/>
              <a:gdLst/>
              <a:ahLst/>
              <a:cxnLst/>
              <a:rect l="l" t="t" r="r" b="b"/>
              <a:pathLst>
                <a:path w="57150" h="130175">
                  <a:moveTo>
                    <a:pt x="53058" y="0"/>
                  </a:moveTo>
                  <a:lnTo>
                    <a:pt x="52539" y="478"/>
                  </a:lnTo>
                  <a:lnTo>
                    <a:pt x="52227" y="35433"/>
                  </a:lnTo>
                  <a:lnTo>
                    <a:pt x="51738" y="50217"/>
                  </a:lnTo>
                  <a:lnTo>
                    <a:pt x="37336" y="92139"/>
                  </a:lnTo>
                  <a:lnTo>
                    <a:pt x="8670" y="118947"/>
                  </a:lnTo>
                  <a:lnTo>
                    <a:pt x="0" y="124963"/>
                  </a:lnTo>
                  <a:lnTo>
                    <a:pt x="0" y="130005"/>
                  </a:lnTo>
                  <a:lnTo>
                    <a:pt x="5816" y="125446"/>
                  </a:lnTo>
                  <a:lnTo>
                    <a:pt x="16624" y="117902"/>
                  </a:lnTo>
                  <a:lnTo>
                    <a:pt x="26010" y="110365"/>
                  </a:lnTo>
                  <a:lnTo>
                    <a:pt x="51117" y="77973"/>
                  </a:lnTo>
                  <a:lnTo>
                    <a:pt x="56522" y="48704"/>
                  </a:lnTo>
                  <a:lnTo>
                    <a:pt x="56108" y="25751"/>
                  </a:lnTo>
                  <a:lnTo>
                    <a:pt x="55418" y="11935"/>
                  </a:lnTo>
                  <a:lnTo>
                    <a:pt x="54209" y="3585"/>
                  </a:lnTo>
                  <a:lnTo>
                    <a:pt x="53058" y="0"/>
                  </a:lnTo>
                  <a:close/>
                </a:path>
              </a:pathLst>
            </a:custGeom>
            <a:solidFill>
              <a:srgbClr val="E6BF2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1" name="object 1323">
              <a:extLst>
                <a:ext uri="{FF2B5EF4-FFF2-40B4-BE49-F238E27FC236}">
                  <a16:creationId xmlns:a16="http://schemas.microsoft.com/office/drawing/2014/main" id="{61DF7318-E62D-4FE7-A433-E03E98702578}"/>
                </a:ext>
              </a:extLst>
            </p:cNvPr>
            <p:cNvSpPr/>
            <p:nvPr/>
          </p:nvSpPr>
          <p:spPr>
            <a:xfrm>
              <a:off x="8047887" y="6273953"/>
              <a:ext cx="55880" cy="128270"/>
            </a:xfrm>
            <a:custGeom>
              <a:avLst/>
              <a:gdLst/>
              <a:ahLst/>
              <a:cxnLst/>
              <a:rect l="l" t="t" r="r" b="b"/>
              <a:pathLst>
                <a:path w="55879" h="128270">
                  <a:moveTo>
                    <a:pt x="52371" y="0"/>
                  </a:moveTo>
                  <a:lnTo>
                    <a:pt x="51879" y="457"/>
                  </a:lnTo>
                  <a:lnTo>
                    <a:pt x="51828" y="16192"/>
                  </a:lnTo>
                  <a:lnTo>
                    <a:pt x="51533" y="35337"/>
                  </a:lnTo>
                  <a:lnTo>
                    <a:pt x="44716" y="77762"/>
                  </a:lnTo>
                  <a:lnTo>
                    <a:pt x="16257" y="111217"/>
                  </a:lnTo>
                  <a:lnTo>
                    <a:pt x="0" y="123215"/>
                  </a:lnTo>
                  <a:lnTo>
                    <a:pt x="0" y="128003"/>
                  </a:lnTo>
                  <a:lnTo>
                    <a:pt x="5778" y="123494"/>
                  </a:lnTo>
                  <a:lnTo>
                    <a:pt x="16357" y="116078"/>
                  </a:lnTo>
                  <a:lnTo>
                    <a:pt x="25604" y="108605"/>
                  </a:lnTo>
                  <a:lnTo>
                    <a:pt x="50291" y="76593"/>
                  </a:lnTo>
                  <a:lnTo>
                    <a:pt x="55670" y="47568"/>
                  </a:lnTo>
                  <a:lnTo>
                    <a:pt x="55270" y="24561"/>
                  </a:lnTo>
                  <a:lnTo>
                    <a:pt x="54613" y="11396"/>
                  </a:lnTo>
                  <a:lnTo>
                    <a:pt x="53465" y="3427"/>
                  </a:lnTo>
                  <a:lnTo>
                    <a:pt x="52371" y="0"/>
                  </a:lnTo>
                  <a:close/>
                </a:path>
              </a:pathLst>
            </a:custGeom>
            <a:solidFill>
              <a:srgbClr val="E7C02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2" name="object 1324">
              <a:extLst>
                <a:ext uri="{FF2B5EF4-FFF2-40B4-BE49-F238E27FC236}">
                  <a16:creationId xmlns:a16="http://schemas.microsoft.com/office/drawing/2014/main" id="{4607FF52-0B5E-48E9-9E82-C377F3A0B13F}"/>
                </a:ext>
              </a:extLst>
            </p:cNvPr>
            <p:cNvSpPr/>
            <p:nvPr/>
          </p:nvSpPr>
          <p:spPr>
            <a:xfrm>
              <a:off x="8048561" y="6275238"/>
              <a:ext cx="55244" cy="126364"/>
            </a:xfrm>
            <a:custGeom>
              <a:avLst/>
              <a:gdLst/>
              <a:ahLst/>
              <a:cxnLst/>
              <a:rect l="l" t="t" r="r" b="b"/>
              <a:pathLst>
                <a:path w="55245" h="126365">
                  <a:moveTo>
                    <a:pt x="51678" y="0"/>
                  </a:moveTo>
                  <a:lnTo>
                    <a:pt x="51206" y="427"/>
                  </a:lnTo>
                  <a:lnTo>
                    <a:pt x="51180" y="16530"/>
                  </a:lnTo>
                  <a:lnTo>
                    <a:pt x="50824" y="35232"/>
                  </a:lnTo>
                  <a:lnTo>
                    <a:pt x="44043" y="76487"/>
                  </a:lnTo>
                  <a:lnTo>
                    <a:pt x="15851" y="109728"/>
                  </a:lnTo>
                  <a:lnTo>
                    <a:pt x="0" y="121458"/>
                  </a:lnTo>
                  <a:lnTo>
                    <a:pt x="0" y="125979"/>
                  </a:lnTo>
                  <a:lnTo>
                    <a:pt x="5740" y="121547"/>
                  </a:lnTo>
                  <a:lnTo>
                    <a:pt x="16090" y="114219"/>
                  </a:lnTo>
                  <a:lnTo>
                    <a:pt x="25191" y="106828"/>
                  </a:lnTo>
                  <a:lnTo>
                    <a:pt x="49453" y="75217"/>
                  </a:lnTo>
                  <a:lnTo>
                    <a:pt x="54808" y="46416"/>
                  </a:lnTo>
                  <a:lnTo>
                    <a:pt x="54419" y="23376"/>
                  </a:lnTo>
                  <a:lnTo>
                    <a:pt x="53797" y="10851"/>
                  </a:lnTo>
                  <a:lnTo>
                    <a:pt x="52712" y="3267"/>
                  </a:lnTo>
                  <a:lnTo>
                    <a:pt x="51678" y="0"/>
                  </a:lnTo>
                  <a:close/>
                </a:path>
              </a:pathLst>
            </a:custGeom>
            <a:solidFill>
              <a:srgbClr val="E9C229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3" name="object 1325">
              <a:extLst>
                <a:ext uri="{FF2B5EF4-FFF2-40B4-BE49-F238E27FC236}">
                  <a16:creationId xmlns:a16="http://schemas.microsoft.com/office/drawing/2014/main" id="{683E1092-D869-4CA1-8E4D-B9DE42AD66F7}"/>
                </a:ext>
              </a:extLst>
            </p:cNvPr>
            <p:cNvSpPr/>
            <p:nvPr/>
          </p:nvSpPr>
          <p:spPr>
            <a:xfrm>
              <a:off x="8049228" y="6276525"/>
              <a:ext cx="53975" cy="124460"/>
            </a:xfrm>
            <a:custGeom>
              <a:avLst/>
              <a:gdLst/>
              <a:ahLst/>
              <a:cxnLst/>
              <a:rect l="l" t="t" r="r" b="b"/>
              <a:pathLst>
                <a:path w="53975" h="124459">
                  <a:moveTo>
                    <a:pt x="50991" y="0"/>
                  </a:moveTo>
                  <a:lnTo>
                    <a:pt x="50558" y="407"/>
                  </a:lnTo>
                  <a:lnTo>
                    <a:pt x="50546" y="16879"/>
                  </a:lnTo>
                  <a:lnTo>
                    <a:pt x="50134" y="35127"/>
                  </a:lnTo>
                  <a:lnTo>
                    <a:pt x="43383" y="75223"/>
                  </a:lnTo>
                  <a:lnTo>
                    <a:pt x="15449" y="108238"/>
                  </a:lnTo>
                  <a:lnTo>
                    <a:pt x="0" y="119699"/>
                  </a:lnTo>
                  <a:lnTo>
                    <a:pt x="0" y="123953"/>
                  </a:lnTo>
                  <a:lnTo>
                    <a:pt x="5702" y="119597"/>
                  </a:lnTo>
                  <a:lnTo>
                    <a:pt x="15824" y="112383"/>
                  </a:lnTo>
                  <a:lnTo>
                    <a:pt x="24779" y="105062"/>
                  </a:lnTo>
                  <a:lnTo>
                    <a:pt x="48641" y="73826"/>
                  </a:lnTo>
                  <a:lnTo>
                    <a:pt x="53959" y="45269"/>
                  </a:lnTo>
                  <a:lnTo>
                    <a:pt x="53581" y="22188"/>
                  </a:lnTo>
                  <a:lnTo>
                    <a:pt x="52991" y="10309"/>
                  </a:lnTo>
                  <a:lnTo>
                    <a:pt x="51965" y="3106"/>
                  </a:lnTo>
                  <a:lnTo>
                    <a:pt x="50991" y="0"/>
                  </a:lnTo>
                  <a:close/>
                </a:path>
              </a:pathLst>
            </a:custGeom>
            <a:solidFill>
              <a:srgbClr val="EBC42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4" name="object 1326">
              <a:extLst>
                <a:ext uri="{FF2B5EF4-FFF2-40B4-BE49-F238E27FC236}">
                  <a16:creationId xmlns:a16="http://schemas.microsoft.com/office/drawing/2014/main" id="{61984074-8EDB-40DA-A54A-194E50571F9E}"/>
                </a:ext>
              </a:extLst>
            </p:cNvPr>
            <p:cNvSpPr/>
            <p:nvPr/>
          </p:nvSpPr>
          <p:spPr>
            <a:xfrm>
              <a:off x="8049900" y="6277811"/>
              <a:ext cx="53340" cy="122555"/>
            </a:xfrm>
            <a:custGeom>
              <a:avLst/>
              <a:gdLst/>
              <a:ahLst/>
              <a:cxnLst/>
              <a:rect l="l" t="t" r="r" b="b"/>
              <a:pathLst>
                <a:path w="53340" h="122554">
                  <a:moveTo>
                    <a:pt x="50297" y="0"/>
                  </a:moveTo>
                  <a:lnTo>
                    <a:pt x="49885" y="388"/>
                  </a:lnTo>
                  <a:lnTo>
                    <a:pt x="49885" y="17229"/>
                  </a:lnTo>
                  <a:lnTo>
                    <a:pt x="49427" y="35026"/>
                  </a:lnTo>
                  <a:lnTo>
                    <a:pt x="42722" y="73947"/>
                  </a:lnTo>
                  <a:lnTo>
                    <a:pt x="15043" y="106749"/>
                  </a:lnTo>
                  <a:lnTo>
                    <a:pt x="0" y="117952"/>
                  </a:lnTo>
                  <a:lnTo>
                    <a:pt x="0" y="121940"/>
                  </a:lnTo>
                  <a:lnTo>
                    <a:pt x="33583" y="93992"/>
                  </a:lnTo>
                  <a:lnTo>
                    <a:pt x="52171" y="57500"/>
                  </a:lnTo>
                  <a:lnTo>
                    <a:pt x="53092" y="44118"/>
                  </a:lnTo>
                  <a:lnTo>
                    <a:pt x="52730" y="20988"/>
                  </a:lnTo>
                  <a:lnTo>
                    <a:pt x="52175" y="9761"/>
                  </a:lnTo>
                  <a:lnTo>
                    <a:pt x="51212" y="2944"/>
                  </a:lnTo>
                  <a:lnTo>
                    <a:pt x="50297" y="0"/>
                  </a:lnTo>
                  <a:close/>
                </a:path>
              </a:pathLst>
            </a:custGeom>
            <a:solidFill>
              <a:srgbClr val="ECC53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5" name="object 1327">
              <a:extLst>
                <a:ext uri="{FF2B5EF4-FFF2-40B4-BE49-F238E27FC236}">
                  <a16:creationId xmlns:a16="http://schemas.microsoft.com/office/drawing/2014/main" id="{D89A1E32-6F9D-444C-BC52-C8B4B0838A80}"/>
                </a:ext>
              </a:extLst>
            </p:cNvPr>
            <p:cNvSpPr/>
            <p:nvPr/>
          </p:nvSpPr>
          <p:spPr>
            <a:xfrm>
              <a:off x="8050565" y="6277093"/>
              <a:ext cx="52705" cy="121920"/>
            </a:xfrm>
            <a:custGeom>
              <a:avLst/>
              <a:gdLst/>
              <a:ahLst/>
              <a:cxnLst/>
              <a:rect l="l" t="t" r="r" b="b"/>
              <a:pathLst>
                <a:path w="52704" h="121920">
                  <a:moveTo>
                    <a:pt x="49237" y="0"/>
                  </a:moveTo>
                  <a:lnTo>
                    <a:pt x="48048" y="49591"/>
                  </a:lnTo>
                  <a:lnTo>
                    <a:pt x="34037" y="87761"/>
                  </a:lnTo>
                  <a:lnTo>
                    <a:pt x="0" y="118198"/>
                  </a:lnTo>
                  <a:lnTo>
                    <a:pt x="0" y="121919"/>
                  </a:lnTo>
                  <a:lnTo>
                    <a:pt x="33002" y="94349"/>
                  </a:lnTo>
                  <a:lnTo>
                    <a:pt x="51333" y="58089"/>
                  </a:lnTo>
                  <a:lnTo>
                    <a:pt x="52244" y="44974"/>
                  </a:lnTo>
                  <a:lnTo>
                    <a:pt x="51638" y="4711"/>
                  </a:lnTo>
                  <a:lnTo>
                    <a:pt x="49237" y="0"/>
                  </a:lnTo>
                  <a:close/>
                </a:path>
              </a:pathLst>
            </a:custGeom>
            <a:solidFill>
              <a:srgbClr val="EDC83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6" name="object 1328">
              <a:extLst>
                <a:ext uri="{FF2B5EF4-FFF2-40B4-BE49-F238E27FC236}">
                  <a16:creationId xmlns:a16="http://schemas.microsoft.com/office/drawing/2014/main" id="{DF5B1209-0681-4269-B7E9-CEFA0C6C413C}"/>
                </a:ext>
              </a:extLst>
            </p:cNvPr>
            <p:cNvSpPr/>
            <p:nvPr/>
          </p:nvSpPr>
          <p:spPr>
            <a:xfrm>
              <a:off x="8051227" y="6278498"/>
              <a:ext cx="51435" cy="120014"/>
            </a:xfrm>
            <a:custGeom>
              <a:avLst/>
              <a:gdLst/>
              <a:ahLst/>
              <a:cxnLst/>
              <a:rect l="l" t="t" r="r" b="b"/>
              <a:pathLst>
                <a:path w="51434" h="120015">
                  <a:moveTo>
                    <a:pt x="48590" y="0"/>
                  </a:moveTo>
                  <a:lnTo>
                    <a:pt x="47317" y="48948"/>
                  </a:lnTo>
                  <a:lnTo>
                    <a:pt x="33386" y="86364"/>
                  </a:lnTo>
                  <a:lnTo>
                    <a:pt x="0" y="116319"/>
                  </a:lnTo>
                  <a:lnTo>
                    <a:pt x="0" y="119773"/>
                  </a:lnTo>
                  <a:lnTo>
                    <a:pt x="32431" y="92587"/>
                  </a:lnTo>
                  <a:lnTo>
                    <a:pt x="50507" y="56540"/>
                  </a:lnTo>
                  <a:lnTo>
                    <a:pt x="51391" y="43707"/>
                  </a:lnTo>
                  <a:lnTo>
                    <a:pt x="50812" y="4457"/>
                  </a:lnTo>
                  <a:lnTo>
                    <a:pt x="48590" y="0"/>
                  </a:lnTo>
                  <a:close/>
                </a:path>
              </a:pathLst>
            </a:custGeom>
            <a:solidFill>
              <a:srgbClr val="EFCA38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7" name="object 1329">
              <a:extLst>
                <a:ext uri="{FF2B5EF4-FFF2-40B4-BE49-F238E27FC236}">
                  <a16:creationId xmlns:a16="http://schemas.microsoft.com/office/drawing/2014/main" id="{5B2B3635-51A3-438F-AF01-2655E7D1426D}"/>
                </a:ext>
              </a:extLst>
            </p:cNvPr>
            <p:cNvSpPr/>
            <p:nvPr/>
          </p:nvSpPr>
          <p:spPr>
            <a:xfrm>
              <a:off x="8051893" y="6279899"/>
              <a:ext cx="50800" cy="118110"/>
            </a:xfrm>
            <a:custGeom>
              <a:avLst/>
              <a:gdLst/>
              <a:ahLst/>
              <a:cxnLst/>
              <a:rect l="l" t="t" r="r" b="b"/>
              <a:pathLst>
                <a:path w="50800" h="118109">
                  <a:moveTo>
                    <a:pt x="47929" y="0"/>
                  </a:moveTo>
                  <a:lnTo>
                    <a:pt x="46585" y="48307"/>
                  </a:lnTo>
                  <a:lnTo>
                    <a:pt x="32726" y="84974"/>
                  </a:lnTo>
                  <a:lnTo>
                    <a:pt x="0" y="114452"/>
                  </a:lnTo>
                  <a:lnTo>
                    <a:pt x="0" y="117640"/>
                  </a:lnTo>
                  <a:lnTo>
                    <a:pt x="31859" y="90827"/>
                  </a:lnTo>
                  <a:lnTo>
                    <a:pt x="49682" y="55003"/>
                  </a:lnTo>
                  <a:lnTo>
                    <a:pt x="50542" y="42446"/>
                  </a:lnTo>
                  <a:lnTo>
                    <a:pt x="49987" y="4216"/>
                  </a:lnTo>
                  <a:lnTo>
                    <a:pt x="47929" y="0"/>
                  </a:lnTo>
                  <a:close/>
                </a:path>
              </a:pathLst>
            </a:custGeom>
            <a:solidFill>
              <a:srgbClr val="F0CD3C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8" name="object 1330">
              <a:extLst>
                <a:ext uri="{FF2B5EF4-FFF2-40B4-BE49-F238E27FC236}">
                  <a16:creationId xmlns:a16="http://schemas.microsoft.com/office/drawing/2014/main" id="{38843A95-6F7D-45B7-A439-69D8F6E789EB}"/>
                </a:ext>
              </a:extLst>
            </p:cNvPr>
            <p:cNvSpPr/>
            <p:nvPr/>
          </p:nvSpPr>
          <p:spPr>
            <a:xfrm>
              <a:off x="8052565" y="6281292"/>
              <a:ext cx="50165" cy="115570"/>
            </a:xfrm>
            <a:custGeom>
              <a:avLst/>
              <a:gdLst/>
              <a:ahLst/>
              <a:cxnLst/>
              <a:rect l="l" t="t" r="r" b="b"/>
              <a:pathLst>
                <a:path w="50165" h="115570">
                  <a:moveTo>
                    <a:pt x="47256" y="0"/>
                  </a:moveTo>
                  <a:lnTo>
                    <a:pt x="45837" y="47666"/>
                  </a:lnTo>
                  <a:lnTo>
                    <a:pt x="32065" y="83583"/>
                  </a:lnTo>
                  <a:lnTo>
                    <a:pt x="0" y="112598"/>
                  </a:lnTo>
                  <a:lnTo>
                    <a:pt x="0" y="115519"/>
                  </a:lnTo>
                  <a:lnTo>
                    <a:pt x="31273" y="89077"/>
                  </a:lnTo>
                  <a:lnTo>
                    <a:pt x="48844" y="53479"/>
                  </a:lnTo>
                  <a:lnTo>
                    <a:pt x="49681" y="41191"/>
                  </a:lnTo>
                  <a:lnTo>
                    <a:pt x="49161" y="3975"/>
                  </a:lnTo>
                  <a:lnTo>
                    <a:pt x="47256" y="0"/>
                  </a:lnTo>
                  <a:close/>
                </a:path>
              </a:pathLst>
            </a:custGeom>
            <a:solidFill>
              <a:srgbClr val="F1CE3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39" name="object 1331">
              <a:extLst>
                <a:ext uri="{FF2B5EF4-FFF2-40B4-BE49-F238E27FC236}">
                  <a16:creationId xmlns:a16="http://schemas.microsoft.com/office/drawing/2014/main" id="{4B41687F-9993-4515-BB0D-05DF6733A506}"/>
                </a:ext>
              </a:extLst>
            </p:cNvPr>
            <p:cNvSpPr/>
            <p:nvPr/>
          </p:nvSpPr>
          <p:spPr>
            <a:xfrm>
              <a:off x="8053228" y="6282687"/>
              <a:ext cx="48895" cy="113664"/>
            </a:xfrm>
            <a:custGeom>
              <a:avLst/>
              <a:gdLst/>
              <a:ahLst/>
              <a:cxnLst/>
              <a:rect l="l" t="t" r="r" b="b"/>
              <a:pathLst>
                <a:path w="48895" h="113665">
                  <a:moveTo>
                    <a:pt x="46596" y="0"/>
                  </a:moveTo>
                  <a:lnTo>
                    <a:pt x="45107" y="47029"/>
                  </a:lnTo>
                  <a:lnTo>
                    <a:pt x="26841" y="87760"/>
                  </a:lnTo>
                  <a:lnTo>
                    <a:pt x="0" y="110731"/>
                  </a:lnTo>
                  <a:lnTo>
                    <a:pt x="0" y="113385"/>
                  </a:lnTo>
                  <a:lnTo>
                    <a:pt x="30705" y="87328"/>
                  </a:lnTo>
                  <a:lnTo>
                    <a:pt x="48018" y="51943"/>
                  </a:lnTo>
                  <a:lnTo>
                    <a:pt x="48826" y="39931"/>
                  </a:lnTo>
                  <a:lnTo>
                    <a:pt x="48323" y="3733"/>
                  </a:lnTo>
                  <a:lnTo>
                    <a:pt x="46596" y="0"/>
                  </a:lnTo>
                  <a:close/>
                </a:path>
              </a:pathLst>
            </a:custGeom>
            <a:solidFill>
              <a:srgbClr val="F3D04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0" name="object 1332">
              <a:extLst>
                <a:ext uri="{FF2B5EF4-FFF2-40B4-BE49-F238E27FC236}">
                  <a16:creationId xmlns:a16="http://schemas.microsoft.com/office/drawing/2014/main" id="{DA580EEE-9663-4D04-B345-9FA6EDEC32B3}"/>
                </a:ext>
              </a:extLst>
            </p:cNvPr>
            <p:cNvSpPr/>
            <p:nvPr/>
          </p:nvSpPr>
          <p:spPr>
            <a:xfrm>
              <a:off x="8053892" y="6284084"/>
              <a:ext cx="48260" cy="111760"/>
            </a:xfrm>
            <a:custGeom>
              <a:avLst/>
              <a:gdLst/>
              <a:ahLst/>
              <a:cxnLst/>
              <a:rect l="l" t="t" r="r" b="b"/>
              <a:pathLst>
                <a:path w="48259" h="111759">
                  <a:moveTo>
                    <a:pt x="45948" y="0"/>
                  </a:moveTo>
                  <a:lnTo>
                    <a:pt x="44375" y="46396"/>
                  </a:lnTo>
                  <a:lnTo>
                    <a:pt x="26193" y="86363"/>
                  </a:lnTo>
                  <a:lnTo>
                    <a:pt x="0" y="108864"/>
                  </a:lnTo>
                  <a:lnTo>
                    <a:pt x="0" y="111252"/>
                  </a:lnTo>
                  <a:lnTo>
                    <a:pt x="30130" y="85567"/>
                  </a:lnTo>
                  <a:lnTo>
                    <a:pt x="47193" y="50419"/>
                  </a:lnTo>
                  <a:lnTo>
                    <a:pt x="47977" y="38670"/>
                  </a:lnTo>
                  <a:lnTo>
                    <a:pt x="47510" y="3479"/>
                  </a:lnTo>
                  <a:lnTo>
                    <a:pt x="45948" y="0"/>
                  </a:lnTo>
                  <a:close/>
                </a:path>
              </a:pathLst>
            </a:custGeom>
            <a:solidFill>
              <a:srgbClr val="F4D246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1" name="object 1333">
              <a:extLst>
                <a:ext uri="{FF2B5EF4-FFF2-40B4-BE49-F238E27FC236}">
                  <a16:creationId xmlns:a16="http://schemas.microsoft.com/office/drawing/2014/main" id="{86DBBB1B-758E-4984-8EA3-6CC457458055}"/>
                </a:ext>
              </a:extLst>
            </p:cNvPr>
            <p:cNvSpPr/>
            <p:nvPr/>
          </p:nvSpPr>
          <p:spPr>
            <a:xfrm>
              <a:off x="8054569" y="6285490"/>
              <a:ext cx="47625" cy="109220"/>
            </a:xfrm>
            <a:custGeom>
              <a:avLst/>
              <a:gdLst/>
              <a:ahLst/>
              <a:cxnLst/>
              <a:rect l="l" t="t" r="r" b="b"/>
              <a:pathLst>
                <a:path w="47625" h="109220">
                  <a:moveTo>
                    <a:pt x="45275" y="0"/>
                  </a:moveTo>
                  <a:lnTo>
                    <a:pt x="43627" y="45746"/>
                  </a:lnTo>
                  <a:lnTo>
                    <a:pt x="25520" y="84968"/>
                  </a:lnTo>
                  <a:lnTo>
                    <a:pt x="0" y="106984"/>
                  </a:lnTo>
                  <a:lnTo>
                    <a:pt x="0" y="109118"/>
                  </a:lnTo>
                  <a:lnTo>
                    <a:pt x="29543" y="83805"/>
                  </a:lnTo>
                  <a:lnTo>
                    <a:pt x="46354" y="48869"/>
                  </a:lnTo>
                  <a:lnTo>
                    <a:pt x="47110" y="37408"/>
                  </a:lnTo>
                  <a:lnTo>
                    <a:pt x="46659" y="3238"/>
                  </a:lnTo>
                  <a:lnTo>
                    <a:pt x="45275" y="0"/>
                  </a:lnTo>
                  <a:close/>
                </a:path>
              </a:pathLst>
            </a:custGeom>
            <a:solidFill>
              <a:srgbClr val="F6D44A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2" name="object 1334">
              <a:extLst>
                <a:ext uri="{FF2B5EF4-FFF2-40B4-BE49-F238E27FC236}">
                  <a16:creationId xmlns:a16="http://schemas.microsoft.com/office/drawing/2014/main" id="{92460707-62D3-4FD0-B3D7-F47D1FF4B2B1}"/>
                </a:ext>
              </a:extLst>
            </p:cNvPr>
            <p:cNvSpPr/>
            <p:nvPr/>
          </p:nvSpPr>
          <p:spPr>
            <a:xfrm>
              <a:off x="8055230" y="6286883"/>
              <a:ext cx="46355" cy="107314"/>
            </a:xfrm>
            <a:custGeom>
              <a:avLst/>
              <a:gdLst/>
              <a:ahLst/>
              <a:cxnLst/>
              <a:rect l="l" t="t" r="r" b="b"/>
              <a:pathLst>
                <a:path w="46354" h="107315">
                  <a:moveTo>
                    <a:pt x="44615" y="0"/>
                  </a:moveTo>
                  <a:lnTo>
                    <a:pt x="42891" y="45111"/>
                  </a:lnTo>
                  <a:lnTo>
                    <a:pt x="24872" y="83584"/>
                  </a:lnTo>
                  <a:lnTo>
                    <a:pt x="0" y="105130"/>
                  </a:lnTo>
                  <a:lnTo>
                    <a:pt x="0" y="106984"/>
                  </a:lnTo>
                  <a:lnTo>
                    <a:pt x="28973" y="82056"/>
                  </a:lnTo>
                  <a:lnTo>
                    <a:pt x="45529" y="47332"/>
                  </a:lnTo>
                  <a:lnTo>
                    <a:pt x="46263" y="36148"/>
                  </a:lnTo>
                  <a:lnTo>
                    <a:pt x="45846" y="2997"/>
                  </a:lnTo>
                  <a:lnTo>
                    <a:pt x="44615" y="0"/>
                  </a:lnTo>
                  <a:close/>
                </a:path>
              </a:pathLst>
            </a:custGeom>
            <a:solidFill>
              <a:srgbClr val="F7D64E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3" name="object 1335">
              <a:extLst>
                <a:ext uri="{FF2B5EF4-FFF2-40B4-BE49-F238E27FC236}">
                  <a16:creationId xmlns:a16="http://schemas.microsoft.com/office/drawing/2014/main" id="{C115315C-EB45-4E62-8DF4-9D1B8EC69C98}"/>
                </a:ext>
              </a:extLst>
            </p:cNvPr>
            <p:cNvSpPr/>
            <p:nvPr/>
          </p:nvSpPr>
          <p:spPr>
            <a:xfrm>
              <a:off x="8055904" y="6288279"/>
              <a:ext cx="45720" cy="105410"/>
            </a:xfrm>
            <a:custGeom>
              <a:avLst/>
              <a:gdLst/>
              <a:ahLst/>
              <a:cxnLst/>
              <a:rect l="l" t="t" r="r" b="b"/>
              <a:pathLst>
                <a:path w="45720" h="105409">
                  <a:moveTo>
                    <a:pt x="43941" y="0"/>
                  </a:moveTo>
                  <a:lnTo>
                    <a:pt x="42152" y="44475"/>
                  </a:lnTo>
                  <a:lnTo>
                    <a:pt x="24199" y="82189"/>
                  </a:lnTo>
                  <a:lnTo>
                    <a:pt x="0" y="103263"/>
                  </a:lnTo>
                  <a:lnTo>
                    <a:pt x="0" y="104851"/>
                  </a:lnTo>
                  <a:lnTo>
                    <a:pt x="35291" y="71036"/>
                  </a:lnTo>
                  <a:lnTo>
                    <a:pt x="45402" y="34892"/>
                  </a:lnTo>
                  <a:lnTo>
                    <a:pt x="45008" y="2755"/>
                  </a:lnTo>
                  <a:lnTo>
                    <a:pt x="43941" y="0"/>
                  </a:lnTo>
                  <a:close/>
                </a:path>
              </a:pathLst>
            </a:custGeom>
            <a:solidFill>
              <a:srgbClr val="F9D851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4" name="object 1336">
              <a:extLst>
                <a:ext uri="{FF2B5EF4-FFF2-40B4-BE49-F238E27FC236}">
                  <a16:creationId xmlns:a16="http://schemas.microsoft.com/office/drawing/2014/main" id="{100F81C2-F6ED-4FF3-851A-45CA93C18FF8}"/>
                </a:ext>
              </a:extLst>
            </p:cNvPr>
            <p:cNvSpPr/>
            <p:nvPr/>
          </p:nvSpPr>
          <p:spPr>
            <a:xfrm>
              <a:off x="8056566" y="6289677"/>
              <a:ext cx="45085" cy="102870"/>
            </a:xfrm>
            <a:custGeom>
              <a:avLst/>
              <a:gdLst/>
              <a:ahLst/>
              <a:cxnLst/>
              <a:rect l="l" t="t" r="r" b="b"/>
              <a:pathLst>
                <a:path w="45084" h="102870">
                  <a:moveTo>
                    <a:pt x="43294" y="0"/>
                  </a:moveTo>
                  <a:lnTo>
                    <a:pt x="41417" y="43835"/>
                  </a:lnTo>
                  <a:lnTo>
                    <a:pt x="23551" y="80799"/>
                  </a:lnTo>
                  <a:lnTo>
                    <a:pt x="0" y="101396"/>
                  </a:lnTo>
                  <a:lnTo>
                    <a:pt x="0" y="102730"/>
                  </a:lnTo>
                  <a:lnTo>
                    <a:pt x="34569" y="69425"/>
                  </a:lnTo>
                  <a:lnTo>
                    <a:pt x="44547" y="33631"/>
                  </a:lnTo>
                  <a:lnTo>
                    <a:pt x="44183" y="2501"/>
                  </a:lnTo>
                  <a:lnTo>
                    <a:pt x="43294" y="0"/>
                  </a:lnTo>
                  <a:close/>
                </a:path>
              </a:pathLst>
            </a:custGeom>
            <a:solidFill>
              <a:srgbClr val="FADA5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5" name="object 1337">
              <a:extLst>
                <a:ext uri="{FF2B5EF4-FFF2-40B4-BE49-F238E27FC236}">
                  <a16:creationId xmlns:a16="http://schemas.microsoft.com/office/drawing/2014/main" id="{4B5BBC0D-E2ED-4BE3-87E3-A773CE1FB4B4}"/>
                </a:ext>
              </a:extLst>
            </p:cNvPr>
            <p:cNvSpPr/>
            <p:nvPr/>
          </p:nvSpPr>
          <p:spPr>
            <a:xfrm>
              <a:off x="8057233" y="6291083"/>
              <a:ext cx="43815" cy="100965"/>
            </a:xfrm>
            <a:custGeom>
              <a:avLst/>
              <a:gdLst/>
              <a:ahLst/>
              <a:cxnLst/>
              <a:rect l="l" t="t" r="r" b="b"/>
              <a:pathLst>
                <a:path w="43815" h="100965">
                  <a:moveTo>
                    <a:pt x="42633" y="0"/>
                  </a:moveTo>
                  <a:lnTo>
                    <a:pt x="40681" y="43186"/>
                  </a:lnTo>
                  <a:lnTo>
                    <a:pt x="22891" y="79397"/>
                  </a:lnTo>
                  <a:lnTo>
                    <a:pt x="0" y="99517"/>
                  </a:lnTo>
                  <a:lnTo>
                    <a:pt x="0" y="100583"/>
                  </a:lnTo>
                  <a:lnTo>
                    <a:pt x="33835" y="67799"/>
                  </a:lnTo>
                  <a:lnTo>
                    <a:pt x="43698" y="32358"/>
                  </a:lnTo>
                  <a:lnTo>
                    <a:pt x="43357" y="2247"/>
                  </a:lnTo>
                  <a:lnTo>
                    <a:pt x="42633" y="0"/>
                  </a:lnTo>
                  <a:close/>
                </a:path>
              </a:pathLst>
            </a:custGeom>
            <a:solidFill>
              <a:srgbClr val="FCDC5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6" name="object 1338">
              <a:extLst>
                <a:ext uri="{FF2B5EF4-FFF2-40B4-BE49-F238E27FC236}">
                  <a16:creationId xmlns:a16="http://schemas.microsoft.com/office/drawing/2014/main" id="{33231949-83C7-417B-B546-73DC4FE8A462}"/>
                </a:ext>
              </a:extLst>
            </p:cNvPr>
            <p:cNvSpPr/>
            <p:nvPr/>
          </p:nvSpPr>
          <p:spPr>
            <a:xfrm>
              <a:off x="8057893" y="6292477"/>
              <a:ext cx="43180" cy="99060"/>
            </a:xfrm>
            <a:custGeom>
              <a:avLst/>
              <a:gdLst/>
              <a:ahLst/>
              <a:cxnLst/>
              <a:rect l="l" t="t" r="r" b="b"/>
              <a:pathLst>
                <a:path w="43179" h="99059">
                  <a:moveTo>
                    <a:pt x="41973" y="0"/>
                  </a:moveTo>
                  <a:lnTo>
                    <a:pt x="39955" y="42549"/>
                  </a:lnTo>
                  <a:lnTo>
                    <a:pt x="22238" y="78014"/>
                  </a:lnTo>
                  <a:lnTo>
                    <a:pt x="0" y="97650"/>
                  </a:lnTo>
                  <a:lnTo>
                    <a:pt x="0" y="98450"/>
                  </a:lnTo>
                  <a:lnTo>
                    <a:pt x="33118" y="66188"/>
                  </a:lnTo>
                  <a:lnTo>
                    <a:pt x="42851" y="31104"/>
                  </a:lnTo>
                  <a:lnTo>
                    <a:pt x="42532" y="2006"/>
                  </a:lnTo>
                  <a:lnTo>
                    <a:pt x="41973" y="0"/>
                  </a:lnTo>
                  <a:close/>
                </a:path>
              </a:pathLst>
            </a:custGeom>
            <a:solidFill>
              <a:srgbClr val="FCDE5B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7" name="object 1339">
              <a:extLst>
                <a:ext uri="{FF2B5EF4-FFF2-40B4-BE49-F238E27FC236}">
                  <a16:creationId xmlns:a16="http://schemas.microsoft.com/office/drawing/2014/main" id="{FADAC9F5-333D-481B-9EA4-BD0D08DCA2DA}"/>
                </a:ext>
              </a:extLst>
            </p:cNvPr>
            <p:cNvSpPr/>
            <p:nvPr/>
          </p:nvSpPr>
          <p:spPr>
            <a:xfrm>
              <a:off x="8058571" y="6293877"/>
              <a:ext cx="42545" cy="96520"/>
            </a:xfrm>
            <a:custGeom>
              <a:avLst/>
              <a:gdLst/>
              <a:ahLst/>
              <a:cxnLst/>
              <a:rect l="l" t="t" r="r" b="b"/>
              <a:pathLst>
                <a:path w="42545" h="96520">
                  <a:moveTo>
                    <a:pt x="41300" y="0"/>
                  </a:moveTo>
                  <a:lnTo>
                    <a:pt x="39209" y="41909"/>
                  </a:lnTo>
                  <a:lnTo>
                    <a:pt x="21570" y="76612"/>
                  </a:lnTo>
                  <a:lnTo>
                    <a:pt x="0" y="95796"/>
                  </a:lnTo>
                  <a:lnTo>
                    <a:pt x="0" y="96316"/>
                  </a:lnTo>
                  <a:lnTo>
                    <a:pt x="32383" y="64575"/>
                  </a:lnTo>
                  <a:lnTo>
                    <a:pt x="41983" y="29848"/>
                  </a:lnTo>
                  <a:lnTo>
                    <a:pt x="41694" y="1765"/>
                  </a:lnTo>
                  <a:lnTo>
                    <a:pt x="41300" y="0"/>
                  </a:lnTo>
                  <a:close/>
                </a:path>
              </a:pathLst>
            </a:custGeom>
            <a:solidFill>
              <a:srgbClr val="FEE25F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8" name="object 1340">
              <a:extLst>
                <a:ext uri="{FF2B5EF4-FFF2-40B4-BE49-F238E27FC236}">
                  <a16:creationId xmlns:a16="http://schemas.microsoft.com/office/drawing/2014/main" id="{B3906B6E-E254-451E-B915-6629FB780DBF}"/>
                </a:ext>
              </a:extLst>
            </p:cNvPr>
            <p:cNvSpPr/>
            <p:nvPr/>
          </p:nvSpPr>
          <p:spPr>
            <a:xfrm>
              <a:off x="8059233" y="6295270"/>
              <a:ext cx="41275" cy="94615"/>
            </a:xfrm>
            <a:custGeom>
              <a:avLst/>
              <a:gdLst/>
              <a:ahLst/>
              <a:cxnLst/>
              <a:rect l="l" t="t" r="r" b="b"/>
              <a:pathLst>
                <a:path w="41275" h="94615">
                  <a:moveTo>
                    <a:pt x="40652" y="0"/>
                  </a:moveTo>
                  <a:lnTo>
                    <a:pt x="38476" y="41273"/>
                  </a:lnTo>
                  <a:lnTo>
                    <a:pt x="20911" y="75224"/>
                  </a:lnTo>
                  <a:lnTo>
                    <a:pt x="0" y="93929"/>
                  </a:lnTo>
                  <a:lnTo>
                    <a:pt x="0" y="94195"/>
                  </a:lnTo>
                  <a:lnTo>
                    <a:pt x="31659" y="62966"/>
                  </a:lnTo>
                  <a:lnTo>
                    <a:pt x="41135" y="28588"/>
                  </a:lnTo>
                  <a:lnTo>
                    <a:pt x="40881" y="1523"/>
                  </a:lnTo>
                  <a:lnTo>
                    <a:pt x="40652" y="0"/>
                  </a:lnTo>
                  <a:close/>
                </a:path>
              </a:pathLst>
            </a:custGeom>
            <a:solidFill>
              <a:srgbClr val="FEE463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49" name="object 1341">
              <a:extLst>
                <a:ext uri="{FF2B5EF4-FFF2-40B4-BE49-F238E27FC236}">
                  <a16:creationId xmlns:a16="http://schemas.microsoft.com/office/drawing/2014/main" id="{819980C6-104C-46C6-86A4-0D99AF048918}"/>
                </a:ext>
              </a:extLst>
            </p:cNvPr>
            <p:cNvSpPr/>
            <p:nvPr/>
          </p:nvSpPr>
          <p:spPr>
            <a:xfrm>
              <a:off x="8059898" y="6296673"/>
              <a:ext cx="40640" cy="92075"/>
            </a:xfrm>
            <a:custGeom>
              <a:avLst/>
              <a:gdLst/>
              <a:ahLst/>
              <a:cxnLst/>
              <a:rect l="l" t="t" r="r" b="b"/>
              <a:pathLst>
                <a:path w="40640" h="92075">
                  <a:moveTo>
                    <a:pt x="39992" y="0"/>
                  </a:moveTo>
                  <a:lnTo>
                    <a:pt x="37739" y="40630"/>
                  </a:lnTo>
                  <a:lnTo>
                    <a:pt x="15265" y="78993"/>
                  </a:lnTo>
                  <a:lnTo>
                    <a:pt x="0" y="92049"/>
                  </a:lnTo>
                  <a:lnTo>
                    <a:pt x="5105" y="88785"/>
                  </a:lnTo>
                  <a:lnTo>
                    <a:pt x="35382" y="52133"/>
                  </a:lnTo>
                  <a:lnTo>
                    <a:pt x="40240" y="28524"/>
                  </a:lnTo>
                  <a:lnTo>
                    <a:pt x="40226" y="10623"/>
                  </a:lnTo>
                  <a:lnTo>
                    <a:pt x="40043" y="1269"/>
                  </a:lnTo>
                  <a:lnTo>
                    <a:pt x="39992" y="0"/>
                  </a:lnTo>
                  <a:close/>
                </a:path>
              </a:pathLst>
            </a:custGeom>
            <a:solidFill>
              <a:srgbClr val="FEE667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50" name="object 1342">
              <a:extLst>
                <a:ext uri="{FF2B5EF4-FFF2-40B4-BE49-F238E27FC236}">
                  <a16:creationId xmlns:a16="http://schemas.microsoft.com/office/drawing/2014/main" id="{B40A187B-3CB8-4DBE-86F4-E267E84D9FDE}"/>
                </a:ext>
              </a:extLst>
            </p:cNvPr>
            <p:cNvSpPr/>
            <p:nvPr/>
          </p:nvSpPr>
          <p:spPr>
            <a:xfrm>
              <a:off x="8047270" y="6297110"/>
              <a:ext cx="52705" cy="100330"/>
            </a:xfrm>
            <a:custGeom>
              <a:avLst/>
              <a:gdLst/>
              <a:ahLst/>
              <a:cxnLst/>
              <a:rect l="l" t="t" r="r" b="b"/>
              <a:pathLst>
                <a:path w="52704" h="100329">
                  <a:moveTo>
                    <a:pt x="52578" y="0"/>
                  </a:moveTo>
                  <a:lnTo>
                    <a:pt x="49742" y="40051"/>
                  </a:lnTo>
                  <a:lnTo>
                    <a:pt x="30050" y="75895"/>
                  </a:lnTo>
                  <a:lnTo>
                    <a:pt x="0" y="100279"/>
                  </a:lnTo>
                  <a:lnTo>
                    <a:pt x="7515" y="95199"/>
                  </a:lnTo>
                  <a:lnTo>
                    <a:pt x="36244" y="69546"/>
                  </a:lnTo>
                  <a:lnTo>
                    <a:pt x="51828" y="27851"/>
                  </a:lnTo>
                  <a:lnTo>
                    <a:pt x="52570" y="16035"/>
                  </a:lnTo>
                  <a:lnTo>
                    <a:pt x="52578" y="0"/>
                  </a:lnTo>
                  <a:close/>
                </a:path>
              </a:pathLst>
            </a:custGeom>
            <a:solidFill>
              <a:srgbClr val="FFF3C4"/>
            </a:solidFill>
          </p:spPr>
          <p:txBody>
            <a:bodyPr wrap="square" lIns="0" tIns="0" rIns="0" bIns="0" rtlCol="0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352" name="Title 4">
            <a:extLst>
              <a:ext uri="{FF2B5EF4-FFF2-40B4-BE49-F238E27FC236}">
                <a16:creationId xmlns:a16="http://schemas.microsoft.com/office/drawing/2014/main" id="{2CBF32E5-07B6-4959-8259-1E37D6727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04807" y="580134"/>
            <a:ext cx="10058400" cy="4826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rtl="0">
              <a:defRPr lang="en-US" dirty="0">
                <a:latin typeface="+mj-lt"/>
                <a:ea typeface="+mj-ea"/>
                <a:cs typeface="+mj-cs"/>
              </a:defRPr>
            </a:lvl1pPr>
          </a:lstStyle>
          <a:p>
            <a:pPr marL="0" marR="0" lvl="0" indent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add title</a:t>
            </a:r>
          </a:p>
        </p:txBody>
      </p:sp>
      <p:grpSp>
        <p:nvGrpSpPr>
          <p:cNvPr id="1353" name="Group 1352">
            <a:extLst>
              <a:ext uri="{FF2B5EF4-FFF2-40B4-BE49-F238E27FC236}">
                <a16:creationId xmlns:a16="http://schemas.microsoft.com/office/drawing/2014/main" id="{5698D8C7-7682-410A-B8F1-BC6F8BC6B987}"/>
              </a:ext>
            </a:extLst>
          </p:cNvPr>
          <p:cNvGrpSpPr/>
          <p:nvPr userDrawn="1"/>
        </p:nvGrpSpPr>
        <p:grpSpPr>
          <a:xfrm>
            <a:off x="-528" y="299720"/>
            <a:ext cx="12193056" cy="396274"/>
            <a:chOff x="-528" y="1567605"/>
            <a:chExt cx="12193056" cy="396274"/>
          </a:xfrm>
        </p:grpSpPr>
        <p:pic>
          <p:nvPicPr>
            <p:cNvPr id="1354" name="Picture 1353">
              <a:extLst>
                <a:ext uri="{FF2B5EF4-FFF2-40B4-BE49-F238E27FC236}">
                  <a16:creationId xmlns:a16="http://schemas.microsoft.com/office/drawing/2014/main" id="{CB5C1D53-4F16-45B0-B800-58583B36CBC7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16144"/>
            <a:stretch/>
          </p:blipFill>
          <p:spPr>
            <a:xfrm>
              <a:off x="1967971" y="1567605"/>
              <a:ext cx="10224557" cy="396274"/>
            </a:xfrm>
            <a:prstGeom prst="rect">
              <a:avLst/>
            </a:prstGeom>
          </p:spPr>
        </p:pic>
        <p:pic>
          <p:nvPicPr>
            <p:cNvPr id="1355" name="Picture 1354">
              <a:extLst>
                <a:ext uri="{FF2B5EF4-FFF2-40B4-BE49-F238E27FC236}">
                  <a16:creationId xmlns:a16="http://schemas.microsoft.com/office/drawing/2014/main" id="{BA79559D-89FF-4CA2-A255-D646D2473961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83856"/>
            <a:stretch/>
          </p:blipFill>
          <p:spPr>
            <a:xfrm>
              <a:off x="-528" y="1567605"/>
              <a:ext cx="1968500" cy="39627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04698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D31FB181-6132-4963-978D-2885323F82E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125529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1FB181-6132-4963-978D-2885323F82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27372C9-DB0D-4776-B048-B159480B3E88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4760461" y="514924"/>
            <a:ext cx="4513541" cy="5526437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F953861F-E306-417E-8D21-5BD0541D12D6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0710685-8A3E-4C43-8615-8DFBF80DF724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B9F8B4D8-4FA4-4730-A08F-AAFF430D71DB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3" name="Rectangle 23">
              <a:extLst>
                <a:ext uri="{FF2B5EF4-FFF2-40B4-BE49-F238E27FC236}">
                  <a16:creationId xmlns:a16="http://schemas.microsoft.com/office/drawing/2014/main" id="{9B0E7DA1-B7E3-4347-B9C3-68507FD34C2C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25">
              <a:extLst>
                <a:ext uri="{FF2B5EF4-FFF2-40B4-BE49-F238E27FC236}">
                  <a16:creationId xmlns:a16="http://schemas.microsoft.com/office/drawing/2014/main" id="{09B3108E-5394-4E35-AB39-4AA91D98F589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B13F6DFE-7C72-4DE4-83B0-2CA25CC9EF6A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7">
              <a:extLst>
                <a:ext uri="{FF2B5EF4-FFF2-40B4-BE49-F238E27FC236}">
                  <a16:creationId xmlns:a16="http://schemas.microsoft.com/office/drawing/2014/main" id="{1192F1F5-A5AD-445E-9279-FB3D9D118998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8">
              <a:extLst>
                <a:ext uri="{FF2B5EF4-FFF2-40B4-BE49-F238E27FC236}">
                  <a16:creationId xmlns:a16="http://schemas.microsoft.com/office/drawing/2014/main" id="{939BFDFE-6686-448C-85C2-53A8A88D3F7A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29">
              <a:extLst>
                <a:ext uri="{FF2B5EF4-FFF2-40B4-BE49-F238E27FC236}">
                  <a16:creationId xmlns:a16="http://schemas.microsoft.com/office/drawing/2014/main" id="{AA3E6A27-3F88-4F66-BF58-4F80BD71246B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B7489488-B871-402C-AE7F-E303FA1431BE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E103EF53-B146-4361-B31E-704AF325AAF6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498604"/>
            <a:ext cx="3977126" cy="1278466"/>
          </a:xfrm>
        </p:spPr>
        <p:txBody>
          <a:bodyPr vert="horz" anchor="b">
            <a:normAutofit/>
          </a:bodyPr>
          <a:lstStyle>
            <a:lvl1pPr>
              <a:defRPr sz="24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54736" y="2777069"/>
            <a:ext cx="3977126" cy="2584449"/>
          </a:xfrm>
        </p:spPr>
        <p:txBody>
          <a:bodyPr lIns="91440" tIns="45720" rIns="91440" bIns="45720">
            <a:normAutofit/>
          </a:bodyPr>
          <a:lstStyle>
            <a:lvl1pPr marL="0" indent="0">
              <a:buNone/>
              <a:defRPr sz="1400">
                <a:latin typeface="+mn-lt"/>
                <a:ea typeface="+mn-ea"/>
                <a:cs typeface="+mn-cs"/>
              </a:defRPr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Slide Number">
            <a:extLst>
              <a:ext uri="{FF2B5EF4-FFF2-40B4-BE49-F238E27FC236}">
                <a16:creationId xmlns:a16="http://schemas.microsoft.com/office/drawing/2014/main" id="{C4FD3727-95E2-4B7D-99E4-567365FAAEA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9687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FAAAFD5D-851F-48BC-BD54-10E5090984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53788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AAFD5D-851F-48BC-BD54-10E5090984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4800600"/>
            <a:ext cx="8719265" cy="566738"/>
          </a:xfrm>
        </p:spPr>
        <p:txBody>
          <a:bodyPr vert="horz" anchor="b">
            <a:normAutofit/>
          </a:bodyPr>
          <a:lstStyle>
            <a:lvl1pPr algn="l">
              <a:defRPr sz="2400" b="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554736" y="5367338"/>
            <a:ext cx="8719265" cy="674024"/>
          </a:xfrm>
        </p:spPr>
        <p:txBody>
          <a:bodyPr lIns="91440" tIns="45720" rIns="91440" bIns="45720">
            <a:normAutofit/>
          </a:bodyPr>
          <a:lstStyle>
            <a:lvl1pPr marL="0" indent="0">
              <a:buNone/>
              <a:defRPr sz="1200"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E0DE8C15-D6AE-4642-B806-6C5AE481C560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94890E02-FE01-47D0-B7D9-B4278A3F2F04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9583CDA7-32EB-4664-8625-0435D83BCF58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3" name="Rectangle 23">
              <a:extLst>
                <a:ext uri="{FF2B5EF4-FFF2-40B4-BE49-F238E27FC236}">
                  <a16:creationId xmlns:a16="http://schemas.microsoft.com/office/drawing/2014/main" id="{14AB114A-F3C5-423F-B2C6-51A1C1A12FED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25">
              <a:extLst>
                <a:ext uri="{FF2B5EF4-FFF2-40B4-BE49-F238E27FC236}">
                  <a16:creationId xmlns:a16="http://schemas.microsoft.com/office/drawing/2014/main" id="{AF5C49D6-F792-4D29-B76F-81B39DF578D5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5124106A-6F2D-4FC9-9E3F-FDDE070271A1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7">
              <a:extLst>
                <a:ext uri="{FF2B5EF4-FFF2-40B4-BE49-F238E27FC236}">
                  <a16:creationId xmlns:a16="http://schemas.microsoft.com/office/drawing/2014/main" id="{2281FD31-DDC6-4218-B5F1-200AA7A359D7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8">
              <a:extLst>
                <a:ext uri="{FF2B5EF4-FFF2-40B4-BE49-F238E27FC236}">
                  <a16:creationId xmlns:a16="http://schemas.microsoft.com/office/drawing/2014/main" id="{1AD5EA6C-73A1-41CD-A7B0-7C192003464C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29">
              <a:extLst>
                <a:ext uri="{FF2B5EF4-FFF2-40B4-BE49-F238E27FC236}">
                  <a16:creationId xmlns:a16="http://schemas.microsoft.com/office/drawing/2014/main" id="{8BF8457F-3B9B-4F1E-8E13-4D051BA46EC7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82C140A1-0615-4B45-B508-EA3C136AFD68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B8EBF31F-C11A-4510-B7E1-5BE6592097B8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2" name="Slide Number">
            <a:extLst>
              <a:ext uri="{FF2B5EF4-FFF2-40B4-BE49-F238E27FC236}">
                <a16:creationId xmlns:a16="http://schemas.microsoft.com/office/drawing/2014/main" id="{67EE34F8-C7AC-4B06-8381-EE5EFCDC7C1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01317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197E361-0A3D-4900-B819-34AD105949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71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197E361-0A3D-4900-B819-34AD105949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609600"/>
            <a:ext cx="8719266" cy="3403600"/>
          </a:xfrm>
        </p:spPr>
        <p:txBody>
          <a:bodyPr vert="horz" anchor="ctr">
            <a:normAutofit/>
          </a:bodyPr>
          <a:lstStyle>
            <a:lvl1pPr algn="l">
              <a:defRPr sz="4400" b="0" cap="none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4736" y="4470400"/>
            <a:ext cx="8719266" cy="1570962"/>
          </a:xfrm>
        </p:spPr>
        <p:txBody>
          <a:bodyPr lIns="91440" tIns="45720" rIns="91440" bIns="45720" anchor="ctr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0CB2DB65-797B-4783-AA10-902BBEAA8D5F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6CE9DB8-E19A-47D7-B91C-3172CDCB4FAE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1C80B87F-3E31-4C9B-B45F-6B2E09B41265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B6C113F5-12BC-4CFE-A6D4-B10E5219FF46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9FFD3891-13ED-4E97-B3E1-50F29FE2CFED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BB6167C3-858B-4F70-B730-F87E227183C0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7">
              <a:extLst>
                <a:ext uri="{FF2B5EF4-FFF2-40B4-BE49-F238E27FC236}">
                  <a16:creationId xmlns:a16="http://schemas.microsoft.com/office/drawing/2014/main" id="{2C48D5A8-1138-4733-8A03-370DDF062A84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393DBCC4-A61B-4C0D-8528-D2C44F2818A0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85F26687-EE82-44A1-AE5B-7A7D772D7765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815D9D6F-BBB6-4933-8E2D-9A8DCE830774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7F8552BE-349B-4160-B3A0-14656040C3B2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1" name="Slide Number">
            <a:extLst>
              <a:ext uri="{FF2B5EF4-FFF2-40B4-BE49-F238E27FC236}">
                <a16:creationId xmlns:a16="http://schemas.microsoft.com/office/drawing/2014/main" id="{60924E39-15C2-4299-B204-0CF3FD644A1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2946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FBA6964-1F74-42DC-B818-53F5DED32C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FBA6964-1F74-42DC-B818-53F5DED32C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vert="horz" anchor="ctr">
            <a:normAutofit/>
          </a:bodyPr>
          <a:lstStyle>
            <a:lvl1pPr algn="l">
              <a:defRPr sz="4400" b="0" cap="none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1366139" y="3632200"/>
            <a:ext cx="7224524" cy="381000"/>
          </a:xfrm>
        </p:spPr>
        <p:txBody>
          <a:bodyPr lIns="91440" tIns="45720" rIns="91440" bIns="45720"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4736" y="4470400"/>
            <a:ext cx="8719266" cy="1570962"/>
          </a:xfrm>
        </p:spPr>
        <p:txBody>
          <a:bodyPr lIns="91440" tIns="45720" rIns="91440" bIns="45720" anchor="ctr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+mn-cs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+mn-cs"/>
              </a:rPr>
              <a:t>”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852060E-FB04-46DE-BB5B-738B2A7F6AC7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E810D08D-4CAC-4ED1-9249-56C9FF2287EC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C94C85F6-029D-4856-B0F1-08411CBEE101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4" name="Rectangle 23">
              <a:extLst>
                <a:ext uri="{FF2B5EF4-FFF2-40B4-BE49-F238E27FC236}">
                  <a16:creationId xmlns:a16="http://schemas.microsoft.com/office/drawing/2014/main" id="{0561D94A-5A9A-48D1-8988-646DB46F3042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5">
              <a:extLst>
                <a:ext uri="{FF2B5EF4-FFF2-40B4-BE49-F238E27FC236}">
                  <a16:creationId xmlns:a16="http://schemas.microsoft.com/office/drawing/2014/main" id="{3B89C45F-CD93-4407-BDB5-B35F4A31A735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F59F74C8-9DBA-4918-A0C0-FC0A3A69A211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7">
              <a:extLst>
                <a:ext uri="{FF2B5EF4-FFF2-40B4-BE49-F238E27FC236}">
                  <a16:creationId xmlns:a16="http://schemas.microsoft.com/office/drawing/2014/main" id="{04574ACA-E5E5-49A6-89C6-9B8D646D1D61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22F55B4E-111B-4413-8EF3-AA260E6A41A2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2AB78740-9B30-4EEF-826D-9292509FB347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B333672B-46EF-4B88-8012-1B8F16742271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EA481148-C40D-4B15-91C6-EB366FA7A5EF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2" name="Slide Number">
            <a:extLst>
              <a:ext uri="{FF2B5EF4-FFF2-40B4-BE49-F238E27FC236}">
                <a16:creationId xmlns:a16="http://schemas.microsoft.com/office/drawing/2014/main" id="{7AA00918-D6C1-462D-BE44-DE6AD53E3E7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4178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6E689E04-C8A3-4EB1-8A59-B47A3D698D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6904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E689E04-C8A3-4EB1-8A59-B47A3D698D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DA7A920A-9D4D-4F0A-8201-336F0A8B4663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2D365489-4507-44E0-96E2-6E2FB14EB2BB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B4091197-7B92-48EE-AB9B-D0D637551212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C625CDBA-5486-476E-BA4A-E37DA4FB1A39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98671887-2D37-4179-BEBC-48C4C8E59783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8B09513D-DF84-4C06-BCAD-760208587508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7">
              <a:extLst>
                <a:ext uri="{FF2B5EF4-FFF2-40B4-BE49-F238E27FC236}">
                  <a16:creationId xmlns:a16="http://schemas.microsoft.com/office/drawing/2014/main" id="{B4D5C0EE-277C-47E9-A25A-6EB7125BA723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E90ADC2C-D0D1-4299-AE1C-F2535435D7E8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ADDABF14-763F-40E5-B716-56A6B2BAA2B9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966726C3-466D-4729-87C8-683B45D9417E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E94636B8-26B7-47AB-96D8-0D888E7CEFC6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1931988"/>
            <a:ext cx="8719266" cy="2595460"/>
          </a:xfrm>
        </p:spPr>
        <p:txBody>
          <a:bodyPr vert="horz" anchor="b">
            <a:normAutofit/>
          </a:bodyPr>
          <a:lstStyle>
            <a:lvl1pPr algn="l">
              <a:defRPr sz="4400" b="0" cap="none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4736" y="4527448"/>
            <a:ext cx="8719266" cy="1513914"/>
          </a:xfrm>
        </p:spPr>
        <p:txBody>
          <a:bodyPr lIns="91440" tIns="45720" rIns="91440" bIns="45720" anchor="t">
            <a:normAutofit/>
          </a:bodyPr>
          <a:lstStyle>
            <a:lvl1pPr marL="0" indent="0" algn="l">
              <a:buNone/>
              <a:defRPr sz="18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F5E87DFA-7708-4B4F-9821-8621965159F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954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Name C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7AC6671-66A1-4919-AE55-BDE07CCFDA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AC6671-66A1-4919-AE55-BDE07CCFDA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vert="horz" anchor="ctr">
            <a:normAutofit/>
          </a:bodyPr>
          <a:lstStyle>
            <a:lvl1pPr algn="l">
              <a:defRPr sz="4400" b="0" cap="none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54736" y="4013200"/>
            <a:ext cx="8719265" cy="514248"/>
          </a:xfrm>
        </p:spPr>
        <p:txBody>
          <a:bodyPr lIns="91440" tIns="45720" rIns="91440" bIns="45720" anchor="b">
            <a:noAutofit/>
          </a:bodyPr>
          <a:lstStyle>
            <a:lvl1pPr marL="0" indent="0">
              <a:buFontTx/>
              <a:buNone/>
              <a:defRPr sz="2400">
                <a:solidFill>
                  <a:srgbClr val="404040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4736" y="4527448"/>
            <a:ext cx="8719266" cy="1513914"/>
          </a:xfrm>
        </p:spPr>
        <p:txBody>
          <a:bodyPr lIns="91440" tIns="45720" rIns="91440" bIns="45720" anchor="t">
            <a:normAutofit/>
          </a:bodyPr>
          <a:lstStyle>
            <a:lvl1pPr marL="0" indent="0" algn="l">
              <a:buNone/>
              <a:defRPr sz="18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+mn-cs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>
                <a:ln w="3175" cmpd="sng">
                  <a:noFill/>
                </a:ln>
                <a:solidFill>
                  <a:schemeClr val="tx2">
                    <a:lumMod val="60000"/>
                    <a:lumOff val="40000"/>
                  </a:schemeClr>
                </a:solidFill>
                <a:effectLst/>
                <a:latin typeface="+mn-lt"/>
                <a:ea typeface="+mn-ea"/>
                <a:cs typeface="+mn-cs"/>
              </a:rPr>
              <a:t>”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F656F9FC-8ADF-4183-82C1-18F76758667E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40994D37-D455-4616-BBC0-5D2F5974ACD8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1824297-63B2-4708-8FBD-F0B453557C3A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4" name="Rectangle 23">
              <a:extLst>
                <a:ext uri="{FF2B5EF4-FFF2-40B4-BE49-F238E27FC236}">
                  <a16:creationId xmlns:a16="http://schemas.microsoft.com/office/drawing/2014/main" id="{649B6DBF-85D9-4BCA-9FF4-A5AB6A32406A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5">
              <a:extLst>
                <a:ext uri="{FF2B5EF4-FFF2-40B4-BE49-F238E27FC236}">
                  <a16:creationId xmlns:a16="http://schemas.microsoft.com/office/drawing/2014/main" id="{40B7F738-1E7E-4F87-8E88-4A8F4386EB5C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23CA81F6-16F5-45AE-8ED8-34BF6305ADED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7">
              <a:extLst>
                <a:ext uri="{FF2B5EF4-FFF2-40B4-BE49-F238E27FC236}">
                  <a16:creationId xmlns:a16="http://schemas.microsoft.com/office/drawing/2014/main" id="{40EFD0A6-B41E-4E40-883B-20E5E3EE9929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28">
              <a:extLst>
                <a:ext uri="{FF2B5EF4-FFF2-40B4-BE49-F238E27FC236}">
                  <a16:creationId xmlns:a16="http://schemas.microsoft.com/office/drawing/2014/main" id="{532A7438-58C4-44B4-A630-A1299680E7E8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Rectangle 29">
              <a:extLst>
                <a:ext uri="{FF2B5EF4-FFF2-40B4-BE49-F238E27FC236}">
                  <a16:creationId xmlns:a16="http://schemas.microsoft.com/office/drawing/2014/main" id="{2088EE54-5B7C-43C7-8EAF-F44B1559FCA2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DDA3680C-9268-46DE-8326-87CF3FDC8434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Isosceles Triangle 20">
              <a:extLst>
                <a:ext uri="{FF2B5EF4-FFF2-40B4-BE49-F238E27FC236}">
                  <a16:creationId xmlns:a16="http://schemas.microsoft.com/office/drawing/2014/main" id="{58478016-A9D8-4539-AF03-6C4F14555DC9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6" name="Slide Number">
            <a:extLst>
              <a:ext uri="{FF2B5EF4-FFF2-40B4-BE49-F238E27FC236}">
                <a16:creationId xmlns:a16="http://schemas.microsoft.com/office/drawing/2014/main" id="{0C961294-39D7-454F-8DA1-2CDC94C9E4D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1294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E56CA9A-1420-B8CD-2E41-26F361BA2CA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33213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E558B5-355E-77D8-0FEB-9002F72CA17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332138"/>
            <a:ext cx="5181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5903381-019C-E52B-3441-6DA21A3165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A171969-2C39-9A23-4D93-C8F92D8CEA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3CAE0F5-F3DD-805D-03C7-78573CFC1D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Holder 2">
            <a:extLst>
              <a:ext uri="{FF2B5EF4-FFF2-40B4-BE49-F238E27FC236}">
                <a16:creationId xmlns:a16="http://schemas.microsoft.com/office/drawing/2014/main" id="{4D6DDD65-9165-2B5E-79E1-B1713FB392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26336586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ue or Fa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D79CC16-5460-40A7-9557-552747D118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128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79CC16-5460-40A7-9557-552747D118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FCD1B65D-5C09-493C-81E1-32909A9681DF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412256C0-B8D3-4803-8CF9-5049457E68A4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4191CB67-AF2B-4424-A1BC-95B5C668CA5E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3541CFAF-B2A2-40AB-B9BB-3B78B9EF14FC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8BC07F48-A9C0-48EE-8CC0-F7A434D302B6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3B89EE0D-E0B2-4676-AD0D-33FB0DFD3404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7">
              <a:extLst>
                <a:ext uri="{FF2B5EF4-FFF2-40B4-BE49-F238E27FC236}">
                  <a16:creationId xmlns:a16="http://schemas.microsoft.com/office/drawing/2014/main" id="{FDE26D3A-CEE5-477F-A040-6DF64DCDB7CB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B56F172C-37D7-40BA-AFAC-D28BA35A92B0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305486AB-C70B-4DAB-93D1-FF4EE1957A40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84CE62C0-BD4F-4957-B58D-B01E59C41AF4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3D1522FC-E7F1-4B38-BCA2-ECE2DFBC4F35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6" y="609600"/>
            <a:ext cx="8719266" cy="3022600"/>
          </a:xfrm>
        </p:spPr>
        <p:txBody>
          <a:bodyPr vert="horz" anchor="ctr">
            <a:normAutofit/>
          </a:bodyPr>
          <a:lstStyle>
            <a:lvl1pPr algn="l">
              <a:defRPr sz="4400" b="0" cap="none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554736" y="4013200"/>
            <a:ext cx="8719265" cy="514248"/>
          </a:xfrm>
        </p:spPr>
        <p:txBody>
          <a:bodyPr lIns="91440" tIns="45720" rIns="91440" bIns="45720"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54736" y="4527448"/>
            <a:ext cx="8719266" cy="1513914"/>
          </a:xfrm>
        </p:spPr>
        <p:txBody>
          <a:bodyPr lIns="91440" tIns="45720" rIns="91440" bIns="45720" anchor="t">
            <a:normAutofit/>
          </a:bodyPr>
          <a:lstStyle>
            <a:lvl1pPr marL="0" indent="0" algn="l">
              <a:buNone/>
              <a:defRPr sz="1800">
                <a:solidFill>
                  <a:srgbClr val="7F7F7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5EF95ED6-3E44-4401-A2C0-2FEB093D2DF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7177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F52F205E-6E04-4B47-81AA-B36270C3BD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2F205E-6E04-4B47-81AA-B36270C3BD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86DCAED3-90BE-4503-A0D6-637FFA9239EA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04A96727-30A0-49CB-A174-F83D7DA1EBB0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A2A38FB4-788E-488F-A0AE-3219F2E18C50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D379FECE-8D68-4B92-B708-47038DC43EDD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206D1FC9-C0C9-4FC6-AC7C-66B3DC7A97E1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40853DE5-92C5-49DC-8121-852A57B079B1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7">
              <a:extLst>
                <a:ext uri="{FF2B5EF4-FFF2-40B4-BE49-F238E27FC236}">
                  <a16:creationId xmlns:a16="http://schemas.microsoft.com/office/drawing/2014/main" id="{82C9037B-9FCB-41D0-8680-FC10074FD29B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9E2A8509-EFD0-4649-A104-D7B9F0D6523C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04FBD3DD-651A-4760-A36B-7E3808B21DA8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78EF04EC-CFD7-4DC1-847F-364607869F66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2F06E6E3-2D52-46A8-BCC9-9B2EAEA3D627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54735" y="487172"/>
            <a:ext cx="8596670" cy="731520"/>
          </a:xfrm>
        </p:spPr>
        <p:txBody>
          <a:bodyPr vert="horz"/>
          <a:lstStyle>
            <a:lvl1pPr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8A3D1B4B-DED8-468D-8AAF-7BC746743AB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 rot="5400000">
            <a:off x="2912686" y="-197358"/>
            <a:ext cx="3880773" cy="8596668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FC343683-1A33-400A-854F-2AAEEDA89310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6586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794158FC-148B-4FF9-AF8A-73B9C8B64C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94158FC-148B-4FF9-AF8A-73B9C8B64C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1110D423-D949-4FFA-884C-5D5154F75132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68CD0B41-1907-4951-B59E-24E0ED69543A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50572D70-41E6-4EF6-9DAA-5725F6F42576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2" name="Rectangle 23">
              <a:extLst>
                <a:ext uri="{FF2B5EF4-FFF2-40B4-BE49-F238E27FC236}">
                  <a16:creationId xmlns:a16="http://schemas.microsoft.com/office/drawing/2014/main" id="{E60D7A9E-ECA8-402C-A1CD-FDF45DB2B3AF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25">
              <a:extLst>
                <a:ext uri="{FF2B5EF4-FFF2-40B4-BE49-F238E27FC236}">
                  <a16:creationId xmlns:a16="http://schemas.microsoft.com/office/drawing/2014/main" id="{662A9DAE-9AA4-4010-B96A-9B19E582DE30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8F4F14DB-E44C-46A0-85D7-7995849BD685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7">
              <a:extLst>
                <a:ext uri="{FF2B5EF4-FFF2-40B4-BE49-F238E27FC236}">
                  <a16:creationId xmlns:a16="http://schemas.microsoft.com/office/drawing/2014/main" id="{109004ED-DD3F-406E-9164-43FFCDA564BC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8">
              <a:extLst>
                <a:ext uri="{FF2B5EF4-FFF2-40B4-BE49-F238E27FC236}">
                  <a16:creationId xmlns:a16="http://schemas.microsoft.com/office/drawing/2014/main" id="{B71784D6-72E8-4F8D-BBBC-1BB41ED8CCAF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9">
              <a:extLst>
                <a:ext uri="{FF2B5EF4-FFF2-40B4-BE49-F238E27FC236}">
                  <a16:creationId xmlns:a16="http://schemas.microsoft.com/office/drawing/2014/main" id="{E3B5B91A-C698-4E33-AF81-1D7D7EF35FC0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6F4D8DAC-61FD-46E2-995F-4086E9C06A7D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566DC905-69BF-47C5-8971-2D40B0C771D1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>
            <a:lvl1pPr>
              <a:defRPr sz="3600"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AF338435-5703-4177-A544-EEBAF25A2781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 rot="5400000">
            <a:off x="1581686" y="-294750"/>
            <a:ext cx="5251450" cy="7060149"/>
          </a:xfrm>
        </p:spPr>
        <p:txBody>
          <a:bodyPr lIns="91440" tIns="45720" rIns="91440" bIns="45720"/>
          <a:lstStyle>
            <a:lvl1pPr marL="347472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800">
                <a:latin typeface="+mn-lt"/>
                <a:ea typeface="+mn-ea"/>
                <a:cs typeface="+mn-cs"/>
              </a:defRPr>
            </a:lvl1pPr>
            <a:lvl2pPr marL="740664" indent="-347472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600">
                <a:latin typeface="+mn-lt"/>
                <a:ea typeface="+mn-ea"/>
                <a:cs typeface="+mn-cs"/>
              </a:defRPr>
            </a:lvl2pPr>
            <a:lvl3pPr marL="11430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400">
                <a:latin typeface="+mn-lt"/>
                <a:ea typeface="+mn-ea"/>
                <a:cs typeface="+mn-cs"/>
              </a:defRPr>
            </a:lvl3pPr>
            <a:lvl4pPr marL="16002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2"/>
              </a:buClr>
              <a:buFont typeface="Wingdings 3" panose="05040102010807070707" pitchFamily="18" charset="2"/>
              <a:buChar char="u"/>
              <a:defRPr sz="1200" b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Slide Number">
            <a:extLst>
              <a:ext uri="{FF2B5EF4-FFF2-40B4-BE49-F238E27FC236}">
                <a16:creationId xmlns:a16="http://schemas.microsoft.com/office/drawing/2014/main" id="{2BD7C666-A504-4CDA-80CB-DF943ECD43F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0565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13" imgH="416" progId="TCLayout.ActiveDocument.1">
                  <p:embed/>
                </p:oleObj>
              </mc:Choice>
              <mc:Fallback>
                <p:oleObj name="think-cell Slide" r:id="rId8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0">
            <a:extLst>
              <a:ext uri="{FF2B5EF4-FFF2-40B4-BE49-F238E27FC236}">
                <a16:creationId xmlns:a16="http://schemas.microsoft.com/office/drawing/2014/main" id="{D856E04D-0759-46E8-86D3-CBFC8E43245F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3" name="Straight Connector 12">
              <a:extLst>
                <a:ext uri="{FF2B5EF4-FFF2-40B4-BE49-F238E27FC236}">
                  <a16:creationId xmlns:a16="http://schemas.microsoft.com/office/drawing/2014/main" id="{F7780C54-99E5-40EB-B9C4-986B3C2C7D6E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89E07CA0-CD7A-4FAF-8390-8AE107DFF668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6" name="Rectangle 23">
              <a:extLst>
                <a:ext uri="{FF2B5EF4-FFF2-40B4-BE49-F238E27FC236}">
                  <a16:creationId xmlns:a16="http://schemas.microsoft.com/office/drawing/2014/main" id="{F7970D0A-484F-4632-A50E-CA52FDBE4D2B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5">
              <a:extLst>
                <a:ext uri="{FF2B5EF4-FFF2-40B4-BE49-F238E27FC236}">
                  <a16:creationId xmlns:a16="http://schemas.microsoft.com/office/drawing/2014/main" id="{10692BFB-12E3-4B04-9B91-92C26402A3CB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D60479BE-8FB6-4186-9D6E-BB7FBB605DAA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Rectangle 27">
              <a:extLst>
                <a:ext uri="{FF2B5EF4-FFF2-40B4-BE49-F238E27FC236}">
                  <a16:creationId xmlns:a16="http://schemas.microsoft.com/office/drawing/2014/main" id="{D74FFB4D-DCF4-4941-8B6A-54A7D962EC4F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Rectangle 28">
              <a:extLst>
                <a:ext uri="{FF2B5EF4-FFF2-40B4-BE49-F238E27FC236}">
                  <a16:creationId xmlns:a16="http://schemas.microsoft.com/office/drawing/2014/main" id="{5F754119-809D-41AC-9F0A-45BDDDE069AE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1" name="Rectangle 29">
              <a:extLst>
                <a:ext uri="{FF2B5EF4-FFF2-40B4-BE49-F238E27FC236}">
                  <a16:creationId xmlns:a16="http://schemas.microsoft.com/office/drawing/2014/main" id="{1ECC77C7-F687-4C62-B912-F3EE82301F5F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3862A990-7551-466B-ACAE-941118C5D4B2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3" name="Isosceles Triangle 22">
              <a:extLst>
                <a:ext uri="{FF2B5EF4-FFF2-40B4-BE49-F238E27FC236}">
                  <a16:creationId xmlns:a16="http://schemas.microsoft.com/office/drawing/2014/main" id="{46A36598-EE1C-4F9F-BEEC-32E76B6DD90C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err="1">
              <a:solidFill>
                <a:schemeClr val="bg1"/>
              </a:solidFill>
              <a:latin typeface="+mn-lt"/>
              <a:ea typeface="+mn-ea"/>
              <a:cs typeface="+mn-cs"/>
              <a:sym typeface="Georgia" panose="02040502050405020303" pitchFamily="18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>
                <a:latin typeface="+mn-lt"/>
                <a:ea typeface="+mn-ea"/>
                <a:cs typeface="+mn-cs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32602"/>
            <a:ext cx="4480560" cy="215444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4736" y="1269625"/>
            <a:ext cx="11082528" cy="276999"/>
          </a:xfrm>
        </p:spPr>
        <p:txBody>
          <a:bodyPr lIns="91440" tIns="45720" rIns="91440" bIns="45720" anchor="ctr" anchorCtr="0"/>
          <a:lstStyle>
            <a:lvl1pPr marL="285750" indent="-285750">
              <a:buClr>
                <a:schemeClr val="tx2"/>
              </a:buClr>
              <a:buFont typeface="Wingdings 3" panose="05040102010807070707" pitchFamily="18" charset="2"/>
              <a:buChar char="u"/>
              <a:defRPr>
                <a:latin typeface="+mn-lt"/>
                <a:ea typeface="+mn-ea"/>
                <a:cs typeface="+mn-cs"/>
              </a:defRPr>
            </a:lvl1pPr>
          </a:lstStyle>
          <a:p>
            <a:r>
              <a:rPr lang="en-US" sz="1600"/>
              <a:t>Click to edit Master subtitle styl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A513CD9-16A4-4334-827C-1D812C8E9A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487172"/>
            <a:ext cx="11082528" cy="731520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6" name="Slide Number">
            <a:extLst>
              <a:ext uri="{FF2B5EF4-FFF2-40B4-BE49-F238E27FC236}">
                <a16:creationId xmlns:a16="http://schemas.microsoft.com/office/drawing/2014/main" id="{EB54BAA3-5661-4111-B3ED-8F20CC1386D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3890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B6F1D12A-60DE-40D1-BC0D-B92DB05CC9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6583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6F1D12A-60DE-40D1-BC0D-B92DB05CC9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>
            <a:extLst>
              <a:ext uri="{FF2B5EF4-FFF2-40B4-BE49-F238E27FC236}">
                <a16:creationId xmlns:a16="http://schemas.microsoft.com/office/drawing/2014/main" id="{352D8F7F-16C8-4D7B-8D62-72CE06634D9C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E216A02C-9274-4FF7-9E4B-E35B023C5BDA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7E29E130-5B19-4B44-9C2F-2C3BED9DAD13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1" name="Rectangle 23">
              <a:extLst>
                <a:ext uri="{FF2B5EF4-FFF2-40B4-BE49-F238E27FC236}">
                  <a16:creationId xmlns:a16="http://schemas.microsoft.com/office/drawing/2014/main" id="{16D97C41-1D49-4FB9-AA12-BDD182F60F6D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FF7E1EE8-9678-48E6-9CDA-6D6D8FB14B97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55AB9052-A9C7-468C-A9A4-75EA41618EF2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27">
              <a:extLst>
                <a:ext uri="{FF2B5EF4-FFF2-40B4-BE49-F238E27FC236}">
                  <a16:creationId xmlns:a16="http://schemas.microsoft.com/office/drawing/2014/main" id="{9FE50856-FA21-480B-B4AD-8B5C1952D1A2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8">
              <a:extLst>
                <a:ext uri="{FF2B5EF4-FFF2-40B4-BE49-F238E27FC236}">
                  <a16:creationId xmlns:a16="http://schemas.microsoft.com/office/drawing/2014/main" id="{FB93F0D3-54CE-4A25-9B67-F976371E2DB0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9">
              <a:extLst>
                <a:ext uri="{FF2B5EF4-FFF2-40B4-BE49-F238E27FC236}">
                  <a16:creationId xmlns:a16="http://schemas.microsoft.com/office/drawing/2014/main" id="{2214C868-258F-4663-8E0F-0FAA23739EE3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640B999F-02AB-422E-8B6F-82C9DB1BCD50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E29F117C-9C6B-4085-BC5F-29CA4471D226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19" name="Title 18">
            <a:extLst>
              <a:ext uri="{FF2B5EF4-FFF2-40B4-BE49-F238E27FC236}">
                <a16:creationId xmlns:a16="http://schemas.microsoft.com/office/drawing/2014/main" id="{041BF25D-033C-4FDF-A4C6-E537C9D4E4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AEFCF136-EC6F-4786-92A6-6A1E56DD9C2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785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TItle Only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896F687-CEF3-4221-8C01-FF45405839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10283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896F687-CEF3-4221-8C01-FF45405839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54D6FC-C434-42EC-B63E-09BC3FEA3AF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7999894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F19E29DE-5118-4C55-A444-DF12CED93F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819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19E29DE-5118-4C55-A444-DF12CED93F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C60B2DA3-757B-4800-9012-7113521EAAA4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5D03BB98-C6D7-4938-B3E8-F283D283ECB9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D6553E2F-901D-47AE-9087-31EEF9F96D4B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1" name="Rectangle 23">
              <a:extLst>
                <a:ext uri="{FF2B5EF4-FFF2-40B4-BE49-F238E27FC236}">
                  <a16:creationId xmlns:a16="http://schemas.microsoft.com/office/drawing/2014/main" id="{B5DEAC1E-EB3F-4D61-991E-A2CFD9FF7981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ctangle 25">
              <a:extLst>
                <a:ext uri="{FF2B5EF4-FFF2-40B4-BE49-F238E27FC236}">
                  <a16:creationId xmlns:a16="http://schemas.microsoft.com/office/drawing/2014/main" id="{33B6D20C-B33C-4730-9B6D-AC74E3E773BE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Isosceles Triangle 12">
              <a:extLst>
                <a:ext uri="{FF2B5EF4-FFF2-40B4-BE49-F238E27FC236}">
                  <a16:creationId xmlns:a16="http://schemas.microsoft.com/office/drawing/2014/main" id="{310B7106-0AFE-4423-A05F-35E14E8EDDF8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27">
              <a:extLst>
                <a:ext uri="{FF2B5EF4-FFF2-40B4-BE49-F238E27FC236}">
                  <a16:creationId xmlns:a16="http://schemas.microsoft.com/office/drawing/2014/main" id="{947AD3EB-19BA-4C32-884A-1AC124AAF4EE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8">
              <a:extLst>
                <a:ext uri="{FF2B5EF4-FFF2-40B4-BE49-F238E27FC236}">
                  <a16:creationId xmlns:a16="http://schemas.microsoft.com/office/drawing/2014/main" id="{57683170-09D4-4A3E-A848-9EF6DB49FBF9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Rectangle 29">
              <a:extLst>
                <a:ext uri="{FF2B5EF4-FFF2-40B4-BE49-F238E27FC236}">
                  <a16:creationId xmlns:a16="http://schemas.microsoft.com/office/drawing/2014/main" id="{03B5EEDD-AEF6-4454-A8A5-04B4E6972D3A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CFA30910-9D22-4E82-AED2-057FAA1FFF2F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Isosceles Triangle 17">
              <a:extLst>
                <a:ext uri="{FF2B5EF4-FFF2-40B4-BE49-F238E27FC236}">
                  <a16:creationId xmlns:a16="http://schemas.microsoft.com/office/drawing/2014/main" id="{CA55C6FF-B9EA-4D60-9853-2A9D50C3505E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D096840E-5441-4234-BD76-4F163F5E2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Slide Number">
            <a:extLst>
              <a:ext uri="{FF2B5EF4-FFF2-40B4-BE49-F238E27FC236}">
                <a16:creationId xmlns:a16="http://schemas.microsoft.com/office/drawing/2014/main" id="{019F4A12-39BE-4B83-9E4F-0BB9192A2B90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832963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246419E-3B93-4195-82EF-DEC76728A1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246419E-3B93-4195-82EF-DEC76728A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554736" y="1544274"/>
            <a:ext cx="3527664" cy="1495794"/>
          </a:xfrm>
          <a:noFill/>
        </p:spPr>
        <p:txBody>
          <a:bodyPr vert="horz" wrap="square" lIns="91440" tIns="0" rIns="320040" bIns="0" anchor="b">
            <a:noAutofit/>
          </a:bodyPr>
          <a:lstStyle>
            <a:lvl1pPr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0457842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523B320B-E76B-40F5-9D65-08B071AF96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B320B-E76B-40F5-9D65-08B071AF96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id="{D66B87A6-12B2-4692-948D-5FBA99F5DD3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73097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FBDD788-7CEE-4F06-89EA-60C5B27FE9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078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FBDD788-7CEE-4F06-89EA-60C5B27FE9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3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">
            <a:extLst>
              <a:ext uri="{FF2B5EF4-FFF2-40B4-BE49-F238E27FC236}">
                <a16:creationId xmlns:a16="http://schemas.microsoft.com/office/drawing/2014/main" id="{94AB5603-62FE-4B15-A52D-35A973505F8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3951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7C0111-8D38-DADB-3FF9-AFA33A3C58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303797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795097-975E-D965-7F9D-330C57FDAC4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127709"/>
            <a:ext cx="5157787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34921-9959-0168-45D0-EB0D5CE4BD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303797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6D05A5C-6F72-F7AD-5044-5A688D33FBD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27709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CCD3B3BC-ED78-15AB-5C49-8768FFF6B8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C26B84-F5D1-7495-EA7B-58C1B95D4C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3017A9E5-68A8-19E8-11AA-8D1C690516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Holder 2">
            <a:extLst>
              <a:ext uri="{FF2B5EF4-FFF2-40B4-BE49-F238E27FC236}">
                <a16:creationId xmlns:a16="http://schemas.microsoft.com/office/drawing/2014/main" id="{26FB0911-599B-24FD-FF61-45D3BF31A3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9533060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096309-8EF7-45A6-9FE1-84834C82F9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D096309-8EF7-45A6-9FE1-84834C82F9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6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B3ACA6F4-3D6F-45D0-BC1F-8BD60AF6553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201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6360341-A062-4B75-979F-9262256AF0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360341-A062-4B75-979F-9262256AF0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194D513-A569-4252-9D20-0B398DAE73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6332064" cy="731520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CC2438A7-EF48-490B-92DF-4F0EC2D7D17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3405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74DC5D5-912F-4475-A272-941BFD52D4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4DC5D5-912F-4475-A272-941BFD52D4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6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156E37C2-1AD5-4013-8168-40E385DA31AE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69776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B88F2F6-E5DE-48AB-952E-51AF4606436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B88F2F6-E5DE-48AB-952E-51AF460643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18244E8-8393-4068-8C20-ACAA9FE192EA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9644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C762867-ABBF-4B45-8627-B4341A4311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C762867-ABBF-4B45-8627-B4341A4311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804650"/>
            <a:ext cx="6322816" cy="3286800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edit title</a:t>
            </a:r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574C821-A246-4B19-8410-A7FA37F3815E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84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B3E32F6-CEEB-4465-9078-E157F8F7C2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3E32F6-CEEB-4465-9078-E157F8F7C2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  <a:prstGeom prst="rect">
            <a:avLst/>
          </a:prstGeom>
        </p:spPr>
        <p:txBody>
          <a:bodyPr vert="horz" anchor="ctr">
            <a:noAutofit/>
          </a:bodyPr>
          <a:lstStyle>
            <a:lvl1pPr>
              <a:defRPr sz="3600" baseline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786B2492-A3C4-4DB8-A274-2274B0E6A60B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5194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B5B273B-396A-4156-8D9F-32005CD5D0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B5B273B-396A-4156-8D9F-32005CD5D0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anchor="ctr" anchorCtr="0">
            <a:noAutofit/>
          </a:bodyPr>
          <a:lstStyle>
            <a:lvl1pPr>
              <a:defRPr sz="3600" baseline="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AA015616-12B1-43BC-8E08-65D859503760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0452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5" name="Picture 14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31CC809D-9F78-4811-87C7-4A8C0CF63CA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2107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13BFBAC-704C-4805-BBB7-8CF32D14DD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13BFBAC-704C-4805-BBB7-8CF32D14DD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F64EA477-5BAB-4B54-A6CA-A50CAD25CA5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8342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99B788D-DCD2-4956-89EC-544A5E21E02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9B788D-DCD2-4956-89EC-544A5E21E0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9" name="Picture 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05D4045-345A-40DF-976A-65968EF992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4748910" cy="731520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1C69C228-490E-4ED0-9F4E-FC1CC959BF5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082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5B92B2B-8B4D-03A0-43EC-D548F832D0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1014E55-3D28-2C1C-0B73-94B6898052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850C90F-A27E-309E-8970-741AADA8B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  <p:sp>
        <p:nvSpPr>
          <p:cNvPr id="6" name="Holder 2">
            <a:extLst>
              <a:ext uri="{FF2B5EF4-FFF2-40B4-BE49-F238E27FC236}">
                <a16:creationId xmlns:a16="http://schemas.microsoft.com/office/drawing/2014/main" id="{01781982-66D4-28DD-56BE-FB835AE08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3714924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A9C46AA0-5454-43CF-BC9B-454252CFC8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C46AA0-5454-43CF-BC9B-454252CFC8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4460172" y="3407803"/>
            <a:ext cx="2694666" cy="3456551"/>
          </a:xfrm>
          <a:custGeom>
            <a:avLst/>
            <a:gdLst>
              <a:gd name="connsiteX0" fmla="*/ 2136534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957033 w 2694666"/>
              <a:gd name="connsiteY3" fmla="*/ 3456551 h 3456551"/>
              <a:gd name="connsiteX4" fmla="*/ 1856842 w 2694666"/>
              <a:gd name="connsiteY4" fmla="*/ 432620 h 3456551"/>
              <a:gd name="connsiteX5" fmla="*/ 1914577 w 2694666"/>
              <a:gd name="connsiteY5" fmla="*/ 426057 h 3456551"/>
              <a:gd name="connsiteX6" fmla="*/ 0 w 2694666"/>
              <a:gd name="connsiteY6" fmla="*/ 0 h 3456551"/>
              <a:gd name="connsiteX7" fmla="*/ 1841687 w 2694666"/>
              <a:gd name="connsiteY7" fmla="*/ 0 h 3456551"/>
              <a:gd name="connsiteX8" fmla="*/ 1142595 w 2694666"/>
              <a:gd name="connsiteY8" fmla="*/ 3456551 h 3456551"/>
              <a:gd name="connsiteX9" fmla="*/ 0 w 2694666"/>
              <a:gd name="connsiteY9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94666" h="3456551">
                <a:moveTo>
                  <a:pt x="2136534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957033" y="3456551"/>
                </a:lnTo>
                <a:lnTo>
                  <a:pt x="1856842" y="432620"/>
                </a:lnTo>
                <a:lnTo>
                  <a:pt x="1914577" y="426057"/>
                </a:lnTo>
                <a:close/>
                <a:moveTo>
                  <a:pt x="0" y="0"/>
                </a:moveTo>
                <a:lnTo>
                  <a:pt x="1841687" y="0"/>
                </a:lnTo>
                <a:lnTo>
                  <a:pt x="1142595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5" name="Title 3">
            <a:extLst>
              <a:ext uri="{FF2B5EF4-FFF2-40B4-BE49-F238E27FC236}">
                <a16:creationId xmlns:a16="http://schemas.microsoft.com/office/drawing/2014/main" id="{91785782-EFB6-476B-9558-CCFEAA2E151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4748910" cy="731520"/>
          </a:xfrm>
        </p:spPr>
        <p:txBody>
          <a:bodyPr vert="horz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194E8674-5E47-4CD2-96EF-CE7E094598E1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301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9939433F-81EE-43D9-A63D-D0B577995C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39433F-81EE-43D9-A63D-D0B577995C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6" name="Picture 15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90339" y="3589606"/>
            <a:ext cx="1365250" cy="3382962"/>
          </a:xfrm>
          <a:custGeom>
            <a:avLst/>
            <a:gdLst>
              <a:gd name="connsiteX0" fmla="*/ 91153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107988 w 1365250"/>
              <a:gd name="connsiteY3" fmla="*/ 3382962 h 3382962"/>
              <a:gd name="connsiteX4" fmla="*/ 111422 w 1365250"/>
              <a:gd name="connsiteY4" fmla="*/ 3368118 h 3382962"/>
              <a:gd name="connsiteX5" fmla="*/ 129661 w 1365250"/>
              <a:gd name="connsiteY5" fmla="*/ 3368407 h 3382962"/>
              <a:gd name="connsiteX6" fmla="*/ 890411 w 1365250"/>
              <a:gd name="connsiteY6" fmla="*/ 0 h 3382962"/>
              <a:gd name="connsiteX7" fmla="*/ 897808 w 1365250"/>
              <a:gd name="connsiteY7" fmla="*/ 0 h 3382962"/>
              <a:gd name="connsiteX8" fmla="*/ 870584 w 1365250"/>
              <a:gd name="connsiteY8" fmla="*/ 85726 h 3382962"/>
              <a:gd name="connsiteX9" fmla="*/ 0 w 1365250"/>
              <a:gd name="connsiteY9" fmla="*/ 0 h 3382962"/>
              <a:gd name="connsiteX10" fmla="*/ 852736 w 1365250"/>
              <a:gd name="connsiteY10" fmla="*/ 0 h 3382962"/>
              <a:gd name="connsiteX11" fmla="*/ 0 w 1365250"/>
              <a:gd name="connsiteY11" fmla="*/ 1883543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365250" h="3382962">
                <a:moveTo>
                  <a:pt x="91153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107988" y="3382962"/>
                </a:lnTo>
                <a:lnTo>
                  <a:pt x="111422" y="3368118"/>
                </a:lnTo>
                <a:lnTo>
                  <a:pt x="129661" y="3368407"/>
                </a:lnTo>
                <a:close/>
                <a:moveTo>
                  <a:pt x="890411" y="0"/>
                </a:moveTo>
                <a:lnTo>
                  <a:pt x="897808" y="0"/>
                </a:lnTo>
                <a:lnTo>
                  <a:pt x="870584" y="85726"/>
                </a:lnTo>
                <a:close/>
                <a:moveTo>
                  <a:pt x="0" y="0"/>
                </a:moveTo>
                <a:lnTo>
                  <a:pt x="852736" y="0"/>
                </a:lnTo>
                <a:lnTo>
                  <a:pt x="0" y="18835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F8849B6-C8BE-4F5B-AC3C-AA2205396E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6332064" cy="731520"/>
          </a:xfrm>
        </p:spPr>
        <p:txBody>
          <a:bodyPr vert="horz"/>
          <a:lstStyle>
            <a:lvl1pPr>
              <a:defRPr sz="3600"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6204BB5D-168A-452C-8B26-0C0A92376A8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23493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C32D2F0-2994-49F3-9527-ED3DF7471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C32D2F0-2994-49F3-9527-ED3DF7471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26E4F658-3335-47A6-876F-3E2174C2B6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6332064" cy="731520"/>
          </a:xfrm>
        </p:spPr>
        <p:txBody>
          <a:bodyPr vert="horz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96096C9-5A5F-49E4-BD98-6602B4E606D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83154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E87C7CD-9CAA-4261-859C-F9E8D004B6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E87C7CD-9CAA-4261-859C-F9E8D004B6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08614" cy="1606550"/>
          </a:xfrm>
        </p:spPr>
        <p:txBody>
          <a:bodyPr vert="horz" lIns="9144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14D1F900-331A-4436-ACD7-59DFC609966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2267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07E69DB-ED01-4946-84AB-58838CAB7E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99258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7E69DB-ED01-4946-84AB-58838CAB7E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3826333"/>
            <a:ext cx="11082530" cy="1606550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big statement text</a:t>
            </a:r>
          </a:p>
        </p:txBody>
      </p:sp>
    </p:spTree>
    <p:extLst>
      <p:ext uri="{BB962C8B-B14F-4D97-AF65-F5344CB8AC3E}">
        <p14:creationId xmlns:p14="http://schemas.microsoft.com/office/powerpoint/2010/main" val="37494241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634" b="1258"/>
          <a:stretch/>
        </p:blipFill>
        <p:spPr>
          <a:xfrm rot="16200000" flipH="1">
            <a:off x="6797461" y="101443"/>
            <a:ext cx="769257" cy="10019821"/>
          </a:xfrm>
          <a:custGeom>
            <a:avLst/>
            <a:gdLst>
              <a:gd name="connsiteX0" fmla="*/ 0 w 769257"/>
              <a:gd name="connsiteY0" fmla="*/ 0 h 10019821"/>
              <a:gd name="connsiteX1" fmla="*/ 0 w 769257"/>
              <a:gd name="connsiteY1" fmla="*/ 4631160 h 10019821"/>
              <a:gd name="connsiteX2" fmla="*/ 216750 w 769257"/>
              <a:gd name="connsiteY2" fmla="*/ 999646 h 10019821"/>
              <a:gd name="connsiteX3" fmla="*/ 197800 w 769257"/>
              <a:gd name="connsiteY3" fmla="*/ 10019821 h 10019821"/>
              <a:gd name="connsiteX4" fmla="*/ 769257 w 769257"/>
              <a:gd name="connsiteY4" fmla="*/ 10019821 h 10019821"/>
              <a:gd name="connsiteX5" fmla="*/ 769257 w 769257"/>
              <a:gd name="connsiteY5" fmla="*/ 0 h 100198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69257" h="10019821">
                <a:moveTo>
                  <a:pt x="0" y="0"/>
                </a:moveTo>
                <a:lnTo>
                  <a:pt x="0" y="4631160"/>
                </a:lnTo>
                <a:lnTo>
                  <a:pt x="216750" y="999646"/>
                </a:lnTo>
                <a:lnTo>
                  <a:pt x="197800" y="10019821"/>
                </a:lnTo>
                <a:lnTo>
                  <a:pt x="769257" y="10019821"/>
                </a:lnTo>
                <a:lnTo>
                  <a:pt x="769257" y="0"/>
                </a:lnTo>
                <a:close/>
              </a:path>
            </a:pathLst>
          </a:cu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2500463-C97E-4EA4-B9BD-6C96B58B074E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17389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chemeClr val="tx1">
            <a:lumMod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F56374C0-8205-4DF8-88A7-503D2CE015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6374C0-8205-4DF8-88A7-503D2CE01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16070C9D-68A9-4007-961D-118AFD0719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 sz="360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CBBBA32-FAD9-4DBE-99FF-ECA81402304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433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F25DCABC-DE41-4B85-8795-C478D68CE73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25DCABC-DE41-4B85-8795-C478D68CE7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6201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963FF39-1CCE-42EE-8F74-6EB236E6DD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63FF39-1CCE-42EE-8F74-6EB236E6DD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19D6C31D-601B-4C4B-AE3B-D13EF68E2FF5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572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claim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37A5A3E8-6C1D-458A-BD7C-70250FE064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7A5A3E8-6C1D-458A-BD7C-70250FE064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6"/>
          <p:cNvSpPr txBox="1">
            <a:spLocks/>
          </p:cNvSpPr>
          <p:nvPr/>
        </p:nvSpPr>
        <p:spPr>
          <a:xfrm>
            <a:off x="639044" y="2973076"/>
            <a:ext cx="3199529" cy="70634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5100">
                <a:gradFill>
                  <a:gsLst>
                    <a:gs pos="100000">
                      <a:schemeClr val="tx2"/>
                    </a:gs>
                    <a:gs pos="2000">
                      <a:schemeClr val="accent2"/>
                    </a:gs>
                  </a:gsLst>
                  <a:lin ang="2700000" scaled="0"/>
                </a:gra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Disclaimer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367898" y="1630185"/>
            <a:ext cx="0" cy="3392129"/>
          </a:xfrm>
          <a:prstGeom prst="line">
            <a:avLst/>
          </a:prstGeom>
          <a:ln w="9525">
            <a:solidFill>
              <a:schemeClr val="tx2"/>
            </a:solidFill>
            <a:miter lim="800000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E024CC-BD54-43FE-8A2A-282EB0DEEF8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021826" y="1733506"/>
            <a:ext cx="6209072" cy="3185487"/>
          </a:xfrm>
        </p:spPr>
        <p:txBody>
          <a:bodyPr/>
          <a:lstStyle>
            <a:lvl1pPr>
              <a:defRPr sz="900"/>
            </a:lvl1pPr>
          </a:lstStyle>
          <a:p>
            <a:pPr lvl="0"/>
            <a:r>
              <a:rPr lang="en-US"/>
              <a:t>Edit text</a:t>
            </a:r>
          </a:p>
        </p:txBody>
      </p:sp>
    </p:spTree>
    <p:extLst>
      <p:ext uri="{BB962C8B-B14F-4D97-AF65-F5344CB8AC3E}">
        <p14:creationId xmlns:p14="http://schemas.microsoft.com/office/powerpoint/2010/main" val="2374189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89C0E84-821B-BBF3-BCA1-2250B2CE85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7745506-DCCB-EFAB-6C8C-45EAA94418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CB38F0B-29D1-B5FB-6BFC-71E0F32413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B5F485-982A-41B4-B657-C5770F0E922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123336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A picture containing logo, text, font, symbol&#10;&#10;Description automatically generated">
            <a:extLst>
              <a:ext uri="{FF2B5EF4-FFF2-40B4-BE49-F238E27FC236}">
                <a16:creationId xmlns:a16="http://schemas.microsoft.com/office/drawing/2014/main" id="{1531BE24-E832-4A28-978C-497C1AE3A4B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59409" y="1097426"/>
            <a:ext cx="6858014" cy="1828804"/>
          </a:xfrm>
          <a:prstGeom prst="rect">
            <a:avLst/>
          </a:prstGeom>
        </p:spPr>
      </p:pic>
      <p:pic>
        <p:nvPicPr>
          <p:cNvPr id="11" name="Picture 10" descr="A picture containing sky, cloud, screenshot, outdoor&#10;&#10;Description automatically generated">
            <a:extLst>
              <a:ext uri="{FF2B5EF4-FFF2-40B4-BE49-F238E27FC236}">
                <a16:creationId xmlns:a16="http://schemas.microsoft.com/office/drawing/2014/main" id="{3FE1127F-2683-43EF-BA82-4358EC14CDAA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-7584" y="3656543"/>
            <a:ext cx="12192000" cy="3209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09809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813D8C85-88CF-4C71-9569-3733B496FFF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13D8C85-88CF-4C71-9569-3733B496FF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grpSp>
        <p:nvGrpSpPr>
          <p:cNvPr id="55" name="Group 54">
            <a:extLst>
              <a:ext uri="{FF2B5EF4-FFF2-40B4-BE49-F238E27FC236}">
                <a16:creationId xmlns:a16="http://schemas.microsoft.com/office/drawing/2014/main" id="{06AF8A6E-C801-4D60-8FF0-BC1BEAD0C663}"/>
              </a:ext>
            </a:extLst>
          </p:cNvPr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0EA7FA36-933D-4970-A366-77D1A0B53C8E}"/>
                </a:ext>
              </a:extLst>
            </p:cNvPr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29400 w 12193200"/>
                <a:gd name="connsiteY0" fmla="*/ 487173 h 6858000"/>
                <a:gd name="connsiteX1" fmla="*/ 629400 w 12193200"/>
                <a:gd name="connsiteY1" fmla="*/ 902671 h 6858000"/>
                <a:gd name="connsiteX2" fmla="*/ 630001 w 12193200"/>
                <a:gd name="connsiteY2" fmla="*/ 902671 h 6858000"/>
                <a:gd name="connsiteX3" fmla="*/ 630001 w 12193200"/>
                <a:gd name="connsiteY3" fmla="*/ 6144443 h 6858000"/>
                <a:gd name="connsiteX4" fmla="*/ 629400 w 12193200"/>
                <a:gd name="connsiteY4" fmla="*/ 6144443 h 6858000"/>
                <a:gd name="connsiteX5" fmla="*/ 629400 w 12193200"/>
                <a:gd name="connsiteY5" fmla="*/ 6559941 h 6858000"/>
                <a:gd name="connsiteX6" fmla="*/ 11562600 w 12193200"/>
                <a:gd name="connsiteY6" fmla="*/ 6559941 h 6858000"/>
                <a:gd name="connsiteX7" fmla="*/ 11562600 w 12193200"/>
                <a:gd name="connsiteY7" fmla="*/ 6144443 h 6858000"/>
                <a:gd name="connsiteX8" fmla="*/ 11562000 w 12193200"/>
                <a:gd name="connsiteY8" fmla="*/ 6144443 h 6858000"/>
                <a:gd name="connsiteX9" fmla="*/ 11562000 w 12193200"/>
                <a:gd name="connsiteY9" fmla="*/ 622800 h 6858000"/>
                <a:gd name="connsiteX10" fmla="*/ 11561629 w 12193200"/>
                <a:gd name="connsiteY10" fmla="*/ 622800 h 6858000"/>
                <a:gd name="connsiteX11" fmla="*/ 11561629 w 12193200"/>
                <a:gd name="connsiteY11" fmla="*/ 487173 h 6858000"/>
                <a:gd name="connsiteX12" fmla="*/ 0 w 12193200"/>
                <a:gd name="connsiteY12" fmla="*/ 0 h 6858000"/>
                <a:gd name="connsiteX13" fmla="*/ 12193200 w 12193200"/>
                <a:gd name="connsiteY13" fmla="*/ 0 h 6858000"/>
                <a:gd name="connsiteX14" fmla="*/ 12193200 w 12193200"/>
                <a:gd name="connsiteY14" fmla="*/ 622800 h 6858000"/>
                <a:gd name="connsiteX15" fmla="*/ 12192000 w 12193200"/>
                <a:gd name="connsiteY15" fmla="*/ 622800 h 6858000"/>
                <a:gd name="connsiteX16" fmla="*/ 12192000 w 12193200"/>
                <a:gd name="connsiteY16" fmla="*/ 6160597 h 6858000"/>
                <a:gd name="connsiteX17" fmla="*/ 12193200 w 12193200"/>
                <a:gd name="connsiteY17" fmla="*/ 6160597 h 6858000"/>
                <a:gd name="connsiteX18" fmla="*/ 12193200 w 12193200"/>
                <a:gd name="connsiteY18" fmla="*/ 6858000 h 6858000"/>
                <a:gd name="connsiteX19" fmla="*/ 12192000 w 12193200"/>
                <a:gd name="connsiteY19" fmla="*/ 6858000 h 6858000"/>
                <a:gd name="connsiteX20" fmla="*/ 11562000 w 12193200"/>
                <a:gd name="connsiteY20" fmla="*/ 6858000 h 6858000"/>
                <a:gd name="connsiteX21" fmla="*/ 630001 w 12193200"/>
                <a:gd name="connsiteY21" fmla="*/ 6858000 h 6858000"/>
                <a:gd name="connsiteX22" fmla="*/ 1 w 12193200"/>
                <a:gd name="connsiteY22" fmla="*/ 6858000 h 6858000"/>
                <a:gd name="connsiteX23" fmla="*/ 1 w 12193200"/>
                <a:gd name="connsiteY23" fmla="*/ 6160597 h 6858000"/>
                <a:gd name="connsiteX24" fmla="*/ 1 w 12193200"/>
                <a:gd name="connsiteY24" fmla="*/ 622800 h 6858000"/>
                <a:gd name="connsiteX25" fmla="*/ 0 w 12193200"/>
                <a:gd name="connsiteY25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</a:cxnLst>
              <a:rect l="l" t="t" r="r" b="b"/>
              <a:pathLst>
                <a:path w="12193200" h="6858000">
                  <a:moveTo>
                    <a:pt x="629400" y="487173"/>
                  </a:moveTo>
                  <a:lnTo>
                    <a:pt x="629400" y="902671"/>
                  </a:lnTo>
                  <a:lnTo>
                    <a:pt x="630001" y="902671"/>
                  </a:lnTo>
                  <a:lnTo>
                    <a:pt x="630001" y="6144443"/>
                  </a:lnTo>
                  <a:lnTo>
                    <a:pt x="629400" y="6144443"/>
                  </a:lnTo>
                  <a:lnTo>
                    <a:pt x="629400" y="6559941"/>
                  </a:lnTo>
                  <a:lnTo>
                    <a:pt x="11562600" y="6559941"/>
                  </a:lnTo>
                  <a:lnTo>
                    <a:pt x="11562600" y="6144443"/>
                  </a:lnTo>
                  <a:lnTo>
                    <a:pt x="11562000" y="6144443"/>
                  </a:lnTo>
                  <a:lnTo>
                    <a:pt x="11562000" y="622800"/>
                  </a:lnTo>
                  <a:lnTo>
                    <a:pt x="11561629" y="622800"/>
                  </a:lnTo>
                  <a:lnTo>
                    <a:pt x="11561629" y="487173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E71C57">
                <a:alpha val="5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>
                <a:solidFill>
                  <a:schemeClr val="tx1"/>
                </a:solidFill>
              </a:endParaRPr>
            </a:p>
          </p:txBody>
        </p:sp>
        <p:grpSp>
          <p:nvGrpSpPr>
            <p:cNvPr id="94" name="Baselines / anchors">
              <a:extLst>
                <a:ext uri="{FF2B5EF4-FFF2-40B4-BE49-F238E27FC236}">
                  <a16:creationId xmlns:a16="http://schemas.microsoft.com/office/drawing/2014/main" id="{4C8EACD4-FEE2-4714-8048-5EF8FE86594B}"/>
                </a:ext>
              </a:extLst>
            </p:cNvPr>
            <p:cNvGrpSpPr/>
            <p:nvPr/>
          </p:nvGrpSpPr>
          <p:grpSpPr>
            <a:xfrm>
              <a:off x="-600" y="487172"/>
              <a:ext cx="12193200" cy="5672428"/>
              <a:chOff x="12623800" y="622800"/>
              <a:chExt cx="11176000" cy="5536800"/>
            </a:xfrm>
          </p:grpSpPr>
          <p:cxnSp>
            <p:nvCxnSpPr>
              <p:cNvPr id="118" name="Straight Connector 117">
                <a:extLst>
                  <a:ext uri="{FF2B5EF4-FFF2-40B4-BE49-F238E27FC236}">
                    <a16:creationId xmlns:a16="http://schemas.microsoft.com/office/drawing/2014/main" id="{0BF46EA1-3BC3-4359-8530-F4653DCA19B0}"/>
                  </a:ext>
                </a:extLst>
              </p:cNvPr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9" name="Straight Connector 118">
                <a:extLst>
                  <a:ext uri="{FF2B5EF4-FFF2-40B4-BE49-F238E27FC236}">
                    <a16:creationId xmlns:a16="http://schemas.microsoft.com/office/drawing/2014/main" id="{2263D393-21CB-42A5-9009-6FCCBD77090D}"/>
                  </a:ext>
                </a:extLst>
              </p:cNvPr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0" name="Straight Connector 119">
                <a:extLst>
                  <a:ext uri="{FF2B5EF4-FFF2-40B4-BE49-F238E27FC236}">
                    <a16:creationId xmlns:a16="http://schemas.microsoft.com/office/drawing/2014/main" id="{EF0B8C3D-D72A-4E31-8B69-C4347B9C22C9}"/>
                  </a:ext>
                </a:extLst>
              </p:cNvPr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1" name="Straight Connector 120">
                <a:extLst>
                  <a:ext uri="{FF2B5EF4-FFF2-40B4-BE49-F238E27FC236}">
                    <a16:creationId xmlns:a16="http://schemas.microsoft.com/office/drawing/2014/main" id="{EF2BAABF-87F4-4F5C-8DB8-F0D75780EF87}"/>
                  </a:ext>
                </a:extLst>
              </p:cNvPr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2" name="Straight Connector 121">
                <a:extLst>
                  <a:ext uri="{FF2B5EF4-FFF2-40B4-BE49-F238E27FC236}">
                    <a16:creationId xmlns:a16="http://schemas.microsoft.com/office/drawing/2014/main" id="{4A363155-2AAE-4775-82B8-D0BD00415A37}"/>
                  </a:ext>
                </a:extLst>
              </p:cNvPr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3" name="Straight Connector 122">
                <a:extLst>
                  <a:ext uri="{FF2B5EF4-FFF2-40B4-BE49-F238E27FC236}">
                    <a16:creationId xmlns:a16="http://schemas.microsoft.com/office/drawing/2014/main" id="{A4E70644-F5E4-4ECB-A96A-97CD2498C9B1}"/>
                  </a:ext>
                </a:extLst>
              </p:cNvPr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4" name="Straight Connector 123">
                <a:extLst>
                  <a:ext uri="{FF2B5EF4-FFF2-40B4-BE49-F238E27FC236}">
                    <a16:creationId xmlns:a16="http://schemas.microsoft.com/office/drawing/2014/main" id="{7D49F21F-0023-49A3-AB21-51456E699906}"/>
                  </a:ext>
                </a:extLst>
              </p:cNvPr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Straight Connector 124">
                <a:extLst>
                  <a:ext uri="{FF2B5EF4-FFF2-40B4-BE49-F238E27FC236}">
                    <a16:creationId xmlns:a16="http://schemas.microsoft.com/office/drawing/2014/main" id="{30CC6F39-9CD9-453D-BB9B-9C60840C6B52}"/>
                  </a:ext>
                </a:extLst>
              </p:cNvPr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6" name="Straight Connector 125">
                <a:extLst>
                  <a:ext uri="{FF2B5EF4-FFF2-40B4-BE49-F238E27FC236}">
                    <a16:creationId xmlns:a16="http://schemas.microsoft.com/office/drawing/2014/main" id="{67EB8F44-2F8F-4E1A-B052-6F5C319E79BA}"/>
                  </a:ext>
                </a:extLst>
              </p:cNvPr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7" name="Straight Connector 126">
                <a:extLst>
                  <a:ext uri="{FF2B5EF4-FFF2-40B4-BE49-F238E27FC236}">
                    <a16:creationId xmlns:a16="http://schemas.microsoft.com/office/drawing/2014/main" id="{324BFA97-44A1-483D-B1BA-D9D6EBE0AF04}"/>
                  </a:ext>
                </a:extLst>
              </p:cNvPr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8" name="Straight Connector 127">
                <a:extLst>
                  <a:ext uri="{FF2B5EF4-FFF2-40B4-BE49-F238E27FC236}">
                    <a16:creationId xmlns:a16="http://schemas.microsoft.com/office/drawing/2014/main" id="{6C8799E4-A6F4-494D-B827-74AF4C24FCB7}"/>
                  </a:ext>
                </a:extLst>
              </p:cNvPr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9" name="Straight Connector 128">
                <a:extLst>
                  <a:ext uri="{FF2B5EF4-FFF2-40B4-BE49-F238E27FC236}">
                    <a16:creationId xmlns:a16="http://schemas.microsoft.com/office/drawing/2014/main" id="{4455B048-31C1-449D-9C55-5D22EF0664B8}"/>
                  </a:ext>
                </a:extLst>
              </p:cNvPr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0" name="Straight Connector 129">
                <a:extLst>
                  <a:ext uri="{FF2B5EF4-FFF2-40B4-BE49-F238E27FC236}">
                    <a16:creationId xmlns:a16="http://schemas.microsoft.com/office/drawing/2014/main" id="{7C2175C8-E3B2-4832-9D97-A0A1EAB3A91A}"/>
                  </a:ext>
                </a:extLst>
              </p:cNvPr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1" name="Straight Connector 130">
                <a:extLst>
                  <a:ext uri="{FF2B5EF4-FFF2-40B4-BE49-F238E27FC236}">
                    <a16:creationId xmlns:a16="http://schemas.microsoft.com/office/drawing/2014/main" id="{69A2FC83-D2D8-4B0E-AF83-51A1A2DE6B55}"/>
                  </a:ext>
                </a:extLst>
              </p:cNvPr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2" name="Straight Connector 131">
                <a:extLst>
                  <a:ext uri="{FF2B5EF4-FFF2-40B4-BE49-F238E27FC236}">
                    <a16:creationId xmlns:a16="http://schemas.microsoft.com/office/drawing/2014/main" id="{B83D8D9F-9AAB-4F83-A68B-75E1C556C49E}"/>
                  </a:ext>
                </a:extLst>
              </p:cNvPr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3" name="Straight Connector 132">
                <a:extLst>
                  <a:ext uri="{FF2B5EF4-FFF2-40B4-BE49-F238E27FC236}">
                    <a16:creationId xmlns:a16="http://schemas.microsoft.com/office/drawing/2014/main" id="{A1FD0B83-8D04-4C3F-A848-F009633142CD}"/>
                  </a:ext>
                </a:extLst>
              </p:cNvPr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26EA2E66-7E8D-411C-967A-15F258A06C1C}"/>
                  </a:ext>
                </a:extLst>
              </p:cNvPr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DF79F723-5BA6-45DE-8756-0D66D82D8715}"/>
                  </a:ext>
                </a:extLst>
              </p:cNvPr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D062626C-F0BC-42D7-84F5-8AB35E404C27}"/>
                  </a:ext>
                </a:extLst>
              </p:cNvPr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E3E5B2E4-4D5D-49A4-A947-EED030A2A013}"/>
                  </a:ext>
                </a:extLst>
              </p:cNvPr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5" name="Gutter space">
              <a:extLst>
                <a:ext uri="{FF2B5EF4-FFF2-40B4-BE49-F238E27FC236}">
                  <a16:creationId xmlns:a16="http://schemas.microsoft.com/office/drawing/2014/main" id="{663C25E4-1722-419B-8889-36C579385FAE}"/>
                </a:ext>
              </a:extLst>
            </p:cNvPr>
            <p:cNvGrpSpPr/>
            <p:nvPr/>
          </p:nvGrpSpPr>
          <p:grpSpPr>
            <a:xfrm>
              <a:off x="1277000" y="487172"/>
              <a:ext cx="9638000" cy="5673425"/>
              <a:chOff x="1277000" y="623550"/>
              <a:chExt cx="9638000" cy="5537047"/>
            </a:xfrm>
          </p:grpSpPr>
          <p:sp>
            <p:nvSpPr>
              <p:cNvPr id="107" name="Rectangle 34">
                <a:extLst>
                  <a:ext uri="{FF2B5EF4-FFF2-40B4-BE49-F238E27FC236}">
                    <a16:creationId xmlns:a16="http://schemas.microsoft.com/office/drawing/2014/main" id="{C893CD50-2B49-47EC-A9C5-AE5B010A15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35">
                <a:extLst>
                  <a:ext uri="{FF2B5EF4-FFF2-40B4-BE49-F238E27FC236}">
                    <a16:creationId xmlns:a16="http://schemas.microsoft.com/office/drawing/2014/main" id="{9C7D9932-2C92-4CFB-87E0-DE8704C5A3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36">
                <a:extLst>
                  <a:ext uri="{FF2B5EF4-FFF2-40B4-BE49-F238E27FC236}">
                    <a16:creationId xmlns:a16="http://schemas.microsoft.com/office/drawing/2014/main" id="{C03BFDA0-EE0C-40C0-A7AA-3372E7D9DC3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37">
                <a:extLst>
                  <a:ext uri="{FF2B5EF4-FFF2-40B4-BE49-F238E27FC236}">
                    <a16:creationId xmlns:a16="http://schemas.microsoft.com/office/drawing/2014/main" id="{4D4E6681-2C45-4A15-882D-C452779C812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38">
                <a:extLst>
                  <a:ext uri="{FF2B5EF4-FFF2-40B4-BE49-F238E27FC236}">
                    <a16:creationId xmlns:a16="http://schemas.microsoft.com/office/drawing/2014/main" id="{9DB929D6-A824-4205-886F-944A8D44B08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9">
                <a:extLst>
                  <a:ext uri="{FF2B5EF4-FFF2-40B4-BE49-F238E27FC236}">
                    <a16:creationId xmlns:a16="http://schemas.microsoft.com/office/drawing/2014/main" id="{BD9A7753-8B5D-4DE2-866E-BA38455F896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40">
                <a:extLst>
                  <a:ext uri="{FF2B5EF4-FFF2-40B4-BE49-F238E27FC236}">
                    <a16:creationId xmlns:a16="http://schemas.microsoft.com/office/drawing/2014/main" id="{586CCF07-B66D-422A-9A5B-67CA52252C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41">
                <a:extLst>
                  <a:ext uri="{FF2B5EF4-FFF2-40B4-BE49-F238E27FC236}">
                    <a16:creationId xmlns:a16="http://schemas.microsoft.com/office/drawing/2014/main" id="{BD84C206-6A29-4D93-AF07-3712BD33F21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42">
                <a:extLst>
                  <a:ext uri="{FF2B5EF4-FFF2-40B4-BE49-F238E27FC236}">
                    <a16:creationId xmlns:a16="http://schemas.microsoft.com/office/drawing/2014/main" id="{2FAAC8E2-5122-4286-AE3C-18BFEAA8678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43">
                <a:extLst>
                  <a:ext uri="{FF2B5EF4-FFF2-40B4-BE49-F238E27FC236}">
                    <a16:creationId xmlns:a16="http://schemas.microsoft.com/office/drawing/2014/main" id="{BF784844-9D49-471A-9F76-2F480B3AAAD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44">
                <a:extLst>
                  <a:ext uri="{FF2B5EF4-FFF2-40B4-BE49-F238E27FC236}">
                    <a16:creationId xmlns:a16="http://schemas.microsoft.com/office/drawing/2014/main" id="{AF48D128-B190-4554-A10C-BFAF8FBB1A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96" name="Slide edges">
              <a:extLst>
                <a:ext uri="{FF2B5EF4-FFF2-40B4-BE49-F238E27FC236}">
                  <a16:creationId xmlns:a16="http://schemas.microsoft.com/office/drawing/2014/main" id="{963AC771-C53C-4A90-9392-85EA63391CCF}"/>
                </a:ext>
              </a:extLst>
            </p:cNvPr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7" name="Footnote measure">
              <a:extLst>
                <a:ext uri="{FF2B5EF4-FFF2-40B4-BE49-F238E27FC236}">
                  <a16:creationId xmlns:a16="http://schemas.microsoft.com/office/drawing/2014/main" id="{D4E410D4-6622-4FC7-AC88-A6F5E177B0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40034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8" name="Whitespace measure">
              <a:extLst>
                <a:ext uri="{FF2B5EF4-FFF2-40B4-BE49-F238E27FC236}">
                  <a16:creationId xmlns:a16="http://schemas.microsoft.com/office/drawing/2014/main" id="{6E4AD81F-5C28-4862-88AC-1BA208D3F8A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9" name="Five column measure">
              <a:extLst>
                <a:ext uri="{FF2B5EF4-FFF2-40B4-BE49-F238E27FC236}">
                  <a16:creationId xmlns:a16="http://schemas.microsoft.com/office/drawing/2014/main" id="{AA336B36-259E-4A5C-85A9-DE7E6336FB82}"/>
                </a:ext>
              </a:extLst>
            </p:cNvPr>
            <p:cNvGrpSpPr/>
            <p:nvPr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02" name="Rectangle 5">
                <a:extLst>
                  <a:ext uri="{FF2B5EF4-FFF2-40B4-BE49-F238E27FC236}">
                    <a16:creationId xmlns:a16="http://schemas.microsoft.com/office/drawing/2014/main" id="{B82526E4-0963-42FE-94E8-44B9B767E3A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7">
                <a:extLst>
                  <a:ext uri="{FF2B5EF4-FFF2-40B4-BE49-F238E27FC236}">
                    <a16:creationId xmlns:a16="http://schemas.microsoft.com/office/drawing/2014/main" id="{B75B4692-1B31-4824-B377-C84E4924F41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9">
                <a:extLst>
                  <a:ext uri="{FF2B5EF4-FFF2-40B4-BE49-F238E27FC236}">
                    <a16:creationId xmlns:a16="http://schemas.microsoft.com/office/drawing/2014/main" id="{4AF9FD80-D205-4DDE-B437-D2298119195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11">
                <a:extLst>
                  <a:ext uri="{FF2B5EF4-FFF2-40B4-BE49-F238E27FC236}">
                    <a16:creationId xmlns:a16="http://schemas.microsoft.com/office/drawing/2014/main" id="{EAD2D40F-05FE-4E5E-85DA-4C103E80ACD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13">
                <a:extLst>
                  <a:ext uri="{FF2B5EF4-FFF2-40B4-BE49-F238E27FC236}">
                    <a16:creationId xmlns:a16="http://schemas.microsoft.com/office/drawing/2014/main" id="{D398905F-8E7C-4EA0-AA1F-A3B8CB192BE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00" name="Footnote example">
              <a:extLst>
                <a:ext uri="{FF2B5EF4-FFF2-40B4-BE49-F238E27FC236}">
                  <a16:creationId xmlns:a16="http://schemas.microsoft.com/office/drawing/2014/main" id="{297E9D23-A3B2-41A9-8BAF-1F2EE5DF3301}"/>
                </a:ext>
              </a:extLst>
            </p:cNvPr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1. xxxx  2. xxxx  3. List footnotes in numerical order. Footnote numbers are not bracketed. Use 10pt font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lvl="0">
                <a:lnSpc>
                  <a:spcPct val="90000"/>
                </a:lnSpc>
                <a:defRPr/>
              </a:pPr>
              <a:r>
                <a:rPr lang="en-US" sz="1000">
                  <a:solidFill>
                    <a:prstClr val="white">
                      <a:lumMod val="65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  <a:endParaRPr kumimoji="0" lang="en-US" sz="10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sym typeface="Trebuchet MS" panose="020B0603020202020204" pitchFamily="34" charset="0"/>
              </a:endParaRPr>
            </a:p>
          </p:txBody>
        </p:sp>
        <p:sp>
          <p:nvSpPr>
            <p:cNvPr id="101" name="Live area">
              <a:extLst>
                <a:ext uri="{FF2B5EF4-FFF2-40B4-BE49-F238E27FC236}">
                  <a16:creationId xmlns:a16="http://schemas.microsoft.com/office/drawing/2014/main" id="{37BC1B46-B6AE-4C10-8D89-99F5A6347360}"/>
                </a:ext>
              </a:extLst>
            </p:cNvPr>
            <p:cNvSpPr/>
            <p:nvPr/>
          </p:nvSpPr>
          <p:spPr>
            <a:xfrm>
              <a:off x="628650" y="2081212"/>
              <a:ext cx="10934700" cy="4079874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0580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93000"/>
              </a:lnSpc>
              <a:spcBef>
                <a:spcPct val="0"/>
              </a:spcBef>
              <a:spcAft>
                <a:spcPct val="0"/>
              </a:spcAft>
            </a:pPr>
            <a:endParaRPr lang="en-US" sz="5400" b="0" i="0" baseline="0">
              <a:solidFill>
                <a:srgbClr val="FFFFFF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7F8A74D7-6244-4936-96AD-F86E233BE322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AE7E1D4C-56DE-498B-AD2D-59265D789FD1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E62B327B-A6C3-48E9-A853-04AD8EB68F8F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52" name="Rectangle 23">
              <a:extLst>
                <a:ext uri="{FF2B5EF4-FFF2-40B4-BE49-F238E27FC236}">
                  <a16:creationId xmlns:a16="http://schemas.microsoft.com/office/drawing/2014/main" id="{F9F84D82-DBF8-495C-81E1-67FD5EE05733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3" name="Rectangle 25">
              <a:extLst>
                <a:ext uri="{FF2B5EF4-FFF2-40B4-BE49-F238E27FC236}">
                  <a16:creationId xmlns:a16="http://schemas.microsoft.com/office/drawing/2014/main" id="{F6EF7B2A-1A78-4ED0-A987-E8690CD96DA0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Isosceles Triangle 53">
              <a:extLst>
                <a:ext uri="{FF2B5EF4-FFF2-40B4-BE49-F238E27FC236}">
                  <a16:creationId xmlns:a16="http://schemas.microsoft.com/office/drawing/2014/main" id="{D5485C8E-6FD7-48F4-8636-B3F5CECD1F02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5" name="Rectangle 27">
              <a:extLst>
                <a:ext uri="{FF2B5EF4-FFF2-40B4-BE49-F238E27FC236}">
                  <a16:creationId xmlns:a16="http://schemas.microsoft.com/office/drawing/2014/main" id="{09AE5D3B-F642-4EC4-8332-97B1B6A919A0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6" name="Rectangle 28">
              <a:extLst>
                <a:ext uri="{FF2B5EF4-FFF2-40B4-BE49-F238E27FC236}">
                  <a16:creationId xmlns:a16="http://schemas.microsoft.com/office/drawing/2014/main" id="{C3E5BD0C-446D-41DE-BA0A-84F591014B83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7" name="Rectangle 29">
              <a:extLst>
                <a:ext uri="{FF2B5EF4-FFF2-40B4-BE49-F238E27FC236}">
                  <a16:creationId xmlns:a16="http://schemas.microsoft.com/office/drawing/2014/main" id="{8933D3B9-6FFB-4DEB-863A-859098E3FFD8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8" name="Isosceles Triangle 57">
              <a:extLst>
                <a:ext uri="{FF2B5EF4-FFF2-40B4-BE49-F238E27FC236}">
                  <a16:creationId xmlns:a16="http://schemas.microsoft.com/office/drawing/2014/main" id="{B038F85D-F53A-4C5E-B785-7A4B760C1F16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9" name="Isosceles Triangle 58">
              <a:extLst>
                <a:ext uri="{FF2B5EF4-FFF2-40B4-BE49-F238E27FC236}">
                  <a16:creationId xmlns:a16="http://schemas.microsoft.com/office/drawing/2014/main" id="{66E0BAF3-2A30-4B22-8A3C-04BADBADFBB9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pic>
        <p:nvPicPr>
          <p:cNvPr id="60" name="Picture 59" descr="A picture containing logo, text, font, symbol&#10;&#10;Description automatically generated">
            <a:extLst>
              <a:ext uri="{FF2B5EF4-FFF2-40B4-BE49-F238E27FC236}">
                <a16:creationId xmlns:a16="http://schemas.microsoft.com/office/drawing/2014/main" id="{0DD1552B-BD9A-4506-9734-B2FCF9315EB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duotone>
              <a:srgbClr val="5FCBEF">
                <a:shade val="45000"/>
                <a:satMod val="135000"/>
              </a:srgbClr>
              <a:prstClr val="white"/>
            </a:duotone>
            <a:alphaModFix amt="54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359919"/>
            <a:ext cx="12191999" cy="6857990"/>
          </a:xfrm>
          <a:prstGeom prst="rect">
            <a:avLst/>
          </a:prstGeom>
        </p:spPr>
      </p:pic>
      <p:sp>
        <p:nvSpPr>
          <p:cNvPr id="61" name="TextBox 60">
            <a:extLst>
              <a:ext uri="{FF2B5EF4-FFF2-40B4-BE49-F238E27FC236}">
                <a16:creationId xmlns:a16="http://schemas.microsoft.com/office/drawing/2014/main" id="{851BA899-B7CD-4798-B872-99CB44553ABB}"/>
              </a:ext>
            </a:extLst>
          </p:cNvPr>
          <p:cNvSpPr txBox="1"/>
          <p:nvPr userDrawn="1"/>
        </p:nvSpPr>
        <p:spPr>
          <a:xfrm>
            <a:off x="2732049" y="2185639"/>
            <a:ext cx="7270595" cy="1973766"/>
          </a:xfrm>
          <a:prstGeom prst="rect">
            <a:avLst/>
          </a:prstGeom>
          <a:solidFill>
            <a:srgbClr val="2E83C3">
              <a:alpha val="83000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pic>
        <p:nvPicPr>
          <p:cNvPr id="62" name="Picture 61" descr="A white text on a black background&#10;&#10;Description automatically generated with medium confidence">
            <a:extLst>
              <a:ext uri="{FF2B5EF4-FFF2-40B4-BE49-F238E27FC236}">
                <a16:creationId xmlns:a16="http://schemas.microsoft.com/office/drawing/2014/main" id="{2F4815FC-F0C5-4D81-AE79-5B0F738C3C7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99689" y="2421741"/>
            <a:ext cx="5952910" cy="1587443"/>
          </a:xfrm>
          <a:prstGeom prst="rect">
            <a:avLst/>
          </a:prstGeom>
        </p:spPr>
      </p:pic>
      <p:sp>
        <p:nvSpPr>
          <p:cNvPr id="63" name="Rectangle 62">
            <a:extLst>
              <a:ext uri="{FF2B5EF4-FFF2-40B4-BE49-F238E27FC236}">
                <a16:creationId xmlns:a16="http://schemas.microsoft.com/office/drawing/2014/main" id="{F5E31297-DF05-4B42-B890-981A6F691B8C}"/>
              </a:ext>
            </a:extLst>
          </p:cNvPr>
          <p:cNvSpPr/>
          <p:nvPr userDrawn="1"/>
        </p:nvSpPr>
        <p:spPr>
          <a:xfrm>
            <a:off x="2732049" y="4142242"/>
            <a:ext cx="7270595" cy="592575"/>
          </a:xfrm>
          <a:prstGeom prst="rect">
            <a:avLst/>
          </a:prstGeom>
          <a:solidFill>
            <a:srgbClr val="5FCBEF"/>
          </a:solidFill>
          <a:ln w="1905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4572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4" name="Subtitle 2">
            <a:extLst>
              <a:ext uri="{FF2B5EF4-FFF2-40B4-BE49-F238E27FC236}">
                <a16:creationId xmlns:a16="http://schemas.microsoft.com/office/drawing/2014/main" id="{A3A24257-1051-4A9F-B2CE-7DA331FBD9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white">
          <a:xfrm>
            <a:off x="3371894" y="4053537"/>
            <a:ext cx="6490394" cy="592575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 algn="r">
              <a:lnSpc>
                <a:spcPct val="110000"/>
              </a:lnSpc>
              <a:buNone/>
              <a:defRPr sz="2400" b="1">
                <a:solidFill>
                  <a:srgbClr val="1B3F57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930178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50B59F0-EC9B-4470-B58B-BE104BDC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50B59F0-EC9B-4470-B58B-BE104BDC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29FBA23B-80BC-4879-B751-41C14B0CAF05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D97E5678-9DCC-4A24-AB56-D8C642617865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5" name="Isosceles Triangle 14">
              <a:extLst>
                <a:ext uri="{FF2B5EF4-FFF2-40B4-BE49-F238E27FC236}">
                  <a16:creationId xmlns:a16="http://schemas.microsoft.com/office/drawing/2014/main" id="{3FC0D8DF-AE6C-40AF-8034-5A0791D8C988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Rectangle 28">
              <a:extLst>
                <a:ext uri="{FF2B5EF4-FFF2-40B4-BE49-F238E27FC236}">
                  <a16:creationId xmlns:a16="http://schemas.microsoft.com/office/drawing/2014/main" id="{4A4E6502-BD08-45D8-8892-439106A2B9D6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8" name="Rectangle 29">
              <a:extLst>
                <a:ext uri="{FF2B5EF4-FFF2-40B4-BE49-F238E27FC236}">
                  <a16:creationId xmlns:a16="http://schemas.microsoft.com/office/drawing/2014/main" id="{CC65017E-5D1C-42C1-979B-22EF89B2325E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1091F846-63FE-41DB-BD72-5820DF32CAFF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20" name="Isosceles Triangle 19">
              <a:extLst>
                <a:ext uri="{FF2B5EF4-FFF2-40B4-BE49-F238E27FC236}">
                  <a16:creationId xmlns:a16="http://schemas.microsoft.com/office/drawing/2014/main" id="{1FF0B6AC-52C2-45A2-9BB3-019E54A928BA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086968D-E10C-436F-9DA1-0C7952E929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BE5502BD-C4E5-465E-A6C6-8EA43F3F2CE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5715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Alternativ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899A49E-A684-4FD6-8D80-5FC570A60D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110903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899A49E-A684-4FD6-8D80-5FC570A60D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DBE04C-22A9-4C7F-B57B-7997E0C4F1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3648964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48B55EF3-CA77-494E-9941-8E5C1C18D5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8B55EF3-CA77-494E-9941-8E5C1C18D5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25567FE4-B197-4D06-A3D6-6167AD2BB8D3}"/>
              </a:ext>
            </a:extLst>
          </p:cNvPr>
          <p:cNvGrpSpPr/>
          <p:nvPr userDrawn="1"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4AE5DFBC-908F-4F63-BDD9-05750A889B10}"/>
                </a:ext>
              </a:extLst>
            </p:cNvPr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cxnSp>
          <p:nvCxnSpPr>
            <p:cNvPr id="9" name="Straight Connector 8">
              <a:extLst>
                <a:ext uri="{FF2B5EF4-FFF2-40B4-BE49-F238E27FC236}">
                  <a16:creationId xmlns:a16="http://schemas.microsoft.com/office/drawing/2014/main" id="{119CEDF5-99EB-4D93-AAE2-48CC0F5317D9}"/>
                </a:ext>
              </a:extLst>
            </p:cNvPr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noFill/>
            <a:ln w="9525" cap="rnd" cmpd="sng" algn="ctr">
              <a:solidFill>
                <a:srgbClr val="5FCBEF">
                  <a:alpha val="70000"/>
                </a:srgbClr>
              </a:solidFill>
              <a:prstDash val="solid"/>
            </a:ln>
            <a:effectLst/>
          </p:spPr>
        </p:cxnSp>
        <p:sp>
          <p:nvSpPr>
            <p:cNvPr id="10" name="Rectangle 23">
              <a:extLst>
                <a:ext uri="{FF2B5EF4-FFF2-40B4-BE49-F238E27FC236}">
                  <a16:creationId xmlns:a16="http://schemas.microsoft.com/office/drawing/2014/main" id="{D2E753B1-DD0E-4413-8838-8063D96C90E4}"/>
                </a:ext>
              </a:extLst>
            </p:cNvPr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rgbClr val="5FCBEF">
                <a:alpha val="3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1" name="Rectangle 25">
              <a:extLst>
                <a:ext uri="{FF2B5EF4-FFF2-40B4-BE49-F238E27FC236}">
                  <a16:creationId xmlns:a16="http://schemas.microsoft.com/office/drawing/2014/main" id="{8519E0B6-57BD-43EF-BA96-3602F07E4C1D}"/>
                </a:ext>
              </a:extLst>
            </p:cNvPr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alpha val="2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Isosceles Triangle 11">
              <a:extLst>
                <a:ext uri="{FF2B5EF4-FFF2-40B4-BE49-F238E27FC236}">
                  <a16:creationId xmlns:a16="http://schemas.microsoft.com/office/drawing/2014/main" id="{F4BA4205-3A8D-4EE7-BACF-04FACB9CBC87}"/>
                </a:ext>
              </a:extLst>
            </p:cNvPr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Rectangle 27">
              <a:extLst>
                <a:ext uri="{FF2B5EF4-FFF2-40B4-BE49-F238E27FC236}">
                  <a16:creationId xmlns:a16="http://schemas.microsoft.com/office/drawing/2014/main" id="{0AE59C20-9B8F-4715-AEE1-4EA59D84116F}"/>
                </a:ext>
              </a:extLst>
            </p:cNvPr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5FCBEF">
                <a:lumMod val="75000"/>
                <a:alpha val="5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" name="Rectangle 28">
              <a:extLst>
                <a:ext uri="{FF2B5EF4-FFF2-40B4-BE49-F238E27FC236}">
                  <a16:creationId xmlns:a16="http://schemas.microsoft.com/office/drawing/2014/main" id="{0C2CDD23-4FB6-439E-AC7F-FED6388FB292}"/>
                </a:ext>
              </a:extLst>
            </p:cNvPr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rgbClr val="2E83C3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5" name="Rectangle 29">
              <a:extLst>
                <a:ext uri="{FF2B5EF4-FFF2-40B4-BE49-F238E27FC236}">
                  <a16:creationId xmlns:a16="http://schemas.microsoft.com/office/drawing/2014/main" id="{C6E0063B-A54D-4AFD-80B4-285FD645B369}"/>
                </a:ext>
              </a:extLst>
            </p:cNvPr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E83C3">
                <a:lumMod val="75000"/>
                <a:alpha val="8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6" name="Isosceles Triangle 15">
              <a:extLst>
                <a:ext uri="{FF2B5EF4-FFF2-40B4-BE49-F238E27FC236}">
                  <a16:creationId xmlns:a16="http://schemas.microsoft.com/office/drawing/2014/main" id="{38BA8156-264B-481F-BE5E-4E7E3263CD6A}"/>
                </a:ext>
              </a:extLst>
            </p:cNvPr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rgbClr val="5FCBEF">
                <a:lumMod val="75000"/>
                <a:alpha val="66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16C6F60B-73FE-4187-8532-7F11E1EA64F2}"/>
                </a:ext>
              </a:extLst>
            </p:cNvPr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rgbClr val="5FCBEF">
                <a:alpha val="70000"/>
              </a:srgbClr>
            </a:solidFill>
            <a:ln w="12700" cap="rnd" cmpd="sng" algn="ctr">
              <a:noFill/>
              <a:prstDash val="solid"/>
            </a:ln>
            <a:effectLst/>
          </p:spPr>
          <p:txBody>
            <a:bodyPr/>
            <a:lstStyle/>
            <a:p>
              <a:endParaRPr lang="en-US">
                <a:latin typeface="+mn-lt"/>
                <a:ea typeface="+mn-ea"/>
                <a:cs typeface="+mn-cs"/>
              </a:endParaRP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AB083126-25E7-42D8-B799-608CFD4DF6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AD1DA01-0E73-44DE-A132-B4FF1E70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400" y="2085628"/>
            <a:ext cx="10933950" cy="4072976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rgbClr val="FFFFFF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5CF211EF-7A08-4734-96CF-B2A476DFF48A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3100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D3339498-9CBC-4681-AACE-7A829F5959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3339498-9CBC-4681-AACE-7A829F5959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554736" y="2158987"/>
            <a:ext cx="3819264" cy="541687"/>
          </a:xfrm>
          <a:prstGeom prst="rect">
            <a:avLst/>
          </a:prstGeom>
        </p:spPr>
        <p:txBody>
          <a:bodyPr lIns="91440">
            <a:noAutofit/>
          </a:bodyPr>
          <a:lstStyle>
            <a:lvl1pPr marL="0" indent="0" algn="l">
              <a:buNone/>
              <a:defRPr lang="en-US" sz="1600" kern="120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1227048"/>
            <a:ext cx="3819264" cy="664797"/>
          </a:xfrm>
        </p:spPr>
        <p:txBody>
          <a:bodyPr vert="horz" tIns="0" rIns="0" bIns="0"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990226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7D67FDBB-17FF-4A00-9937-81730D55B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D67FDBB-17FF-4A00-9937-81730D55B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</a14:hiddenLine>
            </a:ext>
          </a:extLst>
        </p:spPr>
        <p:txBody>
          <a:bodyPr vert="horz"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38945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4DDE184-4619-44D9-B97F-EB3EE62789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688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86" imgH="286" progId="TCLayout.ActiveDocument.1">
                  <p:embed/>
                </p:oleObj>
              </mc:Choice>
              <mc:Fallback>
                <p:oleObj name="think-cell Slide" r:id="rId3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4DDE184-4619-44D9-B97F-EB3EE62789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3826800"/>
            <a:ext cx="11082530" cy="2041200"/>
          </a:xfrm>
        </p:spPr>
        <p:txBody>
          <a:bodyPr vert="horz"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8669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B52B359-8DEA-4F48-926A-D13E8B19C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52B359-8DEA-4F48-926A-D13E8B19C5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B5517012-F7C1-47E9-8C80-496D914DDD2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82425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A29267-EAF7-92F9-CD14-E134D53B62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0E0C4E-3DA6-FC0E-D0AF-3CE47DF9E831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E51FD7E-5D50-B530-5FB3-327F61A33B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object 4">
            <a:extLst>
              <a:ext uri="{FF2B5EF4-FFF2-40B4-BE49-F238E27FC236}">
                <a16:creationId xmlns:a16="http://schemas.microsoft.com/office/drawing/2014/main" id="{FD3AB405-A20F-5C5A-41AA-BCF4CC9D5924}"/>
              </a:ext>
            </a:extLst>
          </p:cNvPr>
          <p:cNvSpPr/>
          <p:nvPr/>
        </p:nvSpPr>
        <p:spPr>
          <a:xfrm>
            <a:off x="948973" y="1539604"/>
            <a:ext cx="4914900" cy="3474720"/>
          </a:xfrm>
          <a:custGeom>
            <a:avLst/>
            <a:gdLst/>
            <a:ahLst/>
            <a:cxnLst/>
            <a:rect l="l" t="t" r="r" b="b"/>
            <a:pathLst>
              <a:path w="4914900" h="3474720">
                <a:moveTo>
                  <a:pt x="4914900" y="0"/>
                </a:moveTo>
                <a:lnTo>
                  <a:pt x="0" y="0"/>
                </a:lnTo>
                <a:lnTo>
                  <a:pt x="0" y="3474720"/>
                </a:lnTo>
                <a:lnTo>
                  <a:pt x="4175252" y="3474720"/>
                </a:lnTo>
                <a:lnTo>
                  <a:pt x="49149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9" name="object 5">
            <a:extLst>
              <a:ext uri="{FF2B5EF4-FFF2-40B4-BE49-F238E27FC236}">
                <a16:creationId xmlns:a16="http://schemas.microsoft.com/office/drawing/2014/main" id="{EFE82CF4-E877-C820-ED8E-686A08932444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9652" y="1561452"/>
            <a:ext cx="2108250" cy="3449319"/>
          </a:xfrm>
          <a:prstGeom prst="rect">
            <a:avLst/>
          </a:prstGeom>
        </p:spPr>
      </p:pic>
      <p:pic>
        <p:nvPicPr>
          <p:cNvPr id="10" name="object 6">
            <a:extLst>
              <a:ext uri="{FF2B5EF4-FFF2-40B4-BE49-F238E27FC236}">
                <a16:creationId xmlns:a16="http://schemas.microsoft.com/office/drawing/2014/main" id="{4C2F2ADB-A0F5-1969-1F35-6278D55F028F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6301" y="1550784"/>
            <a:ext cx="2110562" cy="3459988"/>
          </a:xfrm>
          <a:prstGeom prst="rect">
            <a:avLst/>
          </a:prstGeom>
        </p:spPr>
      </p:pic>
      <p:pic>
        <p:nvPicPr>
          <p:cNvPr id="11" name="object 7">
            <a:extLst>
              <a:ext uri="{FF2B5EF4-FFF2-40B4-BE49-F238E27FC236}">
                <a16:creationId xmlns:a16="http://schemas.microsoft.com/office/drawing/2014/main" id="{BD040AF6-75BE-E27E-72D6-C0461369C269}"/>
              </a:ext>
            </a:extLst>
          </p:cNvPr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92951" y="1550784"/>
            <a:ext cx="2110562" cy="3459988"/>
          </a:xfrm>
          <a:prstGeom prst="rect">
            <a:avLst/>
          </a:prstGeom>
        </p:spPr>
      </p:pic>
      <p:pic>
        <p:nvPicPr>
          <p:cNvPr id="12" name="object 8">
            <a:extLst>
              <a:ext uri="{FF2B5EF4-FFF2-40B4-BE49-F238E27FC236}">
                <a16:creationId xmlns:a16="http://schemas.microsoft.com/office/drawing/2014/main" id="{A5995094-1AE6-99CC-1523-34760375C03E}"/>
              </a:ext>
            </a:extLst>
          </p:cNvPr>
          <p:cNvPicPr/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9600" y="1550784"/>
            <a:ext cx="1377772" cy="34599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5EBD9F8-4730-C8B7-584E-1BBD01D546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1459" y="2403573"/>
            <a:ext cx="3840827" cy="150077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51166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F37FF46-BCB6-43A1-97FB-7CCB3F9288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F37FF46-BCB6-43A1-97FB-7CCB3F9288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541902DA-5269-4EDC-BE57-ED964E0F7D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6351793" cy="73152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41B32AB9-DBA7-4A2E-939A-1E54476F58C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506848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B9EB279-7B64-4CA2-95AC-C4068385DC5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B9EB279-7B64-4CA2-95AC-C4068385DC5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D77324BD-2A35-4C77-A8CF-698B45D9695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5" y="487172"/>
            <a:ext cx="8176848" cy="73152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D276A869-9055-4A38-8E4C-7A1A4F5142B9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5679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8F51A90-4F1E-42D2-B55E-FED86F1F52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8F51A90-4F1E-42D2-B55E-FED86F1F52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681103"/>
            <a:ext cx="3203145" cy="1495794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6769584-E22D-4D2B-B1D2-BAB08D35B4F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7575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8619043-5A32-4284-A90A-6808C7BE85B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8619043-5A32-4284-A90A-6808C7BE85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554736" y="1785600"/>
            <a:ext cx="4463664" cy="3286800"/>
          </a:xfrm>
          <a:prstGeom prst="rect">
            <a:avLst/>
          </a:prstGeom>
          <a:noFill/>
        </p:spPr>
        <p:txBody>
          <a:bodyPr vert="horz" wrap="square" lIns="9144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493F219E-809B-40A5-9AE3-EAF26DDDDCA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1126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BD7730A4-E284-4903-93D9-A74907E6F62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D7730A4-E284-4903-93D9-A74907E6F6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icon below to insert an image or remove this placeholder to use the whitespace in another way</a:t>
            </a: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554736" y="1785600"/>
            <a:ext cx="6323752" cy="3286800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4CC8E453-F976-495A-88D9-33CC0FAC545C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5019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24" imgH="324" progId="TCLayout.ActiveDocument.1">
                  <p:embed/>
                </p:oleObj>
              </mc:Choice>
              <mc:Fallback>
                <p:oleObj name="think-cell Slide" r:id="rId4" imgW="324" imgH="32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>
                <a:solidFill>
                  <a:schemeClr val="tx2"/>
                </a:solidFill>
              </a:rPr>
              <a:t>Click to add title</a:t>
            </a:r>
          </a:p>
        </p:txBody>
      </p:sp>
      <p:pic>
        <p:nvPicPr>
          <p:cNvPr id="12" name="Picture 1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32442" y="3590399"/>
            <a:ext cx="1365250" cy="3382962"/>
          </a:xfrm>
          <a:custGeom>
            <a:avLst/>
            <a:gdLst>
              <a:gd name="connsiteX0" fmla="*/ 919541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264716 h 3382962"/>
              <a:gd name="connsiteX5" fmla="*/ 129871 w 1365250"/>
              <a:gd name="connsiteY5" fmla="*/ 3267601 h 3382962"/>
              <a:gd name="connsiteX6" fmla="*/ 0 w 1365250"/>
              <a:gd name="connsiteY6" fmla="*/ 0 h 3382962"/>
              <a:gd name="connsiteX7" fmla="*/ 909386 w 1365250"/>
              <a:gd name="connsiteY7" fmla="*/ 0 h 3382962"/>
              <a:gd name="connsiteX8" fmla="*/ 0 w 1365250"/>
              <a:gd name="connsiteY8" fmla="*/ 298560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19541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264716"/>
                </a:lnTo>
                <a:lnTo>
                  <a:pt x="129871" y="3267601"/>
                </a:lnTo>
                <a:close/>
                <a:moveTo>
                  <a:pt x="0" y="0"/>
                </a:moveTo>
                <a:lnTo>
                  <a:pt x="909386" y="0"/>
                </a:lnTo>
                <a:lnTo>
                  <a:pt x="0" y="298560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9F779B1D-4E74-4F20-A9FD-1FA5DDF65EC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0432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0378DA7F-4CAE-4E41-AFAD-045B9435D5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378DA7F-4CAE-4E41-AFAD-045B9435D5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554736" y="2764203"/>
            <a:ext cx="2553902" cy="1314311"/>
          </a:xfrm>
        </p:spPr>
        <p:txBody>
          <a:bodyPr vert="horz" lIns="91440" tIns="0" rIns="0" bIns="0"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2174642" y="3402828"/>
            <a:ext cx="2694666" cy="3461745"/>
          </a:xfrm>
          <a:custGeom>
            <a:avLst/>
            <a:gdLst>
              <a:gd name="connsiteX0" fmla="*/ 0 w 2694666"/>
              <a:gd name="connsiteY0" fmla="*/ 0 h 3461745"/>
              <a:gd name="connsiteX1" fmla="*/ 2694666 w 2694666"/>
              <a:gd name="connsiteY1" fmla="*/ 0 h 3461745"/>
              <a:gd name="connsiteX2" fmla="*/ 2694666 w 2694666"/>
              <a:gd name="connsiteY2" fmla="*/ 3461745 h 3461745"/>
              <a:gd name="connsiteX3" fmla="*/ 1325678 w 2694666"/>
              <a:gd name="connsiteY3" fmla="*/ 3461745 h 3461745"/>
              <a:gd name="connsiteX4" fmla="*/ 1671729 w 2694666"/>
              <a:gd name="connsiteY4" fmla="*/ 3449661 h 3461745"/>
              <a:gd name="connsiteX5" fmla="*/ 1894583 w 2694666"/>
              <a:gd name="connsiteY5" fmla="*/ 6023 h 3461745"/>
              <a:gd name="connsiteX6" fmla="*/ 1847153 w 2694666"/>
              <a:gd name="connsiteY6" fmla="*/ 12445 h 3461745"/>
              <a:gd name="connsiteX7" fmla="*/ 1149427 w 2694666"/>
              <a:gd name="connsiteY7" fmla="*/ 3461745 h 3461745"/>
              <a:gd name="connsiteX8" fmla="*/ 0 w 2694666"/>
              <a:gd name="connsiteY8" fmla="*/ 3461745 h 3461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94666" h="3461745">
                <a:moveTo>
                  <a:pt x="0" y="0"/>
                </a:moveTo>
                <a:lnTo>
                  <a:pt x="2694666" y="0"/>
                </a:lnTo>
                <a:lnTo>
                  <a:pt x="2694666" y="3461745"/>
                </a:lnTo>
                <a:lnTo>
                  <a:pt x="1325678" y="3461745"/>
                </a:lnTo>
                <a:lnTo>
                  <a:pt x="1671729" y="3449661"/>
                </a:lnTo>
                <a:lnTo>
                  <a:pt x="1894583" y="6023"/>
                </a:lnTo>
                <a:lnTo>
                  <a:pt x="1847153" y="12445"/>
                </a:lnTo>
                <a:lnTo>
                  <a:pt x="1149427" y="3461745"/>
                </a:lnTo>
                <a:lnTo>
                  <a:pt x="0" y="3461745"/>
                </a:lnTo>
                <a:close/>
              </a:path>
            </a:pathLst>
          </a:custGeom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F4B122E6-DBAC-48E3-8295-820B7730348E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69273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538C2DDD-D1AD-48E5-B9DD-8E8DAAFDC8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38C2DDD-D1AD-48E5-B9DD-8E8DAAFDC8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500" cy="3286800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pic>
        <p:nvPicPr>
          <p:cNvPr id="11" name="Picture 10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81525" y="3394392"/>
            <a:ext cx="1298575" cy="3571875"/>
          </a:xfrm>
          <a:custGeom>
            <a:avLst/>
            <a:gdLst>
              <a:gd name="connsiteX0" fmla="*/ 0 w 1298575"/>
              <a:gd name="connsiteY0" fmla="*/ 0 h 3571875"/>
              <a:gd name="connsiteX1" fmla="*/ 1298575 w 1298575"/>
              <a:gd name="connsiteY1" fmla="*/ 0 h 3571875"/>
              <a:gd name="connsiteX2" fmla="*/ 1298575 w 1298575"/>
              <a:gd name="connsiteY2" fmla="*/ 3571875 h 3571875"/>
              <a:gd name="connsiteX3" fmla="*/ 0 w 1298575"/>
              <a:gd name="connsiteY3" fmla="*/ 3571875 h 3571875"/>
              <a:gd name="connsiteX4" fmla="*/ 0 w 1298575"/>
              <a:gd name="connsiteY4" fmla="*/ 3465683 h 3571875"/>
              <a:gd name="connsiteX5" fmla="*/ 139700 w 1298575"/>
              <a:gd name="connsiteY5" fmla="*/ 3466783 h 3571875"/>
              <a:gd name="connsiteX6" fmla="*/ 841375 w 1298575"/>
              <a:gd name="connsiteY6" fmla="*/ 21908 h 3571875"/>
              <a:gd name="connsiteX7" fmla="*/ 0 w 1298575"/>
              <a:gd name="connsiteY7" fmla="*/ 2642743 h 35718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98575" h="3571875">
                <a:moveTo>
                  <a:pt x="0" y="0"/>
                </a:moveTo>
                <a:lnTo>
                  <a:pt x="1298575" y="0"/>
                </a:lnTo>
                <a:lnTo>
                  <a:pt x="1298575" y="3571875"/>
                </a:lnTo>
                <a:lnTo>
                  <a:pt x="0" y="3571875"/>
                </a:lnTo>
                <a:lnTo>
                  <a:pt x="0" y="3465683"/>
                </a:lnTo>
                <a:lnTo>
                  <a:pt x="139700" y="3466783"/>
                </a:lnTo>
                <a:lnTo>
                  <a:pt x="841375" y="21908"/>
                </a:lnTo>
                <a:lnTo>
                  <a:pt x="0" y="2642743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Slide Number">
            <a:extLst>
              <a:ext uri="{FF2B5EF4-FFF2-40B4-BE49-F238E27FC236}">
                <a16:creationId xmlns:a16="http://schemas.microsoft.com/office/drawing/2014/main" id="{EE216772-5FF2-4E31-8D89-EB3E6BF5788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19205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F691E8A7-62B1-4D66-8FF5-36E9E8F3DF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91E8A7-62B1-4D66-8FF5-36E9E8F3DF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554736" y="1785600"/>
            <a:ext cx="4137499" cy="3286800"/>
          </a:xfrm>
          <a:prstGeom prst="rect">
            <a:avLst/>
          </a:prstGeom>
        </p:spPr>
        <p:txBody>
          <a:bodyPr vert="horz" lIns="91440" tIns="0" rIns="0" bIns="0"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78059" y="3416300"/>
            <a:ext cx="2694666" cy="3441700"/>
          </a:xfrm>
          <a:custGeom>
            <a:avLst/>
            <a:gdLst>
              <a:gd name="connsiteX0" fmla="*/ 2040063 w 2694666"/>
              <a:gd name="connsiteY0" fmla="*/ 0 h 3441700"/>
              <a:gd name="connsiteX1" fmla="*/ 2694666 w 2694666"/>
              <a:gd name="connsiteY1" fmla="*/ 0 h 3441700"/>
              <a:gd name="connsiteX2" fmla="*/ 2694666 w 2694666"/>
              <a:gd name="connsiteY2" fmla="*/ 3441700 h 3441700"/>
              <a:gd name="connsiteX3" fmla="*/ 1510783 w 2694666"/>
              <a:gd name="connsiteY3" fmla="*/ 3441700 h 3441700"/>
              <a:gd name="connsiteX4" fmla="*/ 1816742 w 2694666"/>
              <a:gd name="connsiteY4" fmla="*/ 365420 h 3441700"/>
              <a:gd name="connsiteX5" fmla="*/ 2022641 w 2694666"/>
              <a:gd name="connsiteY5" fmla="*/ 379413 h 3441700"/>
              <a:gd name="connsiteX6" fmla="*/ 0 w 2694666"/>
              <a:gd name="connsiteY6" fmla="*/ 0 h 3441700"/>
              <a:gd name="connsiteX7" fmla="*/ 1846270 w 2694666"/>
              <a:gd name="connsiteY7" fmla="*/ 0 h 3441700"/>
              <a:gd name="connsiteX8" fmla="*/ 1848810 w 2694666"/>
              <a:gd name="connsiteY8" fmla="*/ 12700 h 3441700"/>
              <a:gd name="connsiteX9" fmla="*/ 1777372 w 2694666"/>
              <a:gd name="connsiteY9" fmla="*/ 362744 h 3441700"/>
              <a:gd name="connsiteX10" fmla="*/ 1780172 w 2694666"/>
              <a:gd name="connsiteY10" fmla="*/ 362934 h 3441700"/>
              <a:gd name="connsiteX11" fmla="*/ 1144340 w 2694666"/>
              <a:gd name="connsiteY11" fmla="*/ 3441700 h 3441700"/>
              <a:gd name="connsiteX12" fmla="*/ 0 w 2694666"/>
              <a:gd name="connsiteY12" fmla="*/ 3441700 h 3441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2694666" h="3441700">
                <a:moveTo>
                  <a:pt x="2040063" y="0"/>
                </a:moveTo>
                <a:lnTo>
                  <a:pt x="2694666" y="0"/>
                </a:lnTo>
                <a:lnTo>
                  <a:pt x="2694666" y="3441700"/>
                </a:lnTo>
                <a:lnTo>
                  <a:pt x="1510783" y="3441700"/>
                </a:lnTo>
                <a:lnTo>
                  <a:pt x="1816742" y="365420"/>
                </a:lnTo>
                <a:lnTo>
                  <a:pt x="2022641" y="379413"/>
                </a:lnTo>
                <a:close/>
                <a:moveTo>
                  <a:pt x="0" y="0"/>
                </a:moveTo>
                <a:lnTo>
                  <a:pt x="1846270" y="0"/>
                </a:lnTo>
                <a:lnTo>
                  <a:pt x="1848810" y="12700"/>
                </a:lnTo>
                <a:lnTo>
                  <a:pt x="1777372" y="362744"/>
                </a:lnTo>
                <a:lnTo>
                  <a:pt x="1780172" y="362934"/>
                </a:lnTo>
                <a:lnTo>
                  <a:pt x="1144340" y="3441700"/>
                </a:lnTo>
                <a:lnTo>
                  <a:pt x="0" y="3441700"/>
                </a:lnTo>
                <a:close/>
              </a:path>
            </a:pathLst>
          </a:custGeom>
        </p:spPr>
      </p:pic>
      <p:sp>
        <p:nvSpPr>
          <p:cNvPr id="8" name="Slide Number">
            <a:extLst>
              <a:ext uri="{FF2B5EF4-FFF2-40B4-BE49-F238E27FC236}">
                <a16:creationId xmlns:a16="http://schemas.microsoft.com/office/drawing/2014/main" id="{8A90A4F4-AB3F-4481-997E-0B196232280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356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1C45417B-986E-44F6-99FB-07EFD0BDF9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86" imgH="286" progId="TCLayout.ActiveDocument.1">
                  <p:embed/>
                </p:oleObj>
              </mc:Choice>
              <mc:Fallback>
                <p:oleObj name="think-cell Slide" r:id="rId4" imgW="286" imgH="28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C45417B-986E-44F6-99FB-07EFD0BDF9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t>Copyright © 2023 by Boston Consulting Group. All rights reserved.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97806" y="3589606"/>
            <a:ext cx="1365250" cy="3382962"/>
          </a:xfrm>
          <a:custGeom>
            <a:avLst/>
            <a:gdLst>
              <a:gd name="connsiteX0" fmla="*/ 920598 w 1365250"/>
              <a:gd name="connsiteY0" fmla="*/ 0 h 3382962"/>
              <a:gd name="connsiteX1" fmla="*/ 1365250 w 1365250"/>
              <a:gd name="connsiteY1" fmla="*/ 0 h 3382962"/>
              <a:gd name="connsiteX2" fmla="*/ 1365250 w 1365250"/>
              <a:gd name="connsiteY2" fmla="*/ 3382962 h 3382962"/>
              <a:gd name="connsiteX3" fmla="*/ 0 w 1365250"/>
              <a:gd name="connsiteY3" fmla="*/ 3382962 h 3382962"/>
              <a:gd name="connsiteX4" fmla="*/ 0 w 1365250"/>
              <a:gd name="connsiteY4" fmla="*/ 3320782 h 3382962"/>
              <a:gd name="connsiteX5" fmla="*/ 126694 w 1365250"/>
              <a:gd name="connsiteY5" fmla="*/ 3320782 h 3382962"/>
              <a:gd name="connsiteX6" fmla="*/ 0 w 1365250"/>
              <a:gd name="connsiteY6" fmla="*/ 0 h 3382962"/>
              <a:gd name="connsiteX7" fmla="*/ 908172 w 1365250"/>
              <a:gd name="connsiteY7" fmla="*/ 0 h 3382962"/>
              <a:gd name="connsiteX8" fmla="*/ 0 w 1365250"/>
              <a:gd name="connsiteY8" fmla="*/ 2890357 h 33829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65250" h="3382962">
                <a:moveTo>
                  <a:pt x="920598" y="0"/>
                </a:moveTo>
                <a:lnTo>
                  <a:pt x="1365250" y="0"/>
                </a:lnTo>
                <a:lnTo>
                  <a:pt x="1365250" y="3382962"/>
                </a:lnTo>
                <a:lnTo>
                  <a:pt x="0" y="3382962"/>
                </a:lnTo>
                <a:lnTo>
                  <a:pt x="0" y="3320782"/>
                </a:lnTo>
                <a:lnTo>
                  <a:pt x="126694" y="3320782"/>
                </a:lnTo>
                <a:close/>
                <a:moveTo>
                  <a:pt x="0" y="0"/>
                </a:moveTo>
                <a:lnTo>
                  <a:pt x="908172" y="0"/>
                </a:lnTo>
                <a:lnTo>
                  <a:pt x="0" y="2890357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5DABB643-FD5C-43FC-A679-69CFF5AF35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736" y="487172"/>
            <a:ext cx="4823086" cy="731520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56CB0361-9D8A-498B-97AA-74B83CD49284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2022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19" Type="http://schemas.openxmlformats.org/officeDocument/2006/relationships/theme" Target="../theme/theme2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_rels/slideMaster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55.xml"/><Relationship Id="rId42" Type="http://schemas.openxmlformats.org/officeDocument/2006/relationships/slideLayout" Target="../slideLayouts/slideLayout76.xml"/><Relationship Id="rId47" Type="http://schemas.openxmlformats.org/officeDocument/2006/relationships/slideLayout" Target="../slideLayouts/slideLayout81.xml"/><Relationship Id="rId63" Type="http://schemas.openxmlformats.org/officeDocument/2006/relationships/slideLayout" Target="../slideLayouts/slideLayout97.xml"/><Relationship Id="rId68" Type="http://schemas.openxmlformats.org/officeDocument/2006/relationships/slideLayout" Target="../slideLayouts/slideLayout102.xml"/><Relationship Id="rId84" Type="http://schemas.openxmlformats.org/officeDocument/2006/relationships/slideLayout" Target="../slideLayouts/slideLayout118.xml"/><Relationship Id="rId89" Type="http://schemas.openxmlformats.org/officeDocument/2006/relationships/tags" Target="../tags/tag1.xml"/><Relationship Id="rId1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45.xml"/><Relationship Id="rId32" Type="http://schemas.openxmlformats.org/officeDocument/2006/relationships/slideLayout" Target="../slideLayouts/slideLayout66.xml"/><Relationship Id="rId37" Type="http://schemas.openxmlformats.org/officeDocument/2006/relationships/slideLayout" Target="../slideLayouts/slideLayout71.xml"/><Relationship Id="rId53" Type="http://schemas.openxmlformats.org/officeDocument/2006/relationships/slideLayout" Target="../slideLayouts/slideLayout87.xml"/><Relationship Id="rId58" Type="http://schemas.openxmlformats.org/officeDocument/2006/relationships/slideLayout" Target="../slideLayouts/slideLayout92.xml"/><Relationship Id="rId74" Type="http://schemas.openxmlformats.org/officeDocument/2006/relationships/slideLayout" Target="../slideLayouts/slideLayout108.xml"/><Relationship Id="rId79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39.xml"/><Relationship Id="rId90" Type="http://schemas.openxmlformats.org/officeDocument/2006/relationships/tags" Target="../tags/tag2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slideLayout" Target="../slideLayouts/slideLayout64.xml"/><Relationship Id="rId35" Type="http://schemas.openxmlformats.org/officeDocument/2006/relationships/slideLayout" Target="../slideLayouts/slideLayout69.xml"/><Relationship Id="rId43" Type="http://schemas.openxmlformats.org/officeDocument/2006/relationships/slideLayout" Target="../slideLayouts/slideLayout77.xml"/><Relationship Id="rId48" Type="http://schemas.openxmlformats.org/officeDocument/2006/relationships/slideLayout" Target="../slideLayouts/slideLayout82.xml"/><Relationship Id="rId56" Type="http://schemas.openxmlformats.org/officeDocument/2006/relationships/slideLayout" Target="../slideLayouts/slideLayout90.xml"/><Relationship Id="rId64" Type="http://schemas.openxmlformats.org/officeDocument/2006/relationships/slideLayout" Target="../slideLayouts/slideLayout98.xml"/><Relationship Id="rId69" Type="http://schemas.openxmlformats.org/officeDocument/2006/relationships/slideLayout" Target="../slideLayouts/slideLayout103.xml"/><Relationship Id="rId77" Type="http://schemas.openxmlformats.org/officeDocument/2006/relationships/slideLayout" Target="../slideLayouts/slideLayout111.xml"/><Relationship Id="rId8" Type="http://schemas.openxmlformats.org/officeDocument/2006/relationships/slideLayout" Target="../slideLayouts/slideLayout42.xml"/><Relationship Id="rId51" Type="http://schemas.openxmlformats.org/officeDocument/2006/relationships/slideLayout" Target="../slideLayouts/slideLayout85.xml"/><Relationship Id="rId72" Type="http://schemas.openxmlformats.org/officeDocument/2006/relationships/slideLayout" Target="../slideLayouts/slideLayout106.xml"/><Relationship Id="rId80" Type="http://schemas.openxmlformats.org/officeDocument/2006/relationships/slideLayout" Target="../slideLayouts/slideLayout114.xml"/><Relationship Id="rId85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33" Type="http://schemas.openxmlformats.org/officeDocument/2006/relationships/slideLayout" Target="../slideLayouts/slideLayout67.xml"/><Relationship Id="rId38" Type="http://schemas.openxmlformats.org/officeDocument/2006/relationships/slideLayout" Target="../slideLayouts/slideLayout72.xml"/><Relationship Id="rId46" Type="http://schemas.openxmlformats.org/officeDocument/2006/relationships/slideLayout" Target="../slideLayouts/slideLayout80.xml"/><Relationship Id="rId59" Type="http://schemas.openxmlformats.org/officeDocument/2006/relationships/slideLayout" Target="../slideLayouts/slideLayout93.xml"/><Relationship Id="rId67" Type="http://schemas.openxmlformats.org/officeDocument/2006/relationships/slideLayout" Target="../slideLayouts/slideLayout101.xml"/><Relationship Id="rId20" Type="http://schemas.openxmlformats.org/officeDocument/2006/relationships/slideLayout" Target="../slideLayouts/slideLayout54.xml"/><Relationship Id="rId41" Type="http://schemas.openxmlformats.org/officeDocument/2006/relationships/slideLayout" Target="../slideLayouts/slideLayout75.xml"/><Relationship Id="rId54" Type="http://schemas.openxmlformats.org/officeDocument/2006/relationships/slideLayout" Target="../slideLayouts/slideLayout88.xml"/><Relationship Id="rId62" Type="http://schemas.openxmlformats.org/officeDocument/2006/relationships/slideLayout" Target="../slideLayouts/slideLayout96.xml"/><Relationship Id="rId70" Type="http://schemas.openxmlformats.org/officeDocument/2006/relationships/slideLayout" Target="../slideLayouts/slideLayout104.xml"/><Relationship Id="rId75" Type="http://schemas.openxmlformats.org/officeDocument/2006/relationships/slideLayout" Target="../slideLayouts/slideLayout109.xml"/><Relationship Id="rId83" Type="http://schemas.openxmlformats.org/officeDocument/2006/relationships/slideLayout" Target="../slideLayouts/slideLayout117.xml"/><Relationship Id="rId88" Type="http://schemas.openxmlformats.org/officeDocument/2006/relationships/theme" Target="../theme/theme3.xml"/><Relationship Id="rId91" Type="http://schemas.openxmlformats.org/officeDocument/2006/relationships/oleObject" Target="../embeddings/oleObject1.bin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36" Type="http://schemas.openxmlformats.org/officeDocument/2006/relationships/slideLayout" Target="../slideLayouts/slideLayout70.xml"/><Relationship Id="rId49" Type="http://schemas.openxmlformats.org/officeDocument/2006/relationships/slideLayout" Target="../slideLayouts/slideLayout83.xml"/><Relationship Id="rId57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44.xml"/><Relationship Id="rId31" Type="http://schemas.openxmlformats.org/officeDocument/2006/relationships/slideLayout" Target="../slideLayouts/slideLayout65.xml"/><Relationship Id="rId44" Type="http://schemas.openxmlformats.org/officeDocument/2006/relationships/slideLayout" Target="../slideLayouts/slideLayout78.xml"/><Relationship Id="rId52" Type="http://schemas.openxmlformats.org/officeDocument/2006/relationships/slideLayout" Target="../slideLayouts/slideLayout86.xml"/><Relationship Id="rId60" Type="http://schemas.openxmlformats.org/officeDocument/2006/relationships/slideLayout" Target="../slideLayouts/slideLayout94.xml"/><Relationship Id="rId65" Type="http://schemas.openxmlformats.org/officeDocument/2006/relationships/slideLayout" Target="../slideLayouts/slideLayout99.xml"/><Relationship Id="rId73" Type="http://schemas.openxmlformats.org/officeDocument/2006/relationships/slideLayout" Target="../slideLayouts/slideLayout107.xml"/><Relationship Id="rId78" Type="http://schemas.openxmlformats.org/officeDocument/2006/relationships/slideLayout" Target="../slideLayouts/slideLayout112.xml"/><Relationship Id="rId81" Type="http://schemas.openxmlformats.org/officeDocument/2006/relationships/slideLayout" Target="../slideLayouts/slideLayout115.xml"/><Relationship Id="rId86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39" Type="http://schemas.openxmlformats.org/officeDocument/2006/relationships/slideLayout" Target="../slideLayouts/slideLayout73.xml"/><Relationship Id="rId34" Type="http://schemas.openxmlformats.org/officeDocument/2006/relationships/slideLayout" Target="../slideLayouts/slideLayout68.xml"/><Relationship Id="rId50" Type="http://schemas.openxmlformats.org/officeDocument/2006/relationships/slideLayout" Target="../slideLayouts/slideLayout84.xml"/><Relationship Id="rId55" Type="http://schemas.openxmlformats.org/officeDocument/2006/relationships/slideLayout" Target="../slideLayouts/slideLayout89.xml"/><Relationship Id="rId76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41.xml"/><Relationship Id="rId71" Type="http://schemas.openxmlformats.org/officeDocument/2006/relationships/slideLayout" Target="../slideLayouts/slideLayout105.xml"/><Relationship Id="rId92" Type="http://schemas.openxmlformats.org/officeDocument/2006/relationships/image" Target="../media/image16.emf"/><Relationship Id="rId2" Type="http://schemas.openxmlformats.org/officeDocument/2006/relationships/slideLayout" Target="../slideLayouts/slideLayout36.xml"/><Relationship Id="rId29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58.xml"/><Relationship Id="rId40" Type="http://schemas.openxmlformats.org/officeDocument/2006/relationships/slideLayout" Target="../slideLayouts/slideLayout74.xml"/><Relationship Id="rId45" Type="http://schemas.openxmlformats.org/officeDocument/2006/relationships/slideLayout" Target="../slideLayouts/slideLayout79.xml"/><Relationship Id="rId66" Type="http://schemas.openxmlformats.org/officeDocument/2006/relationships/slideLayout" Target="../slideLayouts/slideLayout100.xml"/><Relationship Id="rId87" Type="http://schemas.openxmlformats.org/officeDocument/2006/relationships/slideLayout" Target="../slideLayouts/slideLayout121.xml"/><Relationship Id="rId61" Type="http://schemas.openxmlformats.org/officeDocument/2006/relationships/slideLayout" Target="../slideLayouts/slideLayout95.xml"/><Relationship Id="rId82" Type="http://schemas.openxmlformats.org/officeDocument/2006/relationships/slideLayout" Target="../slideLayouts/slideLayout116.xml"/><Relationship Id="rId19" Type="http://schemas.openxmlformats.org/officeDocument/2006/relationships/slideLayout" Target="../slideLayouts/slideLayout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686593" y="6640603"/>
            <a:ext cx="5905864" cy="153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093197" y="6640603"/>
            <a:ext cx="17997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74400" y="6640603"/>
            <a:ext cx="508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bg object 17">
            <a:extLst>
              <a:ext uri="{FF2B5EF4-FFF2-40B4-BE49-F238E27FC236}">
                <a16:creationId xmlns:a16="http://schemas.microsoft.com/office/drawing/2014/main" id="{ECE20D46-A572-5656-2226-A65F8C9379E2}"/>
              </a:ext>
            </a:extLst>
          </p:cNvPr>
          <p:cNvSpPr/>
          <p:nvPr userDrawn="1"/>
        </p:nvSpPr>
        <p:spPr>
          <a:xfrm>
            <a:off x="8631" y="6040231"/>
            <a:ext cx="12192000" cy="508748"/>
          </a:xfrm>
          <a:custGeom>
            <a:avLst/>
            <a:gdLst>
              <a:gd name="connsiteX0" fmla="*/ 10058400 w 10058400"/>
              <a:gd name="connsiteY0" fmla="*/ 576580 h 576580"/>
              <a:gd name="connsiteX1" fmla="*/ 2574607 w 10058400"/>
              <a:gd name="connsiteY1" fmla="*/ 576580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01360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29828 w 10058400"/>
              <a:gd name="connsiteY2" fmla="*/ 0 h 576580"/>
              <a:gd name="connsiteX3" fmla="*/ 0 w 10058400"/>
              <a:gd name="connsiteY3" fmla="*/ 0 h 57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58400" h="576580">
                <a:moveTo>
                  <a:pt x="10058400" y="576580"/>
                </a:moveTo>
                <a:lnTo>
                  <a:pt x="2133366" y="557027"/>
                </a:lnTo>
                <a:lnTo>
                  <a:pt x="1929828" y="0"/>
                </a:lnTo>
                <a:lnTo>
                  <a:pt x="0" y="0"/>
                </a:lnTo>
              </a:path>
            </a:pathLst>
          </a:custGeom>
          <a:ln w="12699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9E4B01-105B-9F34-84DE-BD832E64389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288" y="6099848"/>
            <a:ext cx="1888315" cy="503551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CED4D5F-4043-DDD8-3B77-730E7E9E7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9308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6623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66" r:id="rId2"/>
    <p:sldLayoutId id="2147483668" r:id="rId3"/>
    <p:sldLayoutId id="2147483667" r:id="rId4"/>
    <p:sldLayoutId id="2147483669" r:id="rId5"/>
    <p:sldLayoutId id="2147483670" r:id="rId6"/>
    <p:sldLayoutId id="2147483671" r:id="rId7"/>
    <p:sldLayoutId id="2147483672" r:id="rId8"/>
    <p:sldLayoutId id="2147483678" r:id="rId9"/>
    <p:sldLayoutId id="2147483673" r:id="rId10"/>
    <p:sldLayoutId id="2147483674" r:id="rId11"/>
    <p:sldLayoutId id="2147483679" r:id="rId12"/>
    <p:sldLayoutId id="2147483680" r:id="rId13"/>
    <p:sldLayoutId id="2147483681" r:id="rId14"/>
    <p:sldLayoutId id="2147483683" r:id="rId15"/>
    <p:sldLayoutId id="2147483685" r:id="rId16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342900" indent="-342900" eaLnBrk="1" hangingPunct="1">
        <a:spcAft>
          <a:spcPts val="0"/>
        </a:spcAft>
        <a:buClrTx/>
        <a:buFont typeface="Arial" panose="020B0604020202020204" pitchFamily="34" charset="0"/>
        <a:buChar char="•"/>
        <a:defRPr sz="2400">
          <a:latin typeface="+mn-lt"/>
          <a:ea typeface="+mn-ea"/>
          <a:cs typeface="+mn-cs"/>
        </a:defRPr>
      </a:lvl1pPr>
      <a:lvl2pPr marL="746333" indent="-342900" eaLnBrk="1" hangingPunct="1">
        <a:spcAft>
          <a:spcPts val="0"/>
        </a:spcAft>
        <a:buFont typeface="Arial" panose="020B0604020202020204" pitchFamily="34" charset="0"/>
        <a:buChar char="•"/>
        <a:defRPr sz="2000">
          <a:latin typeface="+mn-lt"/>
          <a:ea typeface="+mn-ea"/>
          <a:cs typeface="+mn-cs"/>
        </a:defRPr>
      </a:lvl2pPr>
      <a:lvl3pPr marL="1092617" indent="-285750" eaLnBrk="1" hangingPunct="1">
        <a:spcAft>
          <a:spcPts val="0"/>
        </a:spcAft>
        <a:buFont typeface="Arial" panose="020B0604020202020204" pitchFamily="34" charset="0"/>
        <a:buChar char="•"/>
        <a:defRPr>
          <a:latin typeface="+mn-lt"/>
          <a:ea typeface="+mn-ea"/>
          <a:cs typeface="+mn-cs"/>
        </a:defRPr>
      </a:lvl3pPr>
      <a:lvl4pPr marL="1496050" indent="-285750" eaLnBrk="1" hangingPunct="1">
        <a:spcAft>
          <a:spcPts val="0"/>
        </a:spcAft>
        <a:buFont typeface="Arial" panose="020B0604020202020204" pitchFamily="34" charset="0"/>
        <a:buChar char="•"/>
        <a:defRPr>
          <a:latin typeface="+mn-lt"/>
          <a:ea typeface="+mn-ea"/>
          <a:cs typeface="+mn-cs"/>
        </a:defRPr>
      </a:lvl4pPr>
      <a:lvl5pPr marL="1899483" indent="-285750" eaLnBrk="1" hangingPunct="1">
        <a:spcAft>
          <a:spcPts val="0"/>
        </a:spcAft>
        <a:buFont typeface="Arial" panose="020B0604020202020204" pitchFamily="34" charset="0"/>
        <a:buChar char="•"/>
        <a:defRPr sz="1600">
          <a:latin typeface="+mn-lt"/>
          <a:ea typeface="+mn-ea"/>
          <a:cs typeface="+mn-cs"/>
        </a:defRPr>
      </a:lvl5pPr>
      <a:lvl6pPr marL="2017166" eaLnBrk="1" hangingPunct="1">
        <a:defRPr>
          <a:latin typeface="+mn-lt"/>
          <a:ea typeface="+mn-ea"/>
          <a:cs typeface="+mn-cs"/>
        </a:defRPr>
      </a:lvl6pPr>
      <a:lvl7pPr marL="2420600" eaLnBrk="1" hangingPunct="1">
        <a:defRPr>
          <a:latin typeface="+mn-lt"/>
          <a:ea typeface="+mn-ea"/>
          <a:cs typeface="+mn-cs"/>
        </a:defRPr>
      </a:lvl7pPr>
      <a:lvl8pPr marL="2824033" eaLnBrk="1" hangingPunct="1">
        <a:defRPr>
          <a:latin typeface="+mn-lt"/>
          <a:ea typeface="+mn-ea"/>
          <a:cs typeface="+mn-cs"/>
        </a:defRPr>
      </a:lvl8pPr>
      <a:lvl9pPr marL="3227466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03433" eaLnBrk="1" hangingPunct="1">
        <a:defRPr>
          <a:latin typeface="+mn-lt"/>
          <a:ea typeface="+mn-ea"/>
          <a:cs typeface="+mn-cs"/>
        </a:defRPr>
      </a:lvl2pPr>
      <a:lvl3pPr marL="806867" eaLnBrk="1" hangingPunct="1">
        <a:defRPr>
          <a:latin typeface="+mn-lt"/>
          <a:ea typeface="+mn-ea"/>
          <a:cs typeface="+mn-cs"/>
        </a:defRPr>
      </a:lvl3pPr>
      <a:lvl4pPr marL="1210300" eaLnBrk="1" hangingPunct="1">
        <a:defRPr>
          <a:latin typeface="+mn-lt"/>
          <a:ea typeface="+mn-ea"/>
          <a:cs typeface="+mn-cs"/>
        </a:defRPr>
      </a:lvl4pPr>
      <a:lvl5pPr marL="1613733" eaLnBrk="1" hangingPunct="1">
        <a:defRPr>
          <a:latin typeface="+mn-lt"/>
          <a:ea typeface="+mn-ea"/>
          <a:cs typeface="+mn-cs"/>
        </a:defRPr>
      </a:lvl5pPr>
      <a:lvl6pPr marL="2017166" eaLnBrk="1" hangingPunct="1">
        <a:defRPr>
          <a:latin typeface="+mn-lt"/>
          <a:ea typeface="+mn-ea"/>
          <a:cs typeface="+mn-cs"/>
        </a:defRPr>
      </a:lvl6pPr>
      <a:lvl7pPr marL="2420600" eaLnBrk="1" hangingPunct="1">
        <a:defRPr>
          <a:latin typeface="+mn-lt"/>
          <a:ea typeface="+mn-ea"/>
          <a:cs typeface="+mn-cs"/>
        </a:defRPr>
      </a:lvl7pPr>
      <a:lvl8pPr marL="2824033" eaLnBrk="1" hangingPunct="1">
        <a:defRPr>
          <a:latin typeface="+mn-lt"/>
          <a:ea typeface="+mn-ea"/>
          <a:cs typeface="+mn-cs"/>
        </a:defRPr>
      </a:lvl8pPr>
      <a:lvl9pPr marL="3227466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8" userDrawn="1">
          <p15:clr>
            <a:srgbClr val="F26B43"/>
          </p15:clr>
        </p15:guide>
        <p15:guide id="2" pos="7488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168" userDrawn="1">
          <p15:clr>
            <a:srgbClr val="F26B43"/>
          </p15:clr>
        </p15:guide>
        <p15:guide id="5" orient="horz" pos="39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822960" y="182880"/>
            <a:ext cx="10560941" cy="914400"/>
          </a:xfrm>
          <a:prstGeom prst="rect">
            <a:avLst/>
          </a:prstGeom>
        </p:spPr>
        <p:txBody>
          <a:bodyPr wrap="square" lIns="91440" tIns="0" rIns="91440" bIns="0" anchor="b" anchorCtr="0">
            <a:spAutoFit/>
          </a:bodyPr>
          <a:lstStyle>
            <a:lvl1pPr>
              <a:defRPr sz="3000" b="1" i="0">
                <a:solidFill>
                  <a:srgbClr val="1CA6DF"/>
                </a:solidFill>
                <a:latin typeface="Avenir LT Std 65 Medium"/>
                <a:cs typeface="Avenir LT Std 65 Medium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2686593" y="6640603"/>
            <a:ext cx="5905864" cy="153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9093197" y="6640603"/>
            <a:ext cx="1799771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074400" y="6640603"/>
            <a:ext cx="508000" cy="15388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bg object 17">
            <a:extLst>
              <a:ext uri="{FF2B5EF4-FFF2-40B4-BE49-F238E27FC236}">
                <a16:creationId xmlns:a16="http://schemas.microsoft.com/office/drawing/2014/main" id="{ECE20D46-A572-5656-2226-A65F8C9379E2}"/>
              </a:ext>
            </a:extLst>
          </p:cNvPr>
          <p:cNvSpPr/>
          <p:nvPr userDrawn="1"/>
        </p:nvSpPr>
        <p:spPr>
          <a:xfrm>
            <a:off x="8631" y="6040231"/>
            <a:ext cx="12192000" cy="508748"/>
          </a:xfrm>
          <a:custGeom>
            <a:avLst/>
            <a:gdLst>
              <a:gd name="connsiteX0" fmla="*/ 10058400 w 10058400"/>
              <a:gd name="connsiteY0" fmla="*/ 576580 h 576580"/>
              <a:gd name="connsiteX1" fmla="*/ 2574607 w 10058400"/>
              <a:gd name="connsiteY1" fmla="*/ 576580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801725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01360 w 10058400"/>
              <a:gd name="connsiteY2" fmla="*/ 0 h 576580"/>
              <a:gd name="connsiteX3" fmla="*/ 0 w 10058400"/>
              <a:gd name="connsiteY3" fmla="*/ 0 h 576580"/>
              <a:gd name="connsiteX0" fmla="*/ 10058400 w 10058400"/>
              <a:gd name="connsiteY0" fmla="*/ 576580 h 576580"/>
              <a:gd name="connsiteX1" fmla="*/ 2133366 w 10058400"/>
              <a:gd name="connsiteY1" fmla="*/ 557027 h 576580"/>
              <a:gd name="connsiteX2" fmla="*/ 1929828 w 10058400"/>
              <a:gd name="connsiteY2" fmla="*/ 0 h 576580"/>
              <a:gd name="connsiteX3" fmla="*/ 0 w 10058400"/>
              <a:gd name="connsiteY3" fmla="*/ 0 h 576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58400" h="576580">
                <a:moveTo>
                  <a:pt x="10058400" y="576580"/>
                </a:moveTo>
                <a:lnTo>
                  <a:pt x="2133366" y="557027"/>
                </a:lnTo>
                <a:lnTo>
                  <a:pt x="1929828" y="0"/>
                </a:lnTo>
                <a:lnTo>
                  <a:pt x="0" y="0"/>
                </a:lnTo>
              </a:path>
            </a:pathLst>
          </a:custGeom>
          <a:ln w="12699">
            <a:solidFill>
              <a:srgbClr val="2460AD"/>
            </a:solidFill>
          </a:ln>
        </p:spPr>
        <p:txBody>
          <a:bodyPr wrap="square" lIns="0" tIns="0" rIns="0" bIns="0" rtlCol="0"/>
          <a:lstStyle/>
          <a:p>
            <a:endParaRPr sz="1588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89E4B01-105B-9F34-84DE-BD832E643896}"/>
              </a:ext>
            </a:extLst>
          </p:cNvPr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5288" y="6099848"/>
            <a:ext cx="1888315" cy="503551"/>
          </a:xfrm>
          <a:prstGeom prst="rect">
            <a:avLst/>
          </a:prstGeom>
        </p:spPr>
      </p:pic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CED4D5F-4043-DDD8-3B77-730E7E9E727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393086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1930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703" r:id="rId14"/>
    <p:sldLayoutId id="2147483704" r:id="rId15"/>
    <p:sldLayoutId id="2147483705" r:id="rId16"/>
    <p:sldLayoutId id="2147483706" r:id="rId17"/>
    <p:sldLayoutId id="2147483707" r:id="rId18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342900" indent="-342900" eaLnBrk="1" hangingPunct="1">
        <a:spcAft>
          <a:spcPts val="0"/>
        </a:spcAft>
        <a:buClrTx/>
        <a:buFont typeface="Arial" panose="020B0604020202020204" pitchFamily="34" charset="0"/>
        <a:buChar char="•"/>
        <a:defRPr sz="2400">
          <a:latin typeface="+mn-lt"/>
          <a:ea typeface="+mn-ea"/>
          <a:cs typeface="+mn-cs"/>
        </a:defRPr>
      </a:lvl1pPr>
      <a:lvl2pPr marL="746333" indent="-342900" eaLnBrk="1" hangingPunct="1">
        <a:spcAft>
          <a:spcPts val="0"/>
        </a:spcAft>
        <a:buFont typeface="Arial" panose="020B0604020202020204" pitchFamily="34" charset="0"/>
        <a:buChar char="•"/>
        <a:defRPr sz="2000">
          <a:latin typeface="+mn-lt"/>
          <a:ea typeface="+mn-ea"/>
          <a:cs typeface="+mn-cs"/>
        </a:defRPr>
      </a:lvl2pPr>
      <a:lvl3pPr marL="1092617" indent="-285750" eaLnBrk="1" hangingPunct="1">
        <a:spcAft>
          <a:spcPts val="0"/>
        </a:spcAft>
        <a:buFont typeface="Arial" panose="020B0604020202020204" pitchFamily="34" charset="0"/>
        <a:buChar char="•"/>
        <a:defRPr>
          <a:latin typeface="+mn-lt"/>
          <a:ea typeface="+mn-ea"/>
          <a:cs typeface="+mn-cs"/>
        </a:defRPr>
      </a:lvl3pPr>
      <a:lvl4pPr marL="1496050" indent="-285750" eaLnBrk="1" hangingPunct="1">
        <a:spcAft>
          <a:spcPts val="0"/>
        </a:spcAft>
        <a:buFont typeface="Arial" panose="020B0604020202020204" pitchFamily="34" charset="0"/>
        <a:buChar char="•"/>
        <a:defRPr>
          <a:latin typeface="+mn-lt"/>
          <a:ea typeface="+mn-ea"/>
          <a:cs typeface="+mn-cs"/>
        </a:defRPr>
      </a:lvl4pPr>
      <a:lvl5pPr marL="1899483" indent="-285750" eaLnBrk="1" hangingPunct="1">
        <a:spcAft>
          <a:spcPts val="0"/>
        </a:spcAft>
        <a:buFont typeface="Arial" panose="020B0604020202020204" pitchFamily="34" charset="0"/>
        <a:buChar char="•"/>
        <a:defRPr sz="1600">
          <a:latin typeface="+mn-lt"/>
          <a:ea typeface="+mn-ea"/>
          <a:cs typeface="+mn-cs"/>
        </a:defRPr>
      </a:lvl5pPr>
      <a:lvl6pPr marL="2017166" eaLnBrk="1" hangingPunct="1">
        <a:defRPr>
          <a:latin typeface="+mn-lt"/>
          <a:ea typeface="+mn-ea"/>
          <a:cs typeface="+mn-cs"/>
        </a:defRPr>
      </a:lvl6pPr>
      <a:lvl7pPr marL="2420600" eaLnBrk="1" hangingPunct="1">
        <a:defRPr>
          <a:latin typeface="+mn-lt"/>
          <a:ea typeface="+mn-ea"/>
          <a:cs typeface="+mn-cs"/>
        </a:defRPr>
      </a:lvl7pPr>
      <a:lvl8pPr marL="2824033" eaLnBrk="1" hangingPunct="1">
        <a:defRPr>
          <a:latin typeface="+mn-lt"/>
          <a:ea typeface="+mn-ea"/>
          <a:cs typeface="+mn-cs"/>
        </a:defRPr>
      </a:lvl8pPr>
      <a:lvl9pPr marL="3227466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403433" eaLnBrk="1" hangingPunct="1">
        <a:defRPr>
          <a:latin typeface="+mn-lt"/>
          <a:ea typeface="+mn-ea"/>
          <a:cs typeface="+mn-cs"/>
        </a:defRPr>
      </a:lvl2pPr>
      <a:lvl3pPr marL="806867" eaLnBrk="1" hangingPunct="1">
        <a:defRPr>
          <a:latin typeface="+mn-lt"/>
          <a:ea typeface="+mn-ea"/>
          <a:cs typeface="+mn-cs"/>
        </a:defRPr>
      </a:lvl3pPr>
      <a:lvl4pPr marL="1210300" eaLnBrk="1" hangingPunct="1">
        <a:defRPr>
          <a:latin typeface="+mn-lt"/>
          <a:ea typeface="+mn-ea"/>
          <a:cs typeface="+mn-cs"/>
        </a:defRPr>
      </a:lvl4pPr>
      <a:lvl5pPr marL="1613733" eaLnBrk="1" hangingPunct="1">
        <a:defRPr>
          <a:latin typeface="+mn-lt"/>
          <a:ea typeface="+mn-ea"/>
          <a:cs typeface="+mn-cs"/>
        </a:defRPr>
      </a:lvl5pPr>
      <a:lvl6pPr marL="2017166" eaLnBrk="1" hangingPunct="1">
        <a:defRPr>
          <a:latin typeface="+mn-lt"/>
          <a:ea typeface="+mn-ea"/>
          <a:cs typeface="+mn-cs"/>
        </a:defRPr>
      </a:lvl6pPr>
      <a:lvl7pPr marL="2420600" eaLnBrk="1" hangingPunct="1">
        <a:defRPr>
          <a:latin typeface="+mn-lt"/>
          <a:ea typeface="+mn-ea"/>
          <a:cs typeface="+mn-cs"/>
        </a:defRPr>
      </a:lvl7pPr>
      <a:lvl8pPr marL="2824033" eaLnBrk="1" hangingPunct="1">
        <a:defRPr>
          <a:latin typeface="+mn-lt"/>
          <a:ea typeface="+mn-ea"/>
          <a:cs typeface="+mn-cs"/>
        </a:defRPr>
      </a:lvl8pPr>
      <a:lvl9pPr marL="3227466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68">
          <p15:clr>
            <a:srgbClr val="F26B43"/>
          </p15:clr>
        </p15:guide>
        <p15:guide id="2" pos="7488">
          <p15:clr>
            <a:srgbClr val="F26B43"/>
          </p15:clr>
        </p15:guide>
        <p15:guide id="3" pos="3840">
          <p15:clr>
            <a:srgbClr val="F26B43"/>
          </p15:clr>
        </p15:guide>
        <p15:guide id="4" pos="168">
          <p15:clr>
            <a:srgbClr val="F26B43"/>
          </p15:clr>
        </p15:guide>
        <p15:guide id="5" orient="horz" pos="398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89"/>
            </p:custDataLst>
            <p:extLst>
              <p:ext uri="{D42A27DB-BD31-4B8C-83A1-F6EECF244321}">
                <p14:modId xmlns:p14="http://schemas.microsoft.com/office/powerpoint/2010/main" val="7345918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1" imgW="270" imgH="270" progId="TCLayout.ActiveDocument.1">
                  <p:embed/>
                </p:oleObj>
              </mc:Choice>
              <mc:Fallback>
                <p:oleObj name="think-cell Slide" r:id="rId91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554736" y="487172"/>
            <a:ext cx="8141029" cy="731520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Autofit/>
          </a:bodyPr>
          <a:lstStyle/>
          <a:p>
            <a:r>
              <a:rPr lang="en-US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1093470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Level six</a:t>
            </a:r>
          </a:p>
          <a:p>
            <a:pPr lvl="6"/>
            <a:r>
              <a:rPr lang="en-US"/>
              <a:t>Level seven</a:t>
            </a:r>
          </a:p>
          <a:p>
            <a:pPr lvl="7"/>
            <a:r>
              <a:rPr lang="en-US"/>
              <a:t>Level eight</a:t>
            </a:r>
          </a:p>
          <a:p>
            <a:pPr lvl="8"/>
            <a:r>
              <a:rPr lang="en-US"/>
              <a:t>Level nine</a:t>
            </a:r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FBD9EB1A-7D60-4BD7-B7D6-EE3519CC14AF}"/>
              </a:ext>
            </a:extLst>
          </p:cNvPr>
          <p:cNvSpPr>
            <a:spLocks noChangeArrowheads="1"/>
          </p:cNvSpPr>
          <p:nvPr userDrawn="1">
            <p:custDataLst>
              <p:tags r:id="rId90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127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  <p:sldLayoutId id="2147483726" r:id="rId15"/>
    <p:sldLayoutId id="2147483727" r:id="rId16"/>
    <p:sldLayoutId id="2147483728" r:id="rId17"/>
    <p:sldLayoutId id="2147483729" r:id="rId18"/>
    <p:sldLayoutId id="2147483730" r:id="rId19"/>
    <p:sldLayoutId id="2147483731" r:id="rId20"/>
    <p:sldLayoutId id="2147483732" r:id="rId21"/>
    <p:sldLayoutId id="2147483733" r:id="rId22"/>
    <p:sldLayoutId id="2147483734" r:id="rId23"/>
    <p:sldLayoutId id="2147483735" r:id="rId24"/>
    <p:sldLayoutId id="2147483736" r:id="rId25"/>
    <p:sldLayoutId id="2147483737" r:id="rId26"/>
    <p:sldLayoutId id="2147483738" r:id="rId27"/>
    <p:sldLayoutId id="2147483739" r:id="rId28"/>
    <p:sldLayoutId id="2147483740" r:id="rId29"/>
    <p:sldLayoutId id="2147483741" r:id="rId30"/>
    <p:sldLayoutId id="2147483742" r:id="rId31"/>
    <p:sldLayoutId id="2147483743" r:id="rId32"/>
    <p:sldLayoutId id="2147483744" r:id="rId33"/>
    <p:sldLayoutId id="2147483745" r:id="rId34"/>
    <p:sldLayoutId id="2147483746" r:id="rId35"/>
    <p:sldLayoutId id="2147483747" r:id="rId36"/>
    <p:sldLayoutId id="2147483748" r:id="rId37"/>
    <p:sldLayoutId id="2147483749" r:id="rId38"/>
    <p:sldLayoutId id="2147483750" r:id="rId39"/>
    <p:sldLayoutId id="2147483751" r:id="rId40"/>
    <p:sldLayoutId id="2147483752" r:id="rId41"/>
    <p:sldLayoutId id="2147483753" r:id="rId42"/>
    <p:sldLayoutId id="2147483754" r:id="rId43"/>
    <p:sldLayoutId id="2147483755" r:id="rId44"/>
    <p:sldLayoutId id="2147483756" r:id="rId45"/>
    <p:sldLayoutId id="2147483757" r:id="rId46"/>
    <p:sldLayoutId id="2147483758" r:id="rId47"/>
    <p:sldLayoutId id="2147483759" r:id="rId48"/>
    <p:sldLayoutId id="2147483760" r:id="rId49"/>
    <p:sldLayoutId id="2147483761" r:id="rId50"/>
    <p:sldLayoutId id="2147483762" r:id="rId51"/>
    <p:sldLayoutId id="2147483763" r:id="rId52"/>
    <p:sldLayoutId id="2147483764" r:id="rId53"/>
    <p:sldLayoutId id="2147483765" r:id="rId54"/>
    <p:sldLayoutId id="2147483766" r:id="rId55"/>
    <p:sldLayoutId id="2147483767" r:id="rId56"/>
    <p:sldLayoutId id="2147483768" r:id="rId57"/>
    <p:sldLayoutId id="2147483769" r:id="rId58"/>
    <p:sldLayoutId id="2147483770" r:id="rId59"/>
    <p:sldLayoutId id="2147483771" r:id="rId60"/>
    <p:sldLayoutId id="2147483772" r:id="rId61"/>
    <p:sldLayoutId id="2147483773" r:id="rId62"/>
    <p:sldLayoutId id="2147483774" r:id="rId63"/>
    <p:sldLayoutId id="2147483775" r:id="rId64"/>
    <p:sldLayoutId id="2147483776" r:id="rId65"/>
    <p:sldLayoutId id="2147483777" r:id="rId66"/>
    <p:sldLayoutId id="2147483778" r:id="rId67"/>
    <p:sldLayoutId id="2147483779" r:id="rId68"/>
    <p:sldLayoutId id="2147483780" r:id="rId69"/>
    <p:sldLayoutId id="2147483781" r:id="rId70"/>
    <p:sldLayoutId id="2147483782" r:id="rId71"/>
    <p:sldLayoutId id="2147483783" r:id="rId72"/>
    <p:sldLayoutId id="2147483784" r:id="rId73"/>
    <p:sldLayoutId id="2147483785" r:id="rId74"/>
    <p:sldLayoutId id="2147483786" r:id="rId75"/>
    <p:sldLayoutId id="2147483787" r:id="rId76"/>
    <p:sldLayoutId id="2147483788" r:id="rId77"/>
    <p:sldLayoutId id="2147483789" r:id="rId78"/>
    <p:sldLayoutId id="2147483790" r:id="rId79"/>
    <p:sldLayoutId id="2147483791" r:id="rId80"/>
    <p:sldLayoutId id="2147483792" r:id="rId81"/>
    <p:sldLayoutId id="2147483793" r:id="rId82"/>
    <p:sldLayoutId id="2147483794" r:id="rId83"/>
    <p:sldLayoutId id="2147483795" r:id="rId84"/>
    <p:sldLayoutId id="2147483796" r:id="rId85"/>
    <p:sldLayoutId id="2147483797" r:id="rId86"/>
    <p:sldLayoutId id="2147483798" r:id="rId87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Calibri" panose="020F050202020403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microsoft.com/office/2007/relationships/hdphoto" Target="../media/hdphoto1.wdp"/><Relationship Id="rId7" Type="http://schemas.openxmlformats.org/officeDocument/2006/relationships/image" Target="../media/image41.sv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0.png"/><Relationship Id="rId5" Type="http://schemas.openxmlformats.org/officeDocument/2006/relationships/image" Target="../media/image39.sv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3.xml"/><Relationship Id="rId4" Type="http://schemas.openxmlformats.org/officeDocument/2006/relationships/image" Target="../media/image4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3.xml"/><Relationship Id="rId6" Type="http://schemas.openxmlformats.org/officeDocument/2006/relationships/image" Target="../media/image48.svg"/><Relationship Id="rId5" Type="http://schemas.openxmlformats.org/officeDocument/2006/relationships/image" Target="../media/image47.png"/><Relationship Id="rId4" Type="http://schemas.openxmlformats.org/officeDocument/2006/relationships/image" Target="../media/image46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mailto:jeremy.avins@hq.doe.gov" TargetMode="External"/><Relationship Id="rId1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321FEA-E5BB-EEA0-04F3-F5F7EA1C7C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54842" y="1200623"/>
            <a:ext cx="8319094" cy="2172208"/>
          </a:xfrm>
        </p:spPr>
        <p:txBody>
          <a:bodyPr/>
          <a:lstStyle/>
          <a:p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2EBE14-55BA-5288-4FCE-445D59C3BF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32327" y="3680298"/>
            <a:ext cx="8319100" cy="1506392"/>
          </a:xfrm>
        </p:spPr>
        <p:txBody>
          <a:bodyPr/>
          <a:lstStyle/>
          <a:p>
            <a:endParaRPr lang="en-US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514593E-662C-9198-AEBC-AF10C0257A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alphaModFix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-28000"/>
                    </a14:imgEffect>
                    <a14:imgEffect>
                      <a14:saturation sat="0"/>
                    </a14:imgEffect>
                    <a14:imgEffect>
                      <a14:brightnessContrast bright="-1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t="478" b="2120"/>
          <a:stretch/>
        </p:blipFill>
        <p:spPr>
          <a:xfrm>
            <a:off x="-9881" y="-1"/>
            <a:ext cx="12196478" cy="6857999"/>
          </a:xfrm>
          <a:prstGeom prst="rect">
            <a:avLst/>
          </a:prstGeom>
        </p:spPr>
      </p:pic>
      <p:sp>
        <p:nvSpPr>
          <p:cNvPr id="6" name="Rounded Rectangle 34">
            <a:extLst>
              <a:ext uri="{FF2B5EF4-FFF2-40B4-BE49-F238E27FC236}">
                <a16:creationId xmlns:a16="http://schemas.microsoft.com/office/drawing/2014/main" id="{ABB2C5AD-F90A-43AD-A997-FE544FAAA303}"/>
              </a:ext>
            </a:extLst>
          </p:cNvPr>
          <p:cNvSpPr/>
          <p:nvPr/>
        </p:nvSpPr>
        <p:spPr>
          <a:xfrm>
            <a:off x="221547" y="2714037"/>
            <a:ext cx="3749040" cy="3931920"/>
          </a:xfrm>
          <a:prstGeom prst="roundRect">
            <a:avLst>
              <a:gd name="adj" fmla="val 5573"/>
            </a:avLst>
          </a:prstGeom>
          <a:solidFill>
            <a:srgbClr val="9A9A9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0" rIns="91440" bIns="0" rtlCol="0" anchor="t"/>
          <a:lstStyle/>
          <a:p>
            <a:pPr algn="ctr">
              <a:lnSpc>
                <a:spcPct val="95000"/>
              </a:lnSpc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orkforce Investing</a:t>
            </a:r>
            <a:endParaRPr lang="en-US" sz="2000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2000" i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velop a skilled, diverse workforce by funding cutting-edge energy manufacturing training and advancement</a:t>
            </a: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kern="0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ial Assessment Centers expansion</a:t>
            </a: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kern="0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V conversion workforce</a:t>
            </a: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eat pump workforce development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0FA8683-43F1-83D0-FD5D-DE3D8E543E30}"/>
              </a:ext>
            </a:extLst>
          </p:cNvPr>
          <p:cNvSpPr txBox="1">
            <a:spLocks/>
          </p:cNvSpPr>
          <p:nvPr/>
        </p:nvSpPr>
        <p:spPr>
          <a:xfrm>
            <a:off x="408373" y="962359"/>
            <a:ext cx="11857390" cy="731521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8000"/>
              </a:prstClr>
            </a:outerShdw>
          </a:effectLst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lang="en-US" sz="1800" dirty="0">
                <a:solidFill>
                  <a:schemeClr val="bg1"/>
                </a:solidFill>
                <a:latin typeface="Trebuchet MS"/>
              </a:rPr>
              <a:t>MESC is the frontline of clean energy capital deployment to accelerate America’s transition to a resilient, equitable energy future via $20B+ of </a:t>
            </a:r>
            <a:r>
              <a:rPr lang="en-US" sz="1800" b="1" dirty="0">
                <a:solidFill>
                  <a:srgbClr val="F8BE44"/>
                </a:solidFill>
                <a:latin typeface="Trebuchet MS"/>
              </a:rPr>
              <a:t>direct investment in manufacturing capacity and workforce</a:t>
            </a:r>
            <a:endParaRPr lang="en-US" sz="1800" dirty="0">
              <a:solidFill>
                <a:schemeClr val="accent5"/>
              </a:solidFill>
              <a:latin typeface="Trebuchet M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E972036-C1A0-DDCE-70B7-9AE3E485829D}"/>
              </a:ext>
            </a:extLst>
          </p:cNvPr>
          <p:cNvSpPr txBox="1">
            <a:spLocks/>
          </p:cNvSpPr>
          <p:nvPr/>
        </p:nvSpPr>
        <p:spPr>
          <a:xfrm>
            <a:off x="2806262" y="186256"/>
            <a:ext cx="9073114" cy="7315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srgbClr val="1A325D">
                      <a:alpha val="34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U.S. Department of Energy’s </a:t>
            </a:r>
          </a:p>
          <a:p>
            <a:r>
              <a:rPr lang="en-US" sz="2900" b="1" dirty="0">
                <a:solidFill>
                  <a:schemeClr val="bg1"/>
                </a:solidFill>
                <a:effectLst>
                  <a:outerShdw blurRad="50800" dist="38100" dir="2700000" algn="tl" rotWithShape="0">
                    <a:srgbClr val="1A325D">
                      <a:alpha val="34000"/>
                    </a:srgb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  <a:t>Office of Manufacturing and Energy Supply Chains (MESC)</a:t>
            </a:r>
          </a:p>
        </p:txBody>
      </p:sp>
      <p:sp>
        <p:nvSpPr>
          <p:cNvPr id="9" name="Rounded Rectangle 34">
            <a:extLst>
              <a:ext uri="{FF2B5EF4-FFF2-40B4-BE49-F238E27FC236}">
                <a16:creationId xmlns:a16="http://schemas.microsoft.com/office/drawing/2014/main" id="{9957BC44-75C7-7634-5C28-14393BEF1B6F}"/>
              </a:ext>
            </a:extLst>
          </p:cNvPr>
          <p:cNvSpPr/>
          <p:nvPr/>
        </p:nvSpPr>
        <p:spPr>
          <a:xfrm>
            <a:off x="4175941" y="2714037"/>
            <a:ext cx="3749040" cy="3931920"/>
          </a:xfrm>
          <a:prstGeom prst="roundRect">
            <a:avLst>
              <a:gd name="adj" fmla="val 5573"/>
            </a:avLst>
          </a:prstGeom>
          <a:solidFill>
            <a:srgbClr val="9A9A9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0" rIns="91440" bIns="0" rtlCol="0" anchor="t"/>
          <a:lstStyle/>
          <a:p>
            <a:pPr algn="ctr">
              <a:lnSpc>
                <a:spcPct val="95000"/>
              </a:lnSpc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nufacturing Investing</a:t>
            </a:r>
            <a:endParaRPr lang="en-US" sz="2000" kern="0" dirty="0">
              <a:solidFill>
                <a:schemeClr val="bg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2000" i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cure supply chains to modernize the nation's energy infrastructure and support an equitable energy transition</a:t>
            </a: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kern="0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ttery/EV Manufacturing, Materials, &amp; Recycling</a:t>
            </a: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b="1" kern="0" dirty="0">
                <a:solidFill>
                  <a:srgbClr val="FFC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8C investment tax credits</a:t>
            </a: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vanced Energy Manufacturing &amp; Recycling</a:t>
            </a:r>
          </a:p>
        </p:txBody>
      </p:sp>
      <p:sp>
        <p:nvSpPr>
          <p:cNvPr id="10" name="Rounded Rectangle 34">
            <a:extLst>
              <a:ext uri="{FF2B5EF4-FFF2-40B4-BE49-F238E27FC236}">
                <a16:creationId xmlns:a16="http://schemas.microsoft.com/office/drawing/2014/main" id="{B6CB1E98-3F38-E663-7E0F-64B8460C9094}"/>
              </a:ext>
            </a:extLst>
          </p:cNvPr>
          <p:cNvSpPr/>
          <p:nvPr/>
        </p:nvSpPr>
        <p:spPr>
          <a:xfrm>
            <a:off x="8130336" y="2714037"/>
            <a:ext cx="3749040" cy="3931920"/>
          </a:xfrm>
          <a:prstGeom prst="roundRect">
            <a:avLst>
              <a:gd name="adj" fmla="val 5573"/>
            </a:avLst>
          </a:prstGeom>
          <a:solidFill>
            <a:srgbClr val="9A9A9A">
              <a:alpha val="8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1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0" rIns="91440" bIns="0" rtlCol="0" anchor="t"/>
          <a:lstStyle/>
          <a:p>
            <a:pPr algn="ctr">
              <a:lnSpc>
                <a:spcPct val="95000"/>
              </a:lnSpc>
            </a:pPr>
            <a:r>
              <a:rPr lang="en-US" sz="2000" b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y Chain Analytics</a:t>
            </a:r>
          </a:p>
          <a:p>
            <a:pPr>
              <a:lnSpc>
                <a:spcPct val="95000"/>
              </a:lnSpc>
              <a:spcBef>
                <a:spcPts val="600"/>
              </a:spcBef>
            </a:pPr>
            <a:r>
              <a:rPr lang="en-US" sz="2000" i="1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ild models to support DOE strategy and investments, and collaboration with industry</a:t>
            </a:r>
            <a:br>
              <a:rPr lang="en-US" sz="2000" i="1" kern="0" dirty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2000" i="1" kern="0" dirty="0">
              <a:solidFill>
                <a:schemeClr val="bg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pply chain vulnerability modeling</a:t>
            </a:r>
          </a:p>
          <a:p>
            <a:pPr marL="342900" indent="-342900">
              <a:lnSpc>
                <a:spcPct val="9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2000" kern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ial tech investment analysis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AD526DE-7BF1-20CD-6346-B2FDD2E00876}"/>
              </a:ext>
            </a:extLst>
          </p:cNvPr>
          <p:cNvSpPr/>
          <p:nvPr/>
        </p:nvSpPr>
        <p:spPr>
          <a:xfrm>
            <a:off x="1548887" y="2064784"/>
            <a:ext cx="1094361" cy="1094359"/>
          </a:xfrm>
          <a:prstGeom prst="ellipse">
            <a:avLst/>
          </a:prstGeom>
          <a:solidFill>
            <a:schemeClr val="tx1">
              <a:alpha val="50000"/>
            </a:schemeClr>
          </a:solidFill>
          <a:ln w="38100">
            <a:gradFill flip="none" rotWithShape="1">
              <a:gsLst>
                <a:gs pos="0">
                  <a:srgbClr val="FFC000"/>
                </a:gs>
                <a:gs pos="100000">
                  <a:srgbClr val="A5A5A5"/>
                </a:gs>
              </a:gsLst>
              <a:lin ang="27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kern="0" dirty="0">
              <a:solidFill>
                <a:schemeClr val="bg1">
                  <a:lumMod val="50000"/>
                </a:schemeClr>
              </a:solidFill>
            </a:endParaRP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C51CB20-B888-EA48-ADE8-C45607FBB91E}"/>
              </a:ext>
            </a:extLst>
          </p:cNvPr>
          <p:cNvGrpSpPr/>
          <p:nvPr/>
        </p:nvGrpSpPr>
        <p:grpSpPr>
          <a:xfrm>
            <a:off x="5503281" y="2064784"/>
            <a:ext cx="1094361" cy="1094359"/>
            <a:chOff x="5630767" y="2176501"/>
            <a:chExt cx="1094361" cy="1094359"/>
          </a:xfrm>
        </p:grpSpPr>
        <p:sp>
          <p:nvSpPr>
            <p:cNvPr id="17" name="Oval 16">
              <a:extLst>
                <a:ext uri="{FF2B5EF4-FFF2-40B4-BE49-F238E27FC236}">
                  <a16:creationId xmlns:a16="http://schemas.microsoft.com/office/drawing/2014/main" id="{615E984F-7198-6047-E5E3-C706BFC43B35}"/>
                </a:ext>
              </a:extLst>
            </p:cNvPr>
            <p:cNvSpPr/>
            <p:nvPr/>
          </p:nvSpPr>
          <p:spPr>
            <a:xfrm>
              <a:off x="5630767" y="2176501"/>
              <a:ext cx="1094361" cy="1094359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38100">
              <a:gradFill flip="none" rotWithShape="1">
                <a:gsLst>
                  <a:gs pos="0">
                    <a:srgbClr val="FFC000"/>
                  </a:gs>
                  <a:gs pos="100000">
                    <a:srgbClr val="A5A5A5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20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19" name="Graphic 18" descr="Robot Hand with solid fill">
              <a:extLst>
                <a:ext uri="{FF2B5EF4-FFF2-40B4-BE49-F238E27FC236}">
                  <a16:creationId xmlns:a16="http://schemas.microsoft.com/office/drawing/2014/main" id="{260796CD-4E0C-5601-95A4-549660ABCEE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5832113" y="2280011"/>
              <a:ext cx="831911" cy="831911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A0395ACD-C862-3D3E-54AE-DADF6EE2C3EF}"/>
              </a:ext>
            </a:extLst>
          </p:cNvPr>
          <p:cNvGrpSpPr/>
          <p:nvPr/>
        </p:nvGrpSpPr>
        <p:grpSpPr>
          <a:xfrm>
            <a:off x="9457676" y="2064784"/>
            <a:ext cx="1094361" cy="1094359"/>
            <a:chOff x="9512348" y="2064784"/>
            <a:chExt cx="1094361" cy="1094359"/>
          </a:xfrm>
        </p:grpSpPr>
        <p:sp>
          <p:nvSpPr>
            <p:cNvPr id="18" name="Oval 17">
              <a:extLst>
                <a:ext uri="{FF2B5EF4-FFF2-40B4-BE49-F238E27FC236}">
                  <a16:creationId xmlns:a16="http://schemas.microsoft.com/office/drawing/2014/main" id="{75AFF898-5FC4-BC4B-FFF0-6C3C4E19836C}"/>
                </a:ext>
              </a:extLst>
            </p:cNvPr>
            <p:cNvSpPr/>
            <p:nvPr/>
          </p:nvSpPr>
          <p:spPr>
            <a:xfrm>
              <a:off x="9512348" y="2064784"/>
              <a:ext cx="1094361" cy="1094359"/>
            </a:xfrm>
            <a:prstGeom prst="ellipse">
              <a:avLst/>
            </a:prstGeom>
            <a:solidFill>
              <a:schemeClr val="tx1">
                <a:alpha val="50000"/>
              </a:schemeClr>
            </a:solidFill>
            <a:ln w="38100">
              <a:gradFill flip="none" rotWithShape="1">
                <a:gsLst>
                  <a:gs pos="0">
                    <a:srgbClr val="FFC000"/>
                  </a:gs>
                  <a:gs pos="100000">
                    <a:srgbClr val="A5A5A5"/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en-US" sz="2000" kern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pic>
          <p:nvPicPr>
            <p:cNvPr id="20" name="Graphic 19" descr="Research with solid fill">
              <a:extLst>
                <a:ext uri="{FF2B5EF4-FFF2-40B4-BE49-F238E27FC236}">
                  <a16:creationId xmlns:a16="http://schemas.microsoft.com/office/drawing/2014/main" id="{9CF29CE2-7218-867D-840F-0DFA2BC16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9644188" y="2203587"/>
              <a:ext cx="831911" cy="831911"/>
            </a:xfrm>
            <a:prstGeom prst="rect">
              <a:avLst/>
            </a:prstGeom>
          </p:spPr>
        </p:pic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7643FFF-7B11-CAA3-B12C-71907CB7337A}"/>
              </a:ext>
            </a:extLst>
          </p:cNvPr>
          <p:cNvCxnSpPr>
            <a:cxnSpLocks/>
          </p:cNvCxnSpPr>
          <p:nvPr/>
        </p:nvCxnSpPr>
        <p:spPr>
          <a:xfrm flipV="1">
            <a:off x="3409025" y="4971495"/>
            <a:ext cx="949911" cy="685882"/>
          </a:xfrm>
          <a:prstGeom prst="line">
            <a:avLst/>
          </a:prstGeom>
          <a:ln w="19050">
            <a:solidFill>
              <a:srgbClr val="FFC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Picture 2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AD9D2E5-DE96-B4D5-09DF-CE51DA83EB2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690" y="212043"/>
            <a:ext cx="2743196" cy="731519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8000"/>
              </a:prstClr>
            </a:outerShdw>
          </a:effectLst>
        </p:spPr>
      </p:pic>
      <p:grpSp>
        <p:nvGrpSpPr>
          <p:cNvPr id="26" name="Group 25">
            <a:extLst>
              <a:ext uri="{FF2B5EF4-FFF2-40B4-BE49-F238E27FC236}">
                <a16:creationId xmlns:a16="http://schemas.microsoft.com/office/drawing/2014/main" id="{535A38D1-072E-469F-94CA-989880323EA4}"/>
              </a:ext>
            </a:extLst>
          </p:cNvPr>
          <p:cNvGrpSpPr/>
          <p:nvPr/>
        </p:nvGrpSpPr>
        <p:grpSpPr>
          <a:xfrm>
            <a:off x="1302607" y="1815865"/>
            <a:ext cx="1222823" cy="1184340"/>
            <a:chOff x="5662059" y="1815740"/>
            <a:chExt cx="880056" cy="916791"/>
          </a:xfrm>
        </p:grpSpPr>
        <p:sp>
          <p:nvSpPr>
            <p:cNvPr id="27" name="AutoShape 92">
              <a:extLst>
                <a:ext uri="{FF2B5EF4-FFF2-40B4-BE49-F238E27FC236}">
                  <a16:creationId xmlns:a16="http://schemas.microsoft.com/office/drawing/2014/main" id="{A89172B6-5C56-D438-F79E-0EA64BC6793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662059" y="1815740"/>
              <a:ext cx="669149" cy="6691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28" name="bcgBugs_Male Female people ">
              <a:extLst>
                <a:ext uri="{FF2B5EF4-FFF2-40B4-BE49-F238E27FC236}">
                  <a16:creationId xmlns:a16="http://schemas.microsoft.com/office/drawing/2014/main" id="{0BECE43A-2E04-5DFF-37DB-8FE10746D88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912073" y="2102489"/>
              <a:ext cx="630042" cy="630042"/>
              <a:chOff x="2652" y="972"/>
              <a:chExt cx="2376" cy="2376"/>
            </a:xfrm>
          </p:grpSpPr>
          <p:sp>
            <p:nvSpPr>
              <p:cNvPr id="29" name="AutoShape 7">
                <a:extLst>
                  <a:ext uri="{FF2B5EF4-FFF2-40B4-BE49-F238E27FC236}">
                    <a16:creationId xmlns:a16="http://schemas.microsoft.com/office/drawing/2014/main" id="{8A76F009-68AB-E918-D217-B0F529957E55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2652" y="972"/>
                <a:ext cx="2376" cy="23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9">
                <a:extLst>
                  <a:ext uri="{FF2B5EF4-FFF2-40B4-BE49-F238E27FC236}">
                    <a16:creationId xmlns:a16="http://schemas.microsoft.com/office/drawing/2014/main" id="{BC607CB3-D0A4-B2DA-DA9C-6BD1805FEC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90" y="1431"/>
                <a:ext cx="2100" cy="1460"/>
              </a:xfrm>
              <a:custGeom>
                <a:avLst/>
                <a:gdLst>
                  <a:gd name="T0" fmla="*/ 356 w 883"/>
                  <a:gd name="T1" fmla="*/ 171 h 614"/>
                  <a:gd name="T2" fmla="*/ 213 w 883"/>
                  <a:gd name="T3" fmla="*/ 122 h 614"/>
                  <a:gd name="T4" fmla="*/ 55 w 883"/>
                  <a:gd name="T5" fmla="*/ 199 h 614"/>
                  <a:gd name="T6" fmla="*/ 58 w 883"/>
                  <a:gd name="T7" fmla="*/ 205 h 614"/>
                  <a:gd name="T8" fmla="*/ 52 w 883"/>
                  <a:gd name="T9" fmla="*/ 233 h 614"/>
                  <a:gd name="T10" fmla="*/ 47 w 883"/>
                  <a:gd name="T11" fmla="*/ 267 h 614"/>
                  <a:gd name="T12" fmla="*/ 46 w 883"/>
                  <a:gd name="T13" fmla="*/ 287 h 614"/>
                  <a:gd name="T14" fmla="*/ 44 w 883"/>
                  <a:gd name="T15" fmla="*/ 317 h 614"/>
                  <a:gd name="T16" fmla="*/ 23 w 883"/>
                  <a:gd name="T17" fmla="*/ 350 h 614"/>
                  <a:gd name="T18" fmla="*/ 5 w 883"/>
                  <a:gd name="T19" fmla="*/ 389 h 614"/>
                  <a:gd name="T20" fmla="*/ 50 w 883"/>
                  <a:gd name="T21" fmla="*/ 411 h 614"/>
                  <a:gd name="T22" fmla="*/ 49 w 883"/>
                  <a:gd name="T23" fmla="*/ 445 h 614"/>
                  <a:gd name="T24" fmla="*/ 59 w 883"/>
                  <a:gd name="T25" fmla="*/ 507 h 614"/>
                  <a:gd name="T26" fmla="*/ 119 w 883"/>
                  <a:gd name="T27" fmla="*/ 518 h 614"/>
                  <a:gd name="T28" fmla="*/ 153 w 883"/>
                  <a:gd name="T29" fmla="*/ 516 h 614"/>
                  <a:gd name="T30" fmla="*/ 153 w 883"/>
                  <a:gd name="T31" fmla="*/ 600 h 614"/>
                  <a:gd name="T32" fmla="*/ 162 w 883"/>
                  <a:gd name="T33" fmla="*/ 609 h 614"/>
                  <a:gd name="T34" fmla="*/ 173 w 883"/>
                  <a:gd name="T35" fmla="*/ 609 h 614"/>
                  <a:gd name="T36" fmla="*/ 293 w 883"/>
                  <a:gd name="T37" fmla="*/ 580 h 614"/>
                  <a:gd name="T38" fmla="*/ 298 w 883"/>
                  <a:gd name="T39" fmla="*/ 572 h 614"/>
                  <a:gd name="T40" fmla="*/ 298 w 883"/>
                  <a:gd name="T41" fmla="*/ 540 h 614"/>
                  <a:gd name="T42" fmla="*/ 298 w 883"/>
                  <a:gd name="T43" fmla="*/ 519 h 614"/>
                  <a:gd name="T44" fmla="*/ 298 w 883"/>
                  <a:gd name="T45" fmla="*/ 519 h 614"/>
                  <a:gd name="T46" fmla="*/ 421 w 883"/>
                  <a:gd name="T47" fmla="*/ 407 h 614"/>
                  <a:gd name="T48" fmla="*/ 384 w 883"/>
                  <a:gd name="T49" fmla="*/ 350 h 614"/>
                  <a:gd name="T50" fmla="*/ 356 w 883"/>
                  <a:gd name="T51" fmla="*/ 171 h 614"/>
                  <a:gd name="T52" fmla="*/ 855 w 883"/>
                  <a:gd name="T53" fmla="*/ 287 h 614"/>
                  <a:gd name="T54" fmla="*/ 850 w 883"/>
                  <a:gd name="T55" fmla="*/ 282 h 614"/>
                  <a:gd name="T56" fmla="*/ 826 w 883"/>
                  <a:gd name="T57" fmla="*/ 235 h 614"/>
                  <a:gd name="T58" fmla="*/ 823 w 883"/>
                  <a:gd name="T59" fmla="*/ 212 h 614"/>
                  <a:gd name="T60" fmla="*/ 818 w 883"/>
                  <a:gd name="T61" fmla="*/ 176 h 614"/>
                  <a:gd name="T62" fmla="*/ 812 w 883"/>
                  <a:gd name="T63" fmla="*/ 131 h 614"/>
                  <a:gd name="T64" fmla="*/ 813 w 883"/>
                  <a:gd name="T65" fmla="*/ 114 h 614"/>
                  <a:gd name="T66" fmla="*/ 815 w 883"/>
                  <a:gd name="T67" fmla="*/ 113 h 614"/>
                  <a:gd name="T68" fmla="*/ 817 w 883"/>
                  <a:gd name="T69" fmla="*/ 112 h 614"/>
                  <a:gd name="T70" fmla="*/ 851 w 883"/>
                  <a:gd name="T71" fmla="*/ 35 h 614"/>
                  <a:gd name="T72" fmla="*/ 614 w 883"/>
                  <a:gd name="T73" fmla="*/ 0 h 614"/>
                  <a:gd name="T74" fmla="*/ 387 w 883"/>
                  <a:gd name="T75" fmla="*/ 144 h 614"/>
                  <a:gd name="T76" fmla="*/ 472 w 883"/>
                  <a:gd name="T77" fmla="*/ 436 h 614"/>
                  <a:gd name="T78" fmla="*/ 472 w 883"/>
                  <a:gd name="T79" fmla="*/ 462 h 614"/>
                  <a:gd name="T80" fmla="*/ 472 w 883"/>
                  <a:gd name="T81" fmla="*/ 519 h 614"/>
                  <a:gd name="T82" fmla="*/ 472 w 883"/>
                  <a:gd name="T83" fmla="*/ 567 h 614"/>
                  <a:gd name="T84" fmla="*/ 478 w 883"/>
                  <a:gd name="T85" fmla="*/ 577 h 614"/>
                  <a:gd name="T86" fmla="*/ 690 w 883"/>
                  <a:gd name="T87" fmla="*/ 614 h 614"/>
                  <a:gd name="T88" fmla="*/ 690 w 883"/>
                  <a:gd name="T89" fmla="*/ 614 h 614"/>
                  <a:gd name="T90" fmla="*/ 700 w 883"/>
                  <a:gd name="T91" fmla="*/ 604 h 614"/>
                  <a:gd name="T92" fmla="*/ 700 w 883"/>
                  <a:gd name="T93" fmla="*/ 506 h 614"/>
                  <a:gd name="T94" fmla="*/ 811 w 883"/>
                  <a:gd name="T95" fmla="*/ 500 h 614"/>
                  <a:gd name="T96" fmla="*/ 827 w 883"/>
                  <a:gd name="T97" fmla="*/ 442 h 614"/>
                  <a:gd name="T98" fmla="*/ 827 w 883"/>
                  <a:gd name="T99" fmla="*/ 438 h 614"/>
                  <a:gd name="T100" fmla="*/ 824 w 883"/>
                  <a:gd name="T101" fmla="*/ 360 h 614"/>
                  <a:gd name="T102" fmla="*/ 879 w 883"/>
                  <a:gd name="T103" fmla="*/ 332 h 614"/>
                  <a:gd name="T104" fmla="*/ 855 w 883"/>
                  <a:gd name="T105" fmla="*/ 287 h 6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883" h="614">
                    <a:moveTo>
                      <a:pt x="356" y="171"/>
                    </a:moveTo>
                    <a:cubicBezTo>
                      <a:pt x="323" y="143"/>
                      <a:pt x="276" y="122"/>
                      <a:pt x="213" y="122"/>
                    </a:cubicBezTo>
                    <a:cubicBezTo>
                      <a:pt x="98" y="122"/>
                      <a:pt x="49" y="175"/>
                      <a:pt x="55" y="199"/>
                    </a:cubicBezTo>
                    <a:cubicBezTo>
                      <a:pt x="56" y="201"/>
                      <a:pt x="57" y="203"/>
                      <a:pt x="58" y="205"/>
                    </a:cubicBezTo>
                    <a:cubicBezTo>
                      <a:pt x="52" y="233"/>
                      <a:pt x="52" y="233"/>
                      <a:pt x="52" y="233"/>
                    </a:cubicBezTo>
                    <a:cubicBezTo>
                      <a:pt x="50" y="244"/>
                      <a:pt x="48" y="258"/>
                      <a:pt x="47" y="267"/>
                    </a:cubicBezTo>
                    <a:cubicBezTo>
                      <a:pt x="46" y="272"/>
                      <a:pt x="46" y="279"/>
                      <a:pt x="46" y="287"/>
                    </a:cubicBezTo>
                    <a:cubicBezTo>
                      <a:pt x="45" y="296"/>
                      <a:pt x="45" y="313"/>
                      <a:pt x="44" y="317"/>
                    </a:cubicBezTo>
                    <a:cubicBezTo>
                      <a:pt x="39" y="327"/>
                      <a:pt x="32" y="341"/>
                      <a:pt x="23" y="350"/>
                    </a:cubicBezTo>
                    <a:cubicBezTo>
                      <a:pt x="14" y="359"/>
                      <a:pt x="0" y="377"/>
                      <a:pt x="5" y="389"/>
                    </a:cubicBezTo>
                    <a:cubicBezTo>
                      <a:pt x="8" y="397"/>
                      <a:pt x="22" y="411"/>
                      <a:pt x="50" y="411"/>
                    </a:cubicBezTo>
                    <a:cubicBezTo>
                      <a:pt x="49" y="419"/>
                      <a:pt x="49" y="432"/>
                      <a:pt x="49" y="445"/>
                    </a:cubicBezTo>
                    <a:cubicBezTo>
                      <a:pt x="49" y="490"/>
                      <a:pt x="55" y="502"/>
                      <a:pt x="59" y="507"/>
                    </a:cubicBezTo>
                    <a:cubicBezTo>
                      <a:pt x="65" y="512"/>
                      <a:pt x="76" y="518"/>
                      <a:pt x="119" y="518"/>
                    </a:cubicBezTo>
                    <a:cubicBezTo>
                      <a:pt x="128" y="518"/>
                      <a:pt x="142" y="517"/>
                      <a:pt x="153" y="516"/>
                    </a:cubicBezTo>
                    <a:cubicBezTo>
                      <a:pt x="153" y="516"/>
                      <a:pt x="153" y="516"/>
                      <a:pt x="153" y="600"/>
                    </a:cubicBezTo>
                    <a:cubicBezTo>
                      <a:pt x="153" y="605"/>
                      <a:pt x="157" y="609"/>
                      <a:pt x="162" y="609"/>
                    </a:cubicBezTo>
                    <a:cubicBezTo>
                      <a:pt x="173" y="609"/>
                      <a:pt x="173" y="609"/>
                      <a:pt x="173" y="609"/>
                    </a:cubicBezTo>
                    <a:cubicBezTo>
                      <a:pt x="196" y="609"/>
                      <a:pt x="250" y="606"/>
                      <a:pt x="293" y="580"/>
                    </a:cubicBezTo>
                    <a:cubicBezTo>
                      <a:pt x="296" y="578"/>
                      <a:pt x="298" y="575"/>
                      <a:pt x="298" y="572"/>
                    </a:cubicBezTo>
                    <a:cubicBezTo>
                      <a:pt x="298" y="572"/>
                      <a:pt x="298" y="572"/>
                      <a:pt x="298" y="540"/>
                    </a:cubicBezTo>
                    <a:cubicBezTo>
                      <a:pt x="298" y="519"/>
                      <a:pt x="298" y="519"/>
                      <a:pt x="298" y="519"/>
                    </a:cubicBezTo>
                    <a:cubicBezTo>
                      <a:pt x="298" y="519"/>
                      <a:pt x="298" y="519"/>
                      <a:pt x="298" y="519"/>
                    </a:cubicBezTo>
                    <a:cubicBezTo>
                      <a:pt x="339" y="504"/>
                      <a:pt x="397" y="469"/>
                      <a:pt x="421" y="407"/>
                    </a:cubicBezTo>
                    <a:cubicBezTo>
                      <a:pt x="408" y="391"/>
                      <a:pt x="396" y="372"/>
                      <a:pt x="384" y="350"/>
                    </a:cubicBezTo>
                    <a:cubicBezTo>
                      <a:pt x="351" y="288"/>
                      <a:pt x="341" y="227"/>
                      <a:pt x="356" y="171"/>
                    </a:cubicBezTo>
                    <a:close/>
                    <a:moveTo>
                      <a:pt x="855" y="287"/>
                    </a:moveTo>
                    <a:cubicBezTo>
                      <a:pt x="853" y="285"/>
                      <a:pt x="851" y="283"/>
                      <a:pt x="850" y="282"/>
                    </a:cubicBezTo>
                    <a:cubicBezTo>
                      <a:pt x="842" y="273"/>
                      <a:pt x="834" y="256"/>
                      <a:pt x="826" y="235"/>
                    </a:cubicBezTo>
                    <a:cubicBezTo>
                      <a:pt x="825" y="230"/>
                      <a:pt x="824" y="221"/>
                      <a:pt x="823" y="212"/>
                    </a:cubicBezTo>
                    <a:cubicBezTo>
                      <a:pt x="822" y="200"/>
                      <a:pt x="822" y="187"/>
                      <a:pt x="818" y="176"/>
                    </a:cubicBezTo>
                    <a:cubicBezTo>
                      <a:pt x="814" y="164"/>
                      <a:pt x="813" y="142"/>
                      <a:pt x="812" y="131"/>
                    </a:cubicBezTo>
                    <a:cubicBezTo>
                      <a:pt x="813" y="114"/>
                      <a:pt x="813" y="114"/>
                      <a:pt x="813" y="114"/>
                    </a:cubicBezTo>
                    <a:cubicBezTo>
                      <a:pt x="814" y="114"/>
                      <a:pt x="815" y="113"/>
                      <a:pt x="815" y="113"/>
                    </a:cubicBezTo>
                    <a:cubicBezTo>
                      <a:pt x="816" y="113"/>
                      <a:pt x="817" y="112"/>
                      <a:pt x="817" y="112"/>
                    </a:cubicBezTo>
                    <a:cubicBezTo>
                      <a:pt x="824" y="81"/>
                      <a:pt x="866" y="35"/>
                      <a:pt x="851" y="35"/>
                    </a:cubicBezTo>
                    <a:cubicBezTo>
                      <a:pt x="714" y="38"/>
                      <a:pt x="762" y="0"/>
                      <a:pt x="614" y="0"/>
                    </a:cubicBezTo>
                    <a:cubicBezTo>
                      <a:pt x="484" y="0"/>
                      <a:pt x="419" y="78"/>
                      <a:pt x="387" y="144"/>
                    </a:cubicBezTo>
                    <a:cubicBezTo>
                      <a:pt x="329" y="268"/>
                      <a:pt x="429" y="391"/>
                      <a:pt x="472" y="436"/>
                    </a:cubicBezTo>
                    <a:cubicBezTo>
                      <a:pt x="472" y="462"/>
                      <a:pt x="472" y="462"/>
                      <a:pt x="472" y="462"/>
                    </a:cubicBezTo>
                    <a:cubicBezTo>
                      <a:pt x="472" y="462"/>
                      <a:pt x="472" y="462"/>
                      <a:pt x="472" y="519"/>
                    </a:cubicBezTo>
                    <a:cubicBezTo>
                      <a:pt x="472" y="567"/>
                      <a:pt x="472" y="567"/>
                      <a:pt x="472" y="567"/>
                    </a:cubicBezTo>
                    <a:cubicBezTo>
                      <a:pt x="472" y="571"/>
                      <a:pt x="474" y="575"/>
                      <a:pt x="478" y="577"/>
                    </a:cubicBezTo>
                    <a:cubicBezTo>
                      <a:pt x="567" y="613"/>
                      <a:pt x="681" y="614"/>
                      <a:pt x="690" y="614"/>
                    </a:cubicBezTo>
                    <a:cubicBezTo>
                      <a:pt x="690" y="614"/>
                      <a:pt x="690" y="614"/>
                      <a:pt x="690" y="614"/>
                    </a:cubicBezTo>
                    <a:cubicBezTo>
                      <a:pt x="696" y="614"/>
                      <a:pt x="700" y="610"/>
                      <a:pt x="700" y="604"/>
                    </a:cubicBezTo>
                    <a:cubicBezTo>
                      <a:pt x="700" y="604"/>
                      <a:pt x="700" y="604"/>
                      <a:pt x="700" y="506"/>
                    </a:cubicBezTo>
                    <a:cubicBezTo>
                      <a:pt x="762" y="513"/>
                      <a:pt x="802" y="505"/>
                      <a:pt x="811" y="500"/>
                    </a:cubicBezTo>
                    <a:cubicBezTo>
                      <a:pt x="824" y="493"/>
                      <a:pt x="825" y="475"/>
                      <a:pt x="827" y="442"/>
                    </a:cubicBezTo>
                    <a:cubicBezTo>
                      <a:pt x="827" y="442"/>
                      <a:pt x="827" y="442"/>
                      <a:pt x="827" y="438"/>
                    </a:cubicBezTo>
                    <a:cubicBezTo>
                      <a:pt x="829" y="415"/>
                      <a:pt x="825" y="379"/>
                      <a:pt x="824" y="360"/>
                    </a:cubicBezTo>
                    <a:cubicBezTo>
                      <a:pt x="866" y="360"/>
                      <a:pt x="876" y="339"/>
                      <a:pt x="879" y="332"/>
                    </a:cubicBezTo>
                    <a:cubicBezTo>
                      <a:pt x="883" y="320"/>
                      <a:pt x="872" y="306"/>
                      <a:pt x="855" y="28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5849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No alternative text description for this image">
            <a:extLst>
              <a:ext uri="{FF2B5EF4-FFF2-40B4-BE49-F238E27FC236}">
                <a16:creationId xmlns:a16="http://schemas.microsoft.com/office/drawing/2014/main" id="{18A1F1A9-0CA4-64C4-F78C-2ADB91D9F8E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43755" y="605499"/>
            <a:ext cx="5473554" cy="3041966"/>
          </a:xfrm>
          <a:prstGeom prst="rect">
            <a:avLst/>
          </a:prstGeom>
          <a:noFill/>
          <a:ln w="28575">
            <a:solidFill>
              <a:schemeClr val="accent4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11BB0D6C-842E-BBB5-70D6-189E65F5B5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5" y="119420"/>
            <a:ext cx="10584319" cy="731520"/>
          </a:xfrm>
        </p:spPr>
        <p:txBody>
          <a:bodyPr/>
          <a:lstStyle/>
          <a:p>
            <a:r>
              <a:rPr lang="en-US" b="1">
                <a:solidFill>
                  <a:schemeClr val="tx2">
                    <a:lumMod val="75000"/>
                  </a:schemeClr>
                </a:solidFill>
              </a:rPr>
              <a:t>The Industrial Assessment Centers comprise MESC’s primary workforce program</a:t>
            </a:r>
            <a:endParaRPr lang="en-US" b="1">
              <a:solidFill>
                <a:schemeClr val="tx2">
                  <a:lumMod val="75000"/>
                </a:schemeClr>
              </a:solidFill>
              <a:cs typeface="Calibri"/>
            </a:endParaRP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A96DB45F-19F0-D5BD-F129-06B95D1D453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00750" y="605499"/>
            <a:ext cx="5469200" cy="3035636"/>
          </a:xfrm>
          <a:prstGeom prst="rect">
            <a:avLst/>
          </a:prstGeom>
          <a:noFill/>
          <a:ln w="28575">
            <a:solidFill>
              <a:schemeClr val="accent4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8" name="Rounded Rectangle 1">
            <a:extLst>
              <a:ext uri="{FF2B5EF4-FFF2-40B4-BE49-F238E27FC236}">
                <a16:creationId xmlns:a16="http://schemas.microsoft.com/office/drawing/2014/main" id="{75072FF0-3CD1-ACCA-D0C2-FA677CE67572}"/>
              </a:ext>
            </a:extLst>
          </p:cNvPr>
          <p:cNvSpPr/>
          <p:nvPr/>
        </p:nvSpPr>
        <p:spPr>
          <a:xfrm rot="10800000">
            <a:off x="5987870" y="3641135"/>
            <a:ext cx="5482080" cy="2975565"/>
          </a:xfrm>
          <a:prstGeom prst="round2Same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4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>
            <a:scene3d>
              <a:camera prst="orthographicFront">
                <a:rot lat="540000" lon="0" rev="0"/>
              </a:camera>
              <a:lightRig rig="threePt" dir="t"/>
            </a:scene3d>
          </a:bodyPr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5814182-A0F9-F671-8263-C0AA3AA90D8A}"/>
              </a:ext>
            </a:extLst>
          </p:cNvPr>
          <p:cNvSpPr txBox="1"/>
          <p:nvPr/>
        </p:nvSpPr>
        <p:spPr>
          <a:xfrm>
            <a:off x="6101164" y="3705451"/>
            <a:ext cx="5255491" cy="287771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550M BIL-funded IAC expansi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5 Regional Centers of Excellence (COE) to accelerate innovation, spur collaboration, and expand outreach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IACs at community colleges, trade/technical schools, and labor-management program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New non-BA </a:t>
            </a:r>
            <a:r>
              <a:rPr lang="en-US" sz="1700">
                <a:solidFill>
                  <a:schemeClr val="tx1"/>
                </a:solidFill>
                <a:latin typeface="Calibri"/>
              </a:rPr>
              <a:t>pathways (e.g., machinist, HVAC technician, welder, industrial mechanic) – </a:t>
            </a:r>
            <a:r>
              <a:rPr lang="en-US" sz="1700" i="1">
                <a:solidFill>
                  <a:schemeClr val="tx1"/>
                </a:solidFill>
                <a:latin typeface="Calibri"/>
              </a:rPr>
              <a:t>feedback/ideas welcome!</a:t>
            </a:r>
            <a:endParaRPr kumimoji="0" lang="en-US" sz="170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pprenticeships and upskilling/continuing education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>
                <a:solidFill>
                  <a:schemeClr val="tx1"/>
                </a:solidFill>
                <a:latin typeface="Calibri"/>
              </a:rPr>
              <a:t>Grants to manufacturers to act on IAC recommendations</a:t>
            </a:r>
            <a:endParaRPr kumimoji="0" lang="en-US" sz="1700" b="0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ounded Rectangle 1">
            <a:extLst>
              <a:ext uri="{FF2B5EF4-FFF2-40B4-BE49-F238E27FC236}">
                <a16:creationId xmlns:a16="http://schemas.microsoft.com/office/drawing/2014/main" id="{04C54512-BAA9-A22A-4018-DCACBE6D8DC9}"/>
              </a:ext>
            </a:extLst>
          </p:cNvPr>
          <p:cNvSpPr/>
          <p:nvPr/>
        </p:nvSpPr>
        <p:spPr>
          <a:xfrm rot="10800000">
            <a:off x="223838" y="3641133"/>
            <a:ext cx="5501900" cy="2975565"/>
          </a:xfrm>
          <a:prstGeom prst="round2SameRect">
            <a:avLst/>
          </a:prstGeom>
          <a:solidFill>
            <a:schemeClr val="accent5">
              <a:lumMod val="20000"/>
              <a:lumOff val="80000"/>
            </a:schemeClr>
          </a:solidFill>
          <a:ln w="28575">
            <a:solidFill>
              <a:schemeClr val="accent4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>
            <a:scene3d>
              <a:camera prst="orthographicFront">
                <a:rot lat="540000" lon="0" rev="0"/>
              </a:camera>
              <a:lightRig rig="threePt" dir="t"/>
            </a:scene3d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8264CBB-13D6-07A7-B697-4C0E0ED25F4E}"/>
              </a:ext>
            </a:extLst>
          </p:cNvPr>
          <p:cNvSpPr txBox="1"/>
          <p:nvPr/>
        </p:nvSpPr>
        <p:spPr>
          <a:xfrm>
            <a:off x="337134" y="3705451"/>
            <a:ext cx="5255491" cy="272382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Annually-funded “Traditional” IAC program</a:t>
            </a:r>
            <a:endParaRPr kumimoji="0" lang="en-US" sz="8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7 university-based IACs provide hands-on energy management training for engineers and no-cost TA to small &amp; midsize manufacturer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>
                <a:solidFill>
                  <a:schemeClr val="tx1"/>
                </a:solidFill>
                <a:latin typeface="Calibri"/>
              </a:rPr>
              <a:t>IACs have conducted ~21k assessments in ~45 years, typically identifying more than $150k/year in savings opportunities per client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>
                <a:solidFill>
                  <a:schemeClr val="tx1"/>
                </a:solidFill>
                <a:latin typeface="Calibri"/>
              </a:rPr>
              <a:t>Graduates are 2.5x more likely to work in energy than their academic peers</a:t>
            </a:r>
          </a:p>
        </p:txBody>
      </p:sp>
    </p:spTree>
    <p:extLst>
      <p:ext uri="{BB962C8B-B14F-4D97-AF65-F5344CB8AC3E}">
        <p14:creationId xmlns:p14="http://schemas.microsoft.com/office/powerpoint/2010/main" val="1725296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47ADA7-7795-BFC0-FC07-97B1DC7896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4736" y="266809"/>
            <a:ext cx="9912037" cy="731520"/>
          </a:xfrm>
        </p:spPr>
        <p:txBody>
          <a:bodyPr/>
          <a:lstStyle/>
          <a:p>
            <a:r>
              <a:rPr lang="en-US" b="1">
                <a:solidFill>
                  <a:schemeClr val="tx2">
                    <a:lumMod val="75000"/>
                  </a:schemeClr>
                </a:solidFill>
              </a:rPr>
              <a:t>MESC’s battery and EV investments, and a major tax credit program, also incorporate and help drive significant workforce activities</a:t>
            </a:r>
          </a:p>
        </p:txBody>
      </p:sp>
      <p:sp>
        <p:nvSpPr>
          <p:cNvPr id="3" name="Rounded Rectangle 1">
            <a:extLst>
              <a:ext uri="{FF2B5EF4-FFF2-40B4-BE49-F238E27FC236}">
                <a16:creationId xmlns:a16="http://schemas.microsoft.com/office/drawing/2014/main" id="{36923D2C-E080-3EA9-5E15-0EC0772FE8FD}"/>
              </a:ext>
            </a:extLst>
          </p:cNvPr>
          <p:cNvSpPr/>
          <p:nvPr/>
        </p:nvSpPr>
        <p:spPr>
          <a:xfrm>
            <a:off x="554736" y="1308140"/>
            <a:ext cx="5185664" cy="51931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1947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BIL 40207 and IRA 50143: Battery and EV Manufacturing, Conversion, and Recycling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6B </a:t>
            </a: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or a viable North American battery supply </a:t>
            </a:r>
            <a:r>
              <a:rPr lang="en-US" sz="1700">
                <a:solidFill>
                  <a:schemeClr val="tx1"/>
                </a:solidFill>
                <a:latin typeface="Calibri"/>
              </a:rPr>
              <a:t>chain, incl. critical materials; $3.5B Round 2 soon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>
                <a:solidFill>
                  <a:schemeClr val="tx1"/>
                </a:solidFill>
                <a:latin typeface="Calibri"/>
              </a:rPr>
              <a:t>$2B to convert domestic manufacturing to support EV production, with emphasis on job retention at similar or higher-wage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1700">
                <a:solidFill>
                  <a:schemeClr val="tx1"/>
                </a:solidFill>
                <a:latin typeface="Calibri"/>
              </a:rPr>
              <a:t>MESC also chairs the </a:t>
            </a: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Federal Consortium for Advanced Batteries, </a:t>
            </a:r>
            <a:r>
              <a:rPr kumimoji="0" lang="en-US" sz="17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ncluding its Workforce Task Group collaborating with the National Advanced Battery Workforce Council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A01FDF64-37BB-662E-382C-D0F1B5915D3B}"/>
              </a:ext>
            </a:extLst>
          </p:cNvPr>
          <p:cNvSpPr/>
          <p:nvPr/>
        </p:nvSpPr>
        <p:spPr>
          <a:xfrm>
            <a:off x="2370524" y="1427063"/>
            <a:ext cx="1480457" cy="1432597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Rounded Rectangle 1">
            <a:extLst>
              <a:ext uri="{FF2B5EF4-FFF2-40B4-BE49-F238E27FC236}">
                <a16:creationId xmlns:a16="http://schemas.microsoft.com/office/drawing/2014/main" id="{AFC0B1C4-1082-DC0B-F2CE-06CF21BB90B9}"/>
              </a:ext>
            </a:extLst>
          </p:cNvPr>
          <p:cNvSpPr/>
          <p:nvPr/>
        </p:nvSpPr>
        <p:spPr>
          <a:xfrm>
            <a:off x="6096000" y="1308140"/>
            <a:ext cx="5185664" cy="519315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accent4">
                <a:lumMod val="50000"/>
              </a:schemeClr>
            </a:solidFill>
          </a:ln>
          <a:effectLst>
            <a:outerShdw blurRad="50800" dist="38100" dir="5400000" algn="t" rotWithShape="0">
              <a:prstClr val="black">
                <a:alpha val="19475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137160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Qualifying Advanced Energy Project Credit (48C) Program</a:t>
            </a: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10B competitive investment tax credit funded by the Inflation Reduction Act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upports projects </a:t>
            </a:r>
            <a:r>
              <a:rPr lang="en-US" sz="1700">
                <a:solidFill>
                  <a:schemeClr val="tx1"/>
                </a:solidFill>
                <a:latin typeface="Calibri"/>
              </a:rPr>
              <a:t>related to </a:t>
            </a: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clean energy manufacturing/recycling, critical materials, and industrial greenhouse gas emissions reductions</a:t>
            </a:r>
          </a:p>
          <a:p>
            <a:pPr>
              <a:spcBef>
                <a:spcPts val="600"/>
              </a:spcBef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6% credit, quintupling to 30% if prevailing wage and apprenticeship requirements are met</a:t>
            </a:r>
          </a:p>
          <a:p>
            <a:pPr>
              <a:spcBef>
                <a:spcPts val="600"/>
              </a:spcBef>
            </a:pPr>
            <a:r>
              <a:rPr lang="en-US" sz="1700">
                <a:solidFill>
                  <a:schemeClr val="tx1"/>
                </a:solidFill>
                <a:latin typeface="Calibri"/>
              </a:rPr>
              <a:t>40% of credits targeted to coal communities</a:t>
            </a:r>
          </a:p>
          <a:p>
            <a:pPr>
              <a:spcBef>
                <a:spcPts val="600"/>
              </a:spcBef>
            </a:pPr>
            <a:r>
              <a:rPr kumimoji="0" lang="en-US" sz="170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$4B under review now; Round 2 is forthcoming</a:t>
            </a:r>
          </a:p>
        </p:txBody>
      </p:sp>
      <p:pic>
        <p:nvPicPr>
          <p:cNvPr id="13" name="Graphic 12" descr="Battery charging with solid fill">
            <a:extLst>
              <a:ext uri="{FF2B5EF4-FFF2-40B4-BE49-F238E27FC236}">
                <a16:creationId xmlns:a16="http://schemas.microsoft.com/office/drawing/2014/main" id="{3E7ABA12-8598-EA93-57B7-B8D549BC1B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662517" y="1684098"/>
            <a:ext cx="896470" cy="914400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C64BFE04-CA9D-7497-854B-51FCF2A86D21}"/>
              </a:ext>
            </a:extLst>
          </p:cNvPr>
          <p:cNvSpPr/>
          <p:nvPr/>
        </p:nvSpPr>
        <p:spPr>
          <a:xfrm>
            <a:off x="7955536" y="1427063"/>
            <a:ext cx="1480457" cy="1432597"/>
          </a:xfrm>
          <a:prstGeom prst="ellipse">
            <a:avLst/>
          </a:prstGeom>
          <a:solidFill>
            <a:schemeClr val="accent4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Graphic 5" descr="Fluorescent Light Blub with solid fill">
            <a:extLst>
              <a:ext uri="{FF2B5EF4-FFF2-40B4-BE49-F238E27FC236}">
                <a16:creationId xmlns:a16="http://schemas.microsoft.com/office/drawing/2014/main" id="{0C3B9104-F97A-4B58-D0D2-AAD01B645DF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238565" y="168409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244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C19AFF-4BF9-4E30-CACA-728A1D3219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4398" y="5492926"/>
            <a:ext cx="8141029" cy="731520"/>
          </a:xfrm>
        </p:spPr>
        <p:txBody>
          <a:bodyPr/>
          <a:lstStyle/>
          <a:p>
            <a:r>
              <a:rPr lang="en-US" dirty="0">
                <a:solidFill>
                  <a:schemeClr val="accent1"/>
                </a:solidFill>
                <a:cs typeface="Calibri"/>
              </a:rPr>
              <a:t>Contact:</a:t>
            </a:r>
            <a:br>
              <a:rPr lang="en-US" dirty="0">
                <a:solidFill>
                  <a:schemeClr val="accent1"/>
                </a:solidFill>
                <a:cs typeface="Calibri"/>
              </a:rPr>
            </a:br>
            <a:r>
              <a:rPr lang="en-US" dirty="0">
                <a:solidFill>
                  <a:schemeClr val="accent1"/>
                </a:solidFill>
                <a:cs typeface="Calibri"/>
              </a:rPr>
              <a:t>Jeremy Avins</a:t>
            </a:r>
            <a:br>
              <a:rPr lang="en-US" dirty="0">
                <a:solidFill>
                  <a:schemeClr val="accent1"/>
                </a:solidFill>
                <a:cs typeface="Calibri"/>
              </a:rPr>
            </a:br>
            <a:r>
              <a:rPr lang="en-US" dirty="0">
                <a:solidFill>
                  <a:schemeClr val="accent1"/>
                </a:solidFill>
                <a:ea typeface="+mj-lt"/>
                <a:cs typeface="+mj-lt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eremy.avins@hq.doe.gov</a:t>
            </a:r>
            <a:r>
              <a:rPr lang="en-US" dirty="0">
                <a:solidFill>
                  <a:schemeClr val="accent1"/>
                </a:solidFill>
                <a:ea typeface="+mj-lt"/>
                <a:cs typeface="+mj-lt"/>
              </a:rPr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075778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5AiJlc1SjikgjnNs387n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gDn1l7TlyrFhv1Bb7CD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 MESC">
  <a:themeElements>
    <a:clrScheme name="MESC colors">
      <a:dk1>
        <a:sysClr val="windowText" lastClr="000000"/>
      </a:dk1>
      <a:lt1>
        <a:sysClr val="window" lastClr="FFFFFF"/>
      </a:lt1>
      <a:dk2>
        <a:srgbClr val="1A325D"/>
      </a:dk2>
      <a:lt2>
        <a:srgbClr val="DCDDDE"/>
      </a:lt2>
      <a:accent1>
        <a:srgbClr val="4F81BD"/>
      </a:accent1>
      <a:accent2>
        <a:srgbClr val="C0504D"/>
      </a:accent2>
      <a:accent3>
        <a:srgbClr val="0FA84C"/>
      </a:accent3>
      <a:accent4>
        <a:srgbClr val="8064A2"/>
      </a:accent4>
      <a:accent5>
        <a:srgbClr val="1CA6DF"/>
      </a:accent5>
      <a:accent6>
        <a:srgbClr val="FAA21D"/>
      </a:accent6>
      <a:hlink>
        <a:srgbClr val="0000FF"/>
      </a:hlink>
      <a:folHlink>
        <a:srgbClr val="800080"/>
      </a:folHlink>
    </a:clrScheme>
    <a:fontScheme name="MESC Fonts">
      <a:majorFont>
        <a:latin typeface="Avenir LT Std 65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C template 1" id="{AFFD31AD-8DCE-4388-8F61-810A04C20C8A}" vid="{CDD4BBE0-BE9B-4F01-843A-38427ECBE559}"/>
    </a:ext>
  </a:extLst>
</a:theme>
</file>

<file path=ppt/theme/theme2.xml><?xml version="1.0" encoding="utf-8"?>
<a:theme xmlns:a="http://schemas.openxmlformats.org/drawingml/2006/main" name="2_Office Theme MESC">
  <a:themeElements>
    <a:clrScheme name="MESC colors">
      <a:dk1>
        <a:sysClr val="windowText" lastClr="000000"/>
      </a:dk1>
      <a:lt1>
        <a:sysClr val="window" lastClr="FFFFFF"/>
      </a:lt1>
      <a:dk2>
        <a:srgbClr val="1A325D"/>
      </a:dk2>
      <a:lt2>
        <a:srgbClr val="DCDDDE"/>
      </a:lt2>
      <a:accent1>
        <a:srgbClr val="4F81BD"/>
      </a:accent1>
      <a:accent2>
        <a:srgbClr val="C0504D"/>
      </a:accent2>
      <a:accent3>
        <a:srgbClr val="0FA84C"/>
      </a:accent3>
      <a:accent4>
        <a:srgbClr val="8064A2"/>
      </a:accent4>
      <a:accent5>
        <a:srgbClr val="1CA6DF"/>
      </a:accent5>
      <a:accent6>
        <a:srgbClr val="FAA21D"/>
      </a:accent6>
      <a:hlink>
        <a:srgbClr val="0000FF"/>
      </a:hlink>
      <a:folHlink>
        <a:srgbClr val="800080"/>
      </a:folHlink>
    </a:clrScheme>
    <a:fontScheme name="MESC Fonts">
      <a:majorFont>
        <a:latin typeface="Avenir LT Std 65 Medium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SC template 1" id="{AFFD31AD-8DCE-4388-8F61-810A04C20C8A}" vid="{CDD4BBE0-BE9B-4F01-843A-38427ECBE559}"/>
    </a:ext>
  </a:extLst>
</a:theme>
</file>

<file path=ppt/theme/theme3.xml><?xml version="1.0" encoding="utf-8"?>
<a:theme xmlns:a="http://schemas.openxmlformats.org/drawingml/2006/main" name="1_MESC Grid 16:9 - 25309">
  <a:themeElements>
    <a:clrScheme name="C">
      <a:dk1>
        <a:srgbClr val="404040"/>
      </a:dk1>
      <a:lt1>
        <a:sysClr val="window" lastClr="FFFFFF"/>
      </a:lt1>
      <a:dk2>
        <a:srgbClr val="5FCBEF"/>
      </a:dk2>
      <a:lt2>
        <a:srgbClr val="F2F2F2"/>
      </a:lt2>
      <a:accent1>
        <a:srgbClr val="215FAB"/>
      </a:accent1>
      <a:accent2>
        <a:srgbClr val="367DAE"/>
      </a:accent2>
      <a:accent3>
        <a:srgbClr val="FFE153"/>
      </a:accent3>
      <a:accent4>
        <a:srgbClr val="65C8EB"/>
      </a:accent4>
      <a:accent5>
        <a:srgbClr val="9A9A9A"/>
      </a:accent5>
      <a:accent6>
        <a:srgbClr val="00693F"/>
      </a:accent6>
      <a:hlink>
        <a:srgbClr val="002060"/>
      </a:hlink>
      <a:folHlink>
        <a:srgbClr val="0070C0"/>
      </a:folHlink>
    </a:clrScheme>
    <a:fontScheme name="Custom 1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5FCBEF"/>
        </a:solidFill>
        <a:ln w="9525" cap="rnd" cmpd="sng" algn="ctr">
          <a:solidFill>
            <a:srgbClr val="5FCBEF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 cap="rnd">
          <a:solidFill>
            <a:srgbClr val="9A9A9A"/>
          </a:solidFill>
          <a:prstDash val="solid"/>
          <a:round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rnd">
          <a:noFill/>
          <a:prstDash val="solid"/>
          <a:round/>
        </a:ln>
        <a:extLst>
          <a:ext uri="{909E8E84-426E-40DD-AFC4-6F175D3DCCD1}">
            <a14:hiddenFill xmlns:a14="http://schemas.microsoft.com/office/drawing/2010/main">
              <a:solidFill>
                <a:srgbClr val="29BA74"/>
              </a:solidFill>
            </a14:hiddenFill>
          </a:ext>
        </a:extLst>
      </a:spPr>
      <a:bodyPr rot="0" spcFirstLastPara="0" vertOverflow="overflow" horzOverflow="overflow" vert="horz" wrap="non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3B1F1723465AB499E4293ECA29A66FF" ma:contentTypeVersion="16" ma:contentTypeDescription="Create a new document." ma:contentTypeScope="" ma:versionID="17d0632420429ce3a0c43ae3ff53862c">
  <xsd:schema xmlns:xsd="http://www.w3.org/2001/XMLSchema" xmlns:xs="http://www.w3.org/2001/XMLSchema" xmlns:p="http://schemas.microsoft.com/office/2006/metadata/properties" xmlns:ns2="4fede72c-504a-4774-85fb-8eb3d1496b98" xmlns:ns3="e59b5d57-ebd0-454d-8188-5a9dd28706ca" xmlns:ns4="0a20205c-0631-4ff0-81c6-46eee12fe7e9" targetNamespace="http://schemas.microsoft.com/office/2006/metadata/properties" ma:root="true" ma:fieldsID="0cb4d46bb616c78df8784c79dcac509b" ns2:_="" ns3:_="" ns4:_="">
    <xsd:import namespace="4fede72c-504a-4774-85fb-8eb3d1496b98"/>
    <xsd:import namespace="e59b5d57-ebd0-454d-8188-5a9dd28706ca"/>
    <xsd:import namespace="0a20205c-0631-4ff0-81c6-46eee12fe7e9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lcf76f155ced4ddcb4097134ff3c332f" minOccurs="0"/>
                <xsd:element ref="ns4:TaxCatchAll" minOccurs="0"/>
                <xsd:element ref="ns3:MediaServiceLocation" minOccurs="0"/>
                <xsd:element ref="ns3:Content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ede72c-504a-4774-85fb-8eb3d1496b98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9b5d57-ebd0-454d-8188-5a9dd28706c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26d46bd7-4a58-4bc0-a217-7245e6e7041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  <xsd:element name="Contents" ma:index="22" nillable="true" ma:displayName="Contents" ma:format="Dropdown" ma:internalName="Contents">
      <xsd:simpleType>
        <xsd:restriction base="dms:Note">
          <xsd:maxLength value="255"/>
        </xsd:restriction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a20205c-0631-4ff0-81c6-46eee12fe7e9" elementFormDefault="qualified">
    <xsd:import namespace="http://schemas.microsoft.com/office/2006/documentManagement/types"/>
    <xsd:import namespace="http://schemas.microsoft.com/office/infopath/2007/PartnerControls"/>
    <xsd:element name="TaxCatchAll" ma:index="20" nillable="true" ma:displayName="Taxonomy Catch All Column" ma:hidden="true" ma:list="{d8399c3c-3151-49b3-9830-e8954e69ce78}" ma:internalName="TaxCatchAll" ma:showField="CatchAllData" ma:web="4fede72c-504a-4774-85fb-8eb3d1496b9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fede72c-504a-4774-85fb-8eb3d1496b98">
      <UserInfo>
        <DisplayName>Smegal, John</DisplayName>
        <AccountId>12</AccountId>
        <AccountType/>
      </UserInfo>
      <UserInfo>
        <DisplayName>Georges, Ruth</DisplayName>
        <AccountId>97</AccountId>
        <AccountType/>
      </UserInfo>
      <UserInfo>
        <DisplayName>Mahmoud, Mustafa</DisplayName>
        <AccountId>95</AccountId>
        <AccountType/>
      </UserInfo>
      <UserInfo>
        <DisplayName>Hebert, Kerry</DisplayName>
        <AccountId>132</AccountId>
        <AccountType/>
      </UserInfo>
      <UserInfo>
        <DisplayName>Yin, Clifton</DisplayName>
        <AccountId>128</AccountId>
        <AccountType/>
      </UserInfo>
      <UserInfo>
        <DisplayName>Castro, Virginia</DisplayName>
        <AccountId>137</AccountId>
        <AccountType/>
      </UserInfo>
      <UserInfo>
        <DisplayName>Avins, Jeremy</DisplayName>
        <AccountId>98</AccountId>
        <AccountType/>
      </UserInfo>
    </SharedWithUsers>
    <lcf76f155ced4ddcb4097134ff3c332f xmlns="e59b5d57-ebd0-454d-8188-5a9dd28706ca">
      <Terms xmlns="http://schemas.microsoft.com/office/infopath/2007/PartnerControls"/>
    </lcf76f155ced4ddcb4097134ff3c332f>
    <TaxCatchAll xmlns="0a20205c-0631-4ff0-81c6-46eee12fe7e9" xsi:nil="true"/>
    <Contents xmlns="e59b5d57-ebd0-454d-8188-5a9dd28706ca" xsi:nil="true"/>
  </documentManagement>
</p:properties>
</file>

<file path=customXml/itemProps1.xml><?xml version="1.0" encoding="utf-8"?>
<ds:datastoreItem xmlns:ds="http://schemas.openxmlformats.org/officeDocument/2006/customXml" ds:itemID="{4A4E904E-9CFE-472A-9F3D-24B568DF085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ede72c-504a-4774-85fb-8eb3d1496b98"/>
    <ds:schemaRef ds:uri="e59b5d57-ebd0-454d-8188-5a9dd28706ca"/>
    <ds:schemaRef ds:uri="0a20205c-0631-4ff0-81c6-46eee12fe7e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63E00BF-D8C8-4639-9E30-52A5ADF680A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594DFE5-DB61-4620-AA8F-437442974CDF}">
  <ds:schemaRefs>
    <ds:schemaRef ds:uri="http://schemas.microsoft.com/office/2006/metadata/properties"/>
    <ds:schemaRef ds:uri="http://purl.org/dc/elements/1.1/"/>
    <ds:schemaRef ds:uri="http://purl.org/dc/terms/"/>
    <ds:schemaRef ds:uri="http://schemas.microsoft.com/office/2006/documentManagement/types"/>
    <ds:schemaRef ds:uri="http://www.w3.org/XML/1998/namespace"/>
    <ds:schemaRef ds:uri="7ff57839-1ed0-4530-a572-599851b0a219"/>
    <ds:schemaRef ds:uri="d8b29751-1bde-4156-9ce5-7c33bc97db0d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4fede72c-504a-4774-85fb-8eb3d1496b98"/>
    <ds:schemaRef ds:uri="e59b5d57-ebd0-454d-8188-5a9dd28706ca"/>
    <ds:schemaRef ds:uri="0a20205c-0631-4ff0-81c6-46eee12fe7e9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463</Words>
  <Application>Microsoft Office PowerPoint</Application>
  <PresentationFormat>Widescreen</PresentationFormat>
  <Paragraphs>41</Paragraphs>
  <Slides>4</Slides>
  <Notes>2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4</vt:i4>
      </vt:variant>
    </vt:vector>
  </HeadingPairs>
  <TitlesOfParts>
    <vt:vector size="7" baseType="lpstr">
      <vt:lpstr>1_Office Theme MESC</vt:lpstr>
      <vt:lpstr>2_Office Theme MESC</vt:lpstr>
      <vt:lpstr>1_MESC Grid 16:9 - 25309</vt:lpstr>
      <vt:lpstr>PowerPoint Presentation</vt:lpstr>
      <vt:lpstr>The Industrial Assessment Centers comprise MESC’s primary workforce program</vt:lpstr>
      <vt:lpstr>MESC’s battery and EV investments, and a major tax credit program, also incorporate and help drive significant workforce activities</vt:lpstr>
      <vt:lpstr>Contact: Jeremy Avins jeremy.avins@hq.doe.gov 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owell, David</dc:creator>
  <cp:lastModifiedBy>Jeremy Avins</cp:lastModifiedBy>
  <cp:revision>10</cp:revision>
  <cp:lastPrinted>2023-01-25T15:16:52Z</cp:lastPrinted>
  <dcterms:created xsi:type="dcterms:W3CDTF">2022-10-14T15:42:15Z</dcterms:created>
  <dcterms:modified xsi:type="dcterms:W3CDTF">2023-09-20T14:1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73B1F1723465AB499E4293ECA29A66FF</vt:lpwstr>
  </property>
</Properties>
</file>